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drawings/drawing1.xml" ContentType="application/vnd.openxmlformats-officedocument.drawingml.chartshapes+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drawings/drawing2.xml" ContentType="application/vnd.openxmlformats-officedocument.drawingml.chartshape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heme/theme2.xml" ContentType="application/vnd.openxmlformats-officedocument.theme+xml"/>
  <Override PartName="/ppt/charts/chart4.xml" ContentType="application/vnd.openxmlformats-officedocument.drawingml.chart+xml"/>
  <Override PartName="/ppt/charts/colors2.xml" ContentType="application/vnd.ms-office.chartcolorstyl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harts/style2.xml" ContentType="application/vnd.ms-office.chartstyle+xml"/>
  <Override PartName="/ppt/commentAuthors.xml" ContentType="application/vnd.openxmlformats-officedocument.presentationml.commentAuthors+xml"/>
  <Override PartName="/ppt/theme/theme1.xml" ContentType="application/vnd.openxmlformats-officedocument.theme+xml"/>
  <Override PartName="/ppt/charts/chart3.xml" ContentType="application/vnd.openxmlformats-officedocument.drawingml.chart+xml"/>
  <Override PartName="/ppt/comments/comment1.xml" ContentType="application/vnd.openxmlformats-officedocument.presentationml.comments+xml"/>
  <Override PartName="/ppt/charts/colors1.xml" ContentType="application/vnd.ms-office.chartcolorstyle+xml"/>
  <Override PartName="/ppt/theme/theme3.xml" ContentType="application/vnd.openxmlformats-officedocument.theme+xml"/>
  <Override PartName="/ppt/charts/style1.xml" ContentType="application/vnd.ms-office.chartstyle+xml"/>
  <Override PartName="/ppt/theme/theme4.xml" ContentType="application/vnd.openxmlformats-officedocument.theme+xml"/>
  <Override PartName="/ppt/charts/chart2.xml" ContentType="application/vnd.openxmlformats-officedocument.drawingml.char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charts/colors9.xml" ContentType="application/vnd.ms-office.chartcolorstyle+xml"/>
  <Override PartName="/ppt/theme/theme8.xml" ContentType="application/vnd.openxmlformats-officedocument.theme+xml"/>
  <Override PartName="/ppt/charts/chart14.xml" ContentType="application/vnd.openxmlformats-officedocument.drawingml.char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charts/chart1.xml" ContentType="application/vnd.openxmlformats-officedocument.drawingml.chart+xml"/>
  <Override PartName="/ppt/theme/theme9.xml" ContentType="application/vnd.openxmlformats-officedocument.theme+xml"/>
  <Override PartName="/ppt/charts/chart13.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olors8.xml" ContentType="application/vnd.ms-office.chartcolorstyle+xml"/>
  <Override PartName="/ppt/charts/style8.xml" ContentType="application/vnd.ms-office.chartstyle+xml"/>
  <Override PartName="/ppt/charts/chart12.xml" ContentType="application/vnd.openxmlformats-officedocument.drawingml.chart+xml"/>
  <Override PartName="/ppt/charts/colors7.xml" ContentType="application/vnd.ms-office.chartcolorstyle+xml"/>
  <Override PartName="/ppt/charts/style7.xml" ContentType="application/vnd.ms-office.chartstyle+xml"/>
  <Override PartName="/ppt/charts/chart11.xml" ContentType="application/vnd.openxmlformats-officedocument.drawingml.chart+xml"/>
  <Override PartName="/ppt/charts/colors6.xml" ContentType="application/vnd.ms-office.chartcolorstyle+xml"/>
  <Override PartName="/ppt/charts/style6.xml" ContentType="application/vnd.ms-office.chartstyle+xml"/>
  <Override PartName="/ppt/charts/chart10.xml" ContentType="application/vnd.openxmlformats-officedocument.drawingml.chart+xml"/>
  <Override PartName="/ppt/charts/colors5.xml" ContentType="application/vnd.ms-office.chartcolorstyle+xml"/>
  <Override PartName="/ppt/charts/style5.xml" ContentType="application/vnd.ms-office.chartstyle+xml"/>
  <Override PartName="/ppt/charts/chart9.xml" ContentType="application/vnd.openxmlformats-officedocument.drawingml.chart+xml"/>
  <Override PartName="/ppt/charts/colors4.xml" ContentType="application/vnd.ms-office.chartcolorstyle+xml"/>
  <Override PartName="/ppt/charts/style4.xml" ContentType="application/vnd.ms-office.chartstyle+xml"/>
  <Override PartName="/ppt/charts/chart8.xml" ContentType="application/vnd.openxmlformats-officedocument.drawingml.chart+xml"/>
  <Override PartName="/ppt/charts/chart7.xml" ContentType="application/vnd.openxmlformats-officedocument.drawingml.chart+xml"/>
  <Override PartName="/ppt/charts/chart6.xml" ContentType="application/vnd.openxmlformats-officedocument.drawingml.chart+xml"/>
  <Override PartName="/ppt/charts/chart5.xml" ContentType="application/vnd.openxmlformats-officedocument.drawingml.chart+xml"/>
  <Override PartName="/ppt/charts/style9.xml" ContentType="application/vnd.ms-office.chartstyle+xml"/>
  <Override PartName="/ppt/charts/colors3.xml" ContentType="application/vnd.ms-office.chartcolorstyle+xml"/>
  <Override PartName="/ppt/charts/style3.xml" ContentType="application/vnd.ms-office.chartstyl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14.xml" ContentType="application/vnd.openxmlformats-officedocument.presentationml.tags+xml"/>
  <Override PartName="/ppt/tags/tag13.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1" r:id="rId4"/>
    <p:sldMasterId id="2147483785" r:id="rId5"/>
    <p:sldMasterId id="2147483801" r:id="rId6"/>
    <p:sldMasterId id="2147483807" r:id="rId7"/>
    <p:sldMasterId id="2147483978" r:id="rId8"/>
    <p:sldMasterId id="2147484033" r:id="rId9"/>
    <p:sldMasterId id="2147484086" r:id="rId10"/>
    <p:sldMasterId id="2147484105" r:id="rId11"/>
    <p:sldMasterId id="2147484113" r:id="rId12"/>
    <p:sldMasterId id="2147484143" r:id="rId13"/>
    <p:sldMasterId id="2147484157" r:id="rId14"/>
  </p:sldMasterIdLst>
  <p:notesMasterIdLst>
    <p:notesMasterId r:id="rId58"/>
  </p:notesMasterIdLst>
  <p:handoutMasterIdLst>
    <p:handoutMasterId r:id="rId59"/>
  </p:handoutMasterIdLst>
  <p:sldIdLst>
    <p:sldId id="432" r:id="rId15"/>
    <p:sldId id="455" r:id="rId16"/>
    <p:sldId id="434" r:id="rId17"/>
    <p:sldId id="456" r:id="rId18"/>
    <p:sldId id="395" r:id="rId19"/>
    <p:sldId id="457" r:id="rId20"/>
    <p:sldId id="458" r:id="rId21"/>
    <p:sldId id="340" r:id="rId22"/>
    <p:sldId id="430" r:id="rId23"/>
    <p:sldId id="459" r:id="rId24"/>
    <p:sldId id="460" r:id="rId25"/>
    <p:sldId id="461" r:id="rId26"/>
    <p:sldId id="463" r:id="rId27"/>
    <p:sldId id="462" r:id="rId28"/>
    <p:sldId id="464" r:id="rId29"/>
    <p:sldId id="465" r:id="rId30"/>
    <p:sldId id="466" r:id="rId31"/>
    <p:sldId id="467" r:id="rId32"/>
    <p:sldId id="468" r:id="rId33"/>
    <p:sldId id="469" r:id="rId34"/>
    <p:sldId id="470" r:id="rId35"/>
    <p:sldId id="472" r:id="rId36"/>
    <p:sldId id="473" r:id="rId37"/>
    <p:sldId id="471" r:id="rId38"/>
    <p:sldId id="474" r:id="rId39"/>
    <p:sldId id="475" r:id="rId40"/>
    <p:sldId id="477" r:id="rId41"/>
    <p:sldId id="476" r:id="rId42"/>
    <p:sldId id="478" r:id="rId43"/>
    <p:sldId id="479" r:id="rId44"/>
    <p:sldId id="480" r:id="rId45"/>
    <p:sldId id="481" r:id="rId46"/>
    <p:sldId id="482" r:id="rId47"/>
    <p:sldId id="483" r:id="rId48"/>
    <p:sldId id="336" r:id="rId49"/>
    <p:sldId id="484" r:id="rId50"/>
    <p:sldId id="485" r:id="rId51"/>
    <p:sldId id="486" r:id="rId52"/>
    <p:sldId id="487" r:id="rId53"/>
    <p:sldId id="488" r:id="rId54"/>
    <p:sldId id="489" r:id="rId55"/>
    <p:sldId id="419" r:id="rId56"/>
    <p:sldId id="452" r:id="rId57"/>
  </p:sldIdLst>
  <p:sldSz cx="9144000" cy="6858000" type="screen4x3"/>
  <p:notesSz cx="9144000" cy="6858000"/>
  <p:custDataLst>
    <p:tags r:id="rId60"/>
  </p:custDataLst>
  <p:defaultTex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p:defaultTextStyle>
  <p:extLst>
    <p:ext uri="{521415D9-36F7-43E2-AB2F-B90AF26B5E84}">
      <p14:sectionLst xmlns:p14="http://schemas.microsoft.com/office/powerpoint/2010/main">
        <p14:section name="General Template Information" id="{F1D2AF97-5ED6-4D0B-BF34-7940BD1C8725}">
          <p14:sldIdLst>
            <p14:sldId id="432"/>
            <p14:sldId id="455"/>
            <p14:sldId id="434"/>
            <p14:sldId id="456"/>
            <p14:sldId id="395"/>
            <p14:sldId id="457"/>
            <p14:sldId id="458"/>
            <p14:sldId id="340"/>
            <p14:sldId id="430"/>
            <p14:sldId id="459"/>
            <p14:sldId id="460"/>
            <p14:sldId id="461"/>
            <p14:sldId id="463"/>
            <p14:sldId id="462"/>
            <p14:sldId id="464"/>
            <p14:sldId id="465"/>
            <p14:sldId id="466"/>
            <p14:sldId id="467"/>
            <p14:sldId id="468"/>
            <p14:sldId id="469"/>
            <p14:sldId id="470"/>
            <p14:sldId id="472"/>
            <p14:sldId id="473"/>
            <p14:sldId id="471"/>
            <p14:sldId id="474"/>
            <p14:sldId id="475"/>
            <p14:sldId id="477"/>
            <p14:sldId id="476"/>
            <p14:sldId id="478"/>
            <p14:sldId id="479"/>
            <p14:sldId id="480"/>
            <p14:sldId id="481"/>
            <p14:sldId id="482"/>
            <p14:sldId id="483"/>
            <p14:sldId id="336"/>
            <p14:sldId id="484"/>
            <p14:sldId id="485"/>
            <p14:sldId id="486"/>
            <p14:sldId id="487"/>
            <p14:sldId id="488"/>
            <p14:sldId id="489"/>
            <p14:sldId id="419"/>
            <p14:sldId id="452"/>
          </p14:sldIdLst>
        </p14:section>
      </p14:sectionLst>
    </p:ext>
    <p:ext uri="{EFAFB233-063F-42B5-8137-9DF3F51BA10A}">
      <p15:sldGuideLst xmlns:p15="http://schemas.microsoft.com/office/powerpoint/2012/main">
        <p15:guide id="3" orient="horz" pos="3408" userDrawn="1">
          <p15:clr>
            <a:srgbClr val="A4A3A4"/>
          </p15:clr>
        </p15:guide>
        <p15:guide id="5" orient="horz" pos="2352" userDrawn="1">
          <p15:clr>
            <a:srgbClr val="A4A3A4"/>
          </p15:clr>
        </p15:guide>
        <p15:guide id="8" orient="horz" pos="888" userDrawn="1">
          <p15:clr>
            <a:srgbClr val="A4A3A4"/>
          </p15:clr>
        </p15:guide>
        <p15:guide id="9" orient="horz" pos="3096" userDrawn="1">
          <p15:clr>
            <a:srgbClr val="A4A3A4"/>
          </p15:clr>
        </p15:guide>
        <p15:guide id="10" pos="1992" userDrawn="1">
          <p15:clr>
            <a:srgbClr val="A4A3A4"/>
          </p15:clr>
        </p15:guide>
        <p15:guide id="11" pos="3912" userDrawn="1">
          <p15:clr>
            <a:srgbClr val="A4A3A4"/>
          </p15:clr>
        </p15:guide>
        <p15:guide id="12" pos="1584" userDrawn="1">
          <p15:clr>
            <a:srgbClr val="A4A3A4"/>
          </p15:clr>
        </p15:guide>
        <p15:guide id="13" pos="264" userDrawn="1">
          <p15:clr>
            <a:srgbClr val="A4A3A4"/>
          </p15:clr>
        </p15:guide>
        <p15:guide id="14" pos="4329" userDrawn="1">
          <p15:clr>
            <a:srgbClr val="A4A3A4"/>
          </p15:clr>
        </p15:guide>
        <p15:guide id="15" orient="horz" pos="3432" userDrawn="1">
          <p15:clr>
            <a:srgbClr val="A4A3A4"/>
          </p15:clr>
        </p15:guide>
        <p15:guide id="16" orient="horz" pos="1368" userDrawn="1">
          <p15:clr>
            <a:srgbClr val="A4A3A4"/>
          </p15:clr>
        </p15:guide>
        <p15:guide id="17" orient="horz" pos="3864" userDrawn="1">
          <p15:clr>
            <a:srgbClr val="A4A3A4"/>
          </p15:clr>
        </p15:guide>
        <p15:guide id="18" orient="horz" pos="1584" userDrawn="1">
          <p15:clr>
            <a:srgbClr val="A4A3A4"/>
          </p15:clr>
        </p15:guide>
        <p15:guide id="19" orient="horz" pos="648"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inkler, Katherine" initials="WK" lastIdx="6" clrIdx="0">
    <p:extLst>
      <p:ext uri="{19B8F6BF-5375-455C-9EA6-DF929625EA0E}">
        <p15:presenceInfo xmlns:p15="http://schemas.microsoft.com/office/powerpoint/2012/main" userId="S-1-5-21-776984590-1571879099-3666340685-27298" providerId="AD"/>
      </p:ext>
    </p:extLst>
  </p:cmAuthor>
  <p:cmAuthor id="2" name="Clive Jacobson" initials="CJ" lastIdx="2" clrIdx="1">
    <p:extLst>
      <p:ext uri="{19B8F6BF-5375-455C-9EA6-DF929625EA0E}">
        <p15:presenceInfo xmlns:p15="http://schemas.microsoft.com/office/powerpoint/2012/main" userId="Clive Jacobson" providerId="None"/>
      </p:ext>
    </p:extLst>
  </p:cmAuthor>
  <p:cmAuthor id="3" name="Cappa, Lauren" initials="CL" lastIdx="4" clrIdx="2">
    <p:extLst>
      <p:ext uri="{19B8F6BF-5375-455C-9EA6-DF929625EA0E}">
        <p15:presenceInfo xmlns:p15="http://schemas.microsoft.com/office/powerpoint/2012/main" userId="S::A089MA@loginus.axa::f1f9a89e-8bf9-48b4-b79c-47b11f85b8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577"/>
    <a:srgbClr val="3369FF"/>
    <a:srgbClr val="067ACB"/>
    <a:srgbClr val="E3FDFF"/>
    <a:srgbClr val="89D9FE"/>
    <a:srgbClr val="37B6FD"/>
    <a:srgbClr val="75787B"/>
    <a:srgbClr val="F3CD30"/>
    <a:srgbClr val="7153FB"/>
    <a:srgbClr val="73C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15" autoAdjust="0"/>
    <p:restoredTop sz="90707"/>
  </p:normalViewPr>
  <p:slideViewPr>
    <p:cSldViewPr snapToGrid="0" snapToObjects="1" showGuides="1">
      <p:cViewPr varScale="1">
        <p:scale>
          <a:sx n="100" d="100"/>
          <a:sy n="100" d="100"/>
        </p:scale>
        <p:origin x="1464" y="78"/>
      </p:cViewPr>
      <p:guideLst>
        <p:guide orient="horz" pos="3408"/>
        <p:guide orient="horz" pos="2352"/>
        <p:guide orient="horz" pos="888"/>
        <p:guide orient="horz" pos="3096"/>
        <p:guide pos="1992"/>
        <p:guide pos="3912"/>
        <p:guide pos="1584"/>
        <p:guide pos="264"/>
        <p:guide pos="4329"/>
        <p:guide orient="horz" pos="3432"/>
        <p:guide orient="horz" pos="1368"/>
        <p:guide orient="horz" pos="3864"/>
        <p:guide orient="horz" pos="1584"/>
        <p:guide orient="horz" pos="648"/>
      </p:guideLst>
    </p:cSldViewPr>
  </p:slideViewPr>
  <p:notesTextViewPr>
    <p:cViewPr>
      <p:scale>
        <a:sx n="1" d="1"/>
        <a:sy n="1" d="1"/>
      </p:scale>
      <p:origin x="0" y="0"/>
    </p:cViewPr>
  </p:notesTextViewPr>
  <p:sorterViewPr>
    <p:cViewPr>
      <p:scale>
        <a:sx n="55" d="100"/>
        <a:sy n="55" d="100"/>
      </p:scale>
      <p:origin x="0" y="0"/>
    </p:cViewPr>
  </p:sorterViewPr>
  <p:notesViewPr>
    <p:cSldViewPr snapToGrid="0" snapToObjects="1" showGuides="1">
      <p:cViewPr varScale="1">
        <p:scale>
          <a:sx n="150" d="100"/>
          <a:sy n="150" d="100"/>
        </p:scale>
        <p:origin x="4024" y="184"/>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notesMaster" Target="notesMasters/notesMaster1.xml"/><Relationship Id="rId66" Type="http://schemas.openxmlformats.org/officeDocument/2006/relationships/customXml" Target="../customXml/item4.xml"/><Relationship Id="rId5" Type="http://schemas.openxmlformats.org/officeDocument/2006/relationships/slideMaster" Target="slideMasters/slideMaster2.xml"/><Relationship Id="rId61" Type="http://schemas.openxmlformats.org/officeDocument/2006/relationships/commentAuthors" Target="commentAuthors.xml"/><Relationship Id="rId19" Type="http://schemas.openxmlformats.org/officeDocument/2006/relationships/slide" Target="slides/slide5.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handoutMaster" Target="handoutMasters/handoutMaster1.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9.xml"/><Relationship Id="rId1" Type="http://schemas.microsoft.com/office/2011/relationships/chartStyle" Target="style9.xm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278600490460753E-2"/>
          <c:y val="2.9984647953329779E-2"/>
          <c:w val="0.94357664255946738"/>
          <c:h val="0.83902199382686127"/>
        </c:manualLayout>
      </c:layout>
      <c:barChart>
        <c:barDir val="col"/>
        <c:grouping val="clustered"/>
        <c:varyColors val="0"/>
        <c:ser>
          <c:idx val="0"/>
          <c:order val="0"/>
          <c:tx>
            <c:strRef>
              <c:f>Sheet1!$B$1</c:f>
              <c:strCache>
                <c:ptCount val="1"/>
                <c:pt idx="0">
                  <c:v>Series 1</c:v>
                </c:pt>
              </c:strCache>
            </c:strRef>
          </c:tx>
          <c:spPr>
            <a:solidFill>
              <a:srgbClr val="3369FF"/>
            </a:solidFill>
            <a:ln>
              <a:noFill/>
            </a:ln>
            <a:effectLst/>
          </c:spPr>
          <c:invertIfNegative val="0"/>
          <c:dPt>
            <c:idx val="0"/>
            <c:invertIfNegative val="0"/>
            <c:bubble3D val="0"/>
            <c:spPr>
              <a:solidFill>
                <a:srgbClr val="3369FF"/>
              </a:solidFill>
              <a:ln>
                <a:noFill/>
              </a:ln>
              <a:effectLst/>
            </c:spPr>
            <c:extLst>
              <c:ext xmlns:c16="http://schemas.microsoft.com/office/drawing/2014/chart" uri="{C3380CC4-5D6E-409C-BE32-E72D297353CC}">
                <c16:uniqueId val="{00000001-09BF-F144-B7A1-8628ADD77BAC}"/>
              </c:ext>
            </c:extLst>
          </c:dPt>
          <c:dPt>
            <c:idx val="1"/>
            <c:invertIfNegative val="0"/>
            <c:bubble3D val="0"/>
            <c:spPr>
              <a:solidFill>
                <a:srgbClr val="3369FF"/>
              </a:solidFill>
              <a:ln>
                <a:noFill/>
              </a:ln>
              <a:effectLst/>
            </c:spPr>
            <c:extLst>
              <c:ext xmlns:c16="http://schemas.microsoft.com/office/drawing/2014/chart" uri="{C3380CC4-5D6E-409C-BE32-E72D297353CC}">
                <c16:uniqueId val="{00000003-09BF-F144-B7A1-8628ADD77BAC}"/>
              </c:ext>
            </c:extLst>
          </c:dPt>
          <c:dPt>
            <c:idx val="2"/>
            <c:invertIfNegative val="0"/>
            <c:bubble3D val="0"/>
            <c:spPr>
              <a:solidFill>
                <a:srgbClr val="3369FF"/>
              </a:solidFill>
              <a:ln>
                <a:noFill/>
              </a:ln>
              <a:effectLst/>
            </c:spPr>
            <c:extLst>
              <c:ext xmlns:c16="http://schemas.microsoft.com/office/drawing/2014/chart" uri="{C3380CC4-5D6E-409C-BE32-E72D297353CC}">
                <c16:uniqueId val="{00000005-09BF-F144-B7A1-8628ADD77BAC}"/>
              </c:ext>
            </c:extLst>
          </c:dPt>
          <c:dPt>
            <c:idx val="3"/>
            <c:invertIfNegative val="0"/>
            <c:bubble3D val="0"/>
            <c:spPr>
              <a:solidFill>
                <a:srgbClr val="3369FF"/>
              </a:solidFill>
              <a:ln>
                <a:noFill/>
              </a:ln>
              <a:effectLst/>
            </c:spPr>
            <c:extLst>
              <c:ext xmlns:c16="http://schemas.microsoft.com/office/drawing/2014/chart" uri="{C3380CC4-5D6E-409C-BE32-E72D297353CC}">
                <c16:uniqueId val="{00000007-09BF-F144-B7A1-8628ADD77BAC}"/>
              </c:ext>
            </c:extLst>
          </c:dPt>
          <c:dPt>
            <c:idx val="4"/>
            <c:invertIfNegative val="0"/>
            <c:bubble3D val="0"/>
            <c:spPr>
              <a:solidFill>
                <a:srgbClr val="3369FF"/>
              </a:solidFill>
              <a:ln>
                <a:noFill/>
              </a:ln>
              <a:effectLst/>
            </c:spPr>
            <c:extLst>
              <c:ext xmlns:c16="http://schemas.microsoft.com/office/drawing/2014/chart" uri="{C3380CC4-5D6E-409C-BE32-E72D297353CC}">
                <c16:uniqueId val="{00000009-09BF-F144-B7A1-8628ADD77BAC}"/>
              </c:ext>
            </c:extLst>
          </c:dPt>
          <c:dPt>
            <c:idx val="5"/>
            <c:invertIfNegative val="0"/>
            <c:bubble3D val="0"/>
            <c:spPr>
              <a:solidFill>
                <a:srgbClr val="3369FF"/>
              </a:solidFill>
              <a:ln>
                <a:noFill/>
              </a:ln>
              <a:effectLst/>
            </c:spPr>
            <c:extLst>
              <c:ext xmlns:c16="http://schemas.microsoft.com/office/drawing/2014/chart" uri="{C3380CC4-5D6E-409C-BE32-E72D297353CC}">
                <c16:uniqueId val="{0000000B-09BF-F144-B7A1-8628ADD77BAC}"/>
              </c:ext>
            </c:extLst>
          </c:dPt>
          <c:dLbls>
            <c:dLbl>
              <c:idx val="0"/>
              <c:tx>
                <c:rich>
                  <a:bodyPr/>
                  <a:lstStyle/>
                  <a:p>
                    <a:r>
                      <a:rPr lang="en-US" sz="2000" b="1" dirty="0">
                        <a:solidFill>
                          <a:schemeClr val="bg1"/>
                        </a:solidFill>
                        <a:latin typeface="Segoe UI" panose="020B0502040204020203" pitchFamily="34" charset="0"/>
                        <a:ea typeface="Segoe UI" panose="020B0502040204020203" pitchFamily="34" charset="0"/>
                        <a:cs typeface="Segoe UI" panose="020B0502040204020203" pitchFamily="34" charset="0"/>
                      </a:rPr>
                      <a:t>75%</a:t>
                    </a:r>
                    <a:endParaRPr lang="en-US" sz="2000" b="1" dirty="0">
                      <a:solidFill>
                        <a:schemeClr val="bg1"/>
                      </a:solidFill>
                    </a:endParaRP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9BF-F144-B7A1-8628ADD77BAC}"/>
                </c:ext>
              </c:extLst>
            </c:dLbl>
            <c:dLbl>
              <c:idx val="1"/>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r>
                      <a:rPr lang="en-US" sz="2000" b="1" dirty="0">
                        <a:solidFill>
                          <a:schemeClr val="bg1"/>
                        </a:solidFill>
                        <a:latin typeface="Segoe UI" panose="020B0502040204020203" pitchFamily="34" charset="0"/>
                        <a:ea typeface="Segoe UI" panose="020B0502040204020203" pitchFamily="34" charset="0"/>
                        <a:cs typeface="Segoe UI" panose="020B0502040204020203" pitchFamily="34" charset="0"/>
                      </a:rPr>
                      <a:t>23%</a:t>
                    </a:r>
                    <a:endParaRPr lang="en-US" sz="2000" b="1" i="0" u="none" strike="noStrike" kern="1200" baseline="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sz="2000" b="1">
                        <a:solidFill>
                          <a:srgbClr val="FFFFFF"/>
                        </a:solidFill>
                      </a:defRPr>
                    </a:pPr>
                    <a:endParaRPr lang="en-US" sz="2000" dirty="0"/>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BF-F144-B7A1-8628ADD77BAC}"/>
                </c:ext>
              </c:extLst>
            </c:dLbl>
            <c:dLbl>
              <c:idx val="2"/>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r>
                      <a:rPr lang="en-US" sz="2000" b="1" dirty="0">
                        <a:solidFill>
                          <a:schemeClr val="bg1"/>
                        </a:solidFill>
                        <a:latin typeface="Segoe UI" panose="020B0502040204020203" pitchFamily="34" charset="0"/>
                        <a:ea typeface="Segoe UI" panose="020B0502040204020203" pitchFamily="34" charset="0"/>
                        <a:cs typeface="Segoe UI" panose="020B0502040204020203" pitchFamily="34" charset="0"/>
                      </a:rPr>
                      <a:t>58.1%</a:t>
                    </a:r>
                    <a:endParaRPr lang="en-US" sz="2000" b="1" i="0" u="none" strike="noStrike" kern="1200" baseline="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sz="2000" b="1">
                        <a:solidFill>
                          <a:srgbClr val="FFFFFF"/>
                        </a:solidFill>
                      </a:defRPr>
                    </a:pPr>
                    <a:endParaRPr lang="en-US" sz="2000" dirty="0"/>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9BF-F144-B7A1-8628ADD77BAC}"/>
                </c:ext>
              </c:extLst>
            </c:dLbl>
            <c:dLbl>
              <c:idx val="3"/>
              <c:layout>
                <c:manualLayout>
                  <c:x val="0"/>
                  <c:y val="0.28093308123656713"/>
                </c:manualLayout>
              </c:layout>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r>
                      <a:rPr lang="en-US" sz="2000" b="1" dirty="0">
                        <a:solidFill>
                          <a:schemeClr val="bg1"/>
                        </a:solidFill>
                        <a:latin typeface="Segoe UI" panose="020B0502040204020203" pitchFamily="34" charset="0"/>
                        <a:ea typeface="Segoe UI" panose="020B0502040204020203" pitchFamily="34" charset="0"/>
                        <a:cs typeface="Segoe UI" panose="020B0502040204020203" pitchFamily="34" charset="0"/>
                      </a:rPr>
                      <a:t>30.2%</a:t>
                    </a:r>
                    <a:endParaRPr lang="en-US" sz="2000" b="1" i="0" u="none" strike="noStrike" kern="1200" baseline="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sz="2000" b="1">
                        <a:solidFill>
                          <a:srgbClr val="FFFFFF"/>
                        </a:solidFill>
                      </a:defRPr>
                    </a:pPr>
                    <a:endParaRPr lang="en-US" sz="2000" dirty="0"/>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9BF-F144-B7A1-8628ADD77BAC}"/>
                </c:ext>
              </c:extLst>
            </c:dLbl>
            <c:dLbl>
              <c:idx val="4"/>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r>
                      <a:rPr lang="en-US" sz="2000" b="1" dirty="0">
                        <a:solidFill>
                          <a:schemeClr val="bg1"/>
                        </a:solidFill>
                        <a:latin typeface="Segoe UI" panose="020B0502040204020203" pitchFamily="34" charset="0"/>
                        <a:ea typeface="Segoe UI" panose="020B0502040204020203" pitchFamily="34" charset="0"/>
                        <a:cs typeface="Segoe UI" panose="020B0502040204020203" pitchFamily="34" charset="0"/>
                      </a:rPr>
                      <a:t>82%</a:t>
                    </a:r>
                    <a:endParaRPr lang="en-US" sz="2000" b="1" i="0" u="none" strike="noStrike" kern="1200" baseline="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sz="2000" b="1">
                        <a:solidFill>
                          <a:srgbClr val="FFFFFF"/>
                        </a:solidFill>
                      </a:defRPr>
                    </a:pPr>
                    <a:endParaRPr lang="en-US" sz="2000" dirty="0"/>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9BF-F144-B7A1-8628ADD77BAC}"/>
                </c:ext>
              </c:extLst>
            </c:dLbl>
            <c:dLbl>
              <c:idx val="5"/>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r>
                      <a:rPr lang="en-US" sz="2000" b="1" dirty="0">
                        <a:solidFill>
                          <a:schemeClr val="bg1"/>
                        </a:solidFill>
                        <a:latin typeface="Segoe UI" panose="020B0502040204020203" pitchFamily="34" charset="0"/>
                        <a:ea typeface="Segoe UI" panose="020B0502040204020203" pitchFamily="34" charset="0"/>
                        <a:cs typeface="Segoe UI" panose="020B0502040204020203" pitchFamily="34" charset="0"/>
                      </a:rPr>
                      <a:t>92%</a:t>
                    </a:r>
                    <a:endParaRPr lang="en-US" sz="2000" b="1" i="0" u="none" strike="noStrike" kern="1200" baseline="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sz="2000" b="1">
                        <a:solidFill>
                          <a:srgbClr val="FFFFFF"/>
                        </a:solidFill>
                      </a:defRPr>
                    </a:pPr>
                    <a:endParaRPr lang="en-US" sz="2000" dirty="0"/>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9BF-F144-B7A1-8628ADD77BAC}"/>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70</c:v>
                </c:pt>
                <c:pt idx="1">
                  <c:v>80</c:v>
                </c:pt>
              </c:numCache>
            </c:numRef>
          </c:cat>
          <c:val>
            <c:numRef>
              <c:f>Sheet1!$B$2:$B$7</c:f>
              <c:numCache>
                <c:formatCode>0%</c:formatCode>
                <c:ptCount val="6"/>
                <c:pt idx="0">
                  <c:v>0.75</c:v>
                </c:pt>
                <c:pt idx="1">
                  <c:v>0.23</c:v>
                </c:pt>
              </c:numCache>
            </c:numRef>
          </c:val>
          <c:extLst>
            <c:ext xmlns:c16="http://schemas.microsoft.com/office/drawing/2014/chart" uri="{C3380CC4-5D6E-409C-BE32-E72D297353CC}">
              <c16:uniqueId val="{0000000C-09BF-F144-B7A1-8628ADD77BAC}"/>
            </c:ext>
          </c:extLst>
        </c:ser>
        <c:dLbls>
          <c:dLblPos val="inEnd"/>
          <c:showLegendKey val="0"/>
          <c:showVal val="1"/>
          <c:showCatName val="0"/>
          <c:showSerName val="0"/>
          <c:showPercent val="0"/>
          <c:showBubbleSize val="0"/>
        </c:dLbls>
        <c:gapWidth val="3"/>
        <c:overlap val="62"/>
        <c:axId val="1305847512"/>
        <c:axId val="1305849152"/>
      </c:barChart>
      <c:catAx>
        <c:axId val="1305847512"/>
        <c:scaling>
          <c:orientation val="minMax"/>
        </c:scaling>
        <c:delete val="1"/>
        <c:axPos val="b"/>
        <c:numFmt formatCode="General" sourceLinked="1"/>
        <c:majorTickMark val="none"/>
        <c:minorTickMark val="none"/>
        <c:tickLblPos val="nextTo"/>
        <c:crossAx val="1305849152"/>
        <c:crossesAt val="0"/>
        <c:auto val="1"/>
        <c:lblAlgn val="ctr"/>
        <c:lblOffset val="100"/>
        <c:noMultiLvlLbl val="0"/>
      </c:catAx>
      <c:valAx>
        <c:axId val="1305849152"/>
        <c:scaling>
          <c:orientation val="minMax"/>
          <c:min val="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lnSpc>
                <a:spcPct val="90000"/>
              </a:lnSpc>
              <a:defRPr sz="1197" b="0" i="0" u="none" strike="noStrike" kern="1200" baseline="0">
                <a:solidFill>
                  <a:srgbClr val="75787B"/>
                </a:solidFill>
                <a:latin typeface="+mn-lt"/>
                <a:ea typeface="+mn-ea"/>
                <a:cs typeface="+mn-cs"/>
              </a:defRPr>
            </a:pPr>
            <a:endParaRPr lang="en-US"/>
          </a:p>
        </c:txPr>
        <c:crossAx val="13058475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3369FF"/>
            </a:solidFill>
            <a:ln>
              <a:noFill/>
            </a:ln>
            <a:effectLst/>
          </c:spPr>
          <c:invertIfNegative val="0"/>
          <c:dPt>
            <c:idx val="0"/>
            <c:invertIfNegative val="0"/>
            <c:bubble3D val="0"/>
            <c:spPr>
              <a:solidFill>
                <a:srgbClr val="002577"/>
              </a:solidFill>
              <a:ln>
                <a:noFill/>
              </a:ln>
              <a:effectLst/>
            </c:spPr>
            <c:extLst>
              <c:ext xmlns:c16="http://schemas.microsoft.com/office/drawing/2014/chart" uri="{C3380CC4-5D6E-409C-BE32-E72D297353CC}">
                <c16:uniqueId val="{00000001-66D2-3F41-AFD3-66908C64EAA4}"/>
              </c:ext>
            </c:extLst>
          </c:dPt>
          <c:dPt>
            <c:idx val="1"/>
            <c:invertIfNegative val="0"/>
            <c:bubble3D val="0"/>
            <c:spPr>
              <a:solidFill>
                <a:srgbClr val="002577"/>
              </a:solidFill>
              <a:ln>
                <a:noFill/>
              </a:ln>
              <a:effectLst/>
            </c:spPr>
            <c:extLst>
              <c:ext xmlns:c16="http://schemas.microsoft.com/office/drawing/2014/chart" uri="{C3380CC4-5D6E-409C-BE32-E72D297353CC}">
                <c16:uniqueId val="{00000003-66D2-3F41-AFD3-66908C64EAA4}"/>
              </c:ext>
            </c:extLst>
          </c:dPt>
          <c:dPt>
            <c:idx val="2"/>
            <c:invertIfNegative val="0"/>
            <c:bubble3D val="0"/>
            <c:spPr>
              <a:solidFill>
                <a:srgbClr val="3369FF"/>
              </a:solidFill>
              <a:ln>
                <a:noFill/>
              </a:ln>
              <a:effectLst/>
            </c:spPr>
            <c:extLst>
              <c:ext xmlns:c16="http://schemas.microsoft.com/office/drawing/2014/chart" uri="{C3380CC4-5D6E-409C-BE32-E72D297353CC}">
                <c16:uniqueId val="{00000005-66D2-3F41-AFD3-66908C64EAA4}"/>
              </c:ext>
            </c:extLst>
          </c:dPt>
          <c:dPt>
            <c:idx val="3"/>
            <c:invertIfNegative val="0"/>
            <c:bubble3D val="0"/>
            <c:spPr>
              <a:solidFill>
                <a:srgbClr val="3369FF"/>
              </a:solidFill>
              <a:ln>
                <a:noFill/>
              </a:ln>
              <a:effectLst/>
            </c:spPr>
            <c:extLst>
              <c:ext xmlns:c16="http://schemas.microsoft.com/office/drawing/2014/chart" uri="{C3380CC4-5D6E-409C-BE32-E72D297353CC}">
                <c16:uniqueId val="{00000007-66D2-3F41-AFD3-66908C64EAA4}"/>
              </c:ext>
            </c:extLst>
          </c:dPt>
          <c:dPt>
            <c:idx val="4"/>
            <c:invertIfNegative val="0"/>
            <c:bubble3D val="0"/>
            <c:spPr>
              <a:solidFill>
                <a:srgbClr val="3369FF"/>
              </a:solidFill>
              <a:ln>
                <a:noFill/>
              </a:ln>
              <a:effectLst/>
            </c:spPr>
            <c:extLst>
              <c:ext xmlns:c16="http://schemas.microsoft.com/office/drawing/2014/chart" uri="{C3380CC4-5D6E-409C-BE32-E72D297353CC}">
                <c16:uniqueId val="{00000009-66D2-3F41-AFD3-66908C64EAA4}"/>
              </c:ext>
            </c:extLst>
          </c:dPt>
          <c:dPt>
            <c:idx val="5"/>
            <c:invertIfNegative val="0"/>
            <c:bubble3D val="0"/>
            <c:spPr>
              <a:solidFill>
                <a:srgbClr val="3369FF"/>
              </a:solidFill>
              <a:ln>
                <a:noFill/>
              </a:ln>
              <a:effectLst/>
            </c:spPr>
            <c:extLst>
              <c:ext xmlns:c16="http://schemas.microsoft.com/office/drawing/2014/chart" uri="{C3380CC4-5D6E-409C-BE32-E72D297353CC}">
                <c16:uniqueId val="{0000000B-66D2-3F41-AFD3-66908C64EAA4}"/>
              </c:ext>
            </c:extLst>
          </c:dPt>
          <c:dLbls>
            <c:delete val="1"/>
          </c:dLbls>
          <c:cat>
            <c:numRef>
              <c:f>Sheet1!$A$2:$A$8</c:f>
              <c:numCache>
                <c:formatCode>General</c:formatCode>
                <c:ptCount val="7"/>
                <c:pt idx="0">
                  <c:v>1</c:v>
                </c:pt>
                <c:pt idx="1">
                  <c:v>2</c:v>
                </c:pt>
                <c:pt idx="2">
                  <c:v>3</c:v>
                </c:pt>
                <c:pt idx="3">
                  <c:v>4</c:v>
                </c:pt>
                <c:pt idx="4">
                  <c:v>5</c:v>
                </c:pt>
                <c:pt idx="5">
                  <c:v>6</c:v>
                </c:pt>
                <c:pt idx="6">
                  <c:v>7</c:v>
                </c:pt>
              </c:numCache>
            </c:numRef>
          </c:cat>
          <c:val>
            <c:numRef>
              <c:f>Sheet1!$B$2:$B$8</c:f>
              <c:numCache>
                <c:formatCode>0%</c:formatCode>
                <c:ptCount val="7"/>
                <c:pt idx="0">
                  <c:v>0.1</c:v>
                </c:pt>
                <c:pt idx="1">
                  <c:v>0.24</c:v>
                </c:pt>
                <c:pt idx="2">
                  <c:v>0.04</c:v>
                </c:pt>
                <c:pt idx="3">
                  <c:v>0.14000000000000001</c:v>
                </c:pt>
                <c:pt idx="4">
                  <c:v>0.16</c:v>
                </c:pt>
                <c:pt idx="5">
                  <c:v>0.26</c:v>
                </c:pt>
                <c:pt idx="6">
                  <c:v>0.41</c:v>
                </c:pt>
              </c:numCache>
            </c:numRef>
          </c:val>
          <c:extLst>
            <c:ext xmlns:c16="http://schemas.microsoft.com/office/drawing/2014/chart" uri="{C3380CC4-5D6E-409C-BE32-E72D297353CC}">
              <c16:uniqueId val="{0000000C-66D2-3F41-AFD3-66908C64EAA4}"/>
            </c:ext>
          </c:extLst>
        </c:ser>
        <c:dLbls>
          <c:dLblPos val="inEnd"/>
          <c:showLegendKey val="0"/>
          <c:showVal val="1"/>
          <c:showCatName val="0"/>
          <c:showSerName val="0"/>
          <c:showPercent val="0"/>
          <c:showBubbleSize val="0"/>
        </c:dLbls>
        <c:gapWidth val="9"/>
        <c:axId val="1305847512"/>
        <c:axId val="1305849152"/>
      </c:barChart>
      <c:catAx>
        <c:axId val="1305847512"/>
        <c:scaling>
          <c:orientation val="minMax"/>
        </c:scaling>
        <c:delete val="1"/>
        <c:axPos val="l"/>
        <c:numFmt formatCode="General" sourceLinked="1"/>
        <c:majorTickMark val="none"/>
        <c:minorTickMark val="none"/>
        <c:tickLblPos val="nextTo"/>
        <c:crossAx val="1305849152"/>
        <c:crossesAt val="0"/>
        <c:auto val="1"/>
        <c:lblAlgn val="ctr"/>
        <c:lblOffset val="100"/>
        <c:noMultiLvlLbl val="0"/>
      </c:catAx>
      <c:valAx>
        <c:axId val="1305849152"/>
        <c:scaling>
          <c:orientation val="minMax"/>
        </c:scaling>
        <c:delete val="1"/>
        <c:axPos val="b"/>
        <c:numFmt formatCode="0%" sourceLinked="1"/>
        <c:majorTickMark val="none"/>
        <c:minorTickMark val="none"/>
        <c:tickLblPos val="nextTo"/>
        <c:crossAx val="13058475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dLbls>
          <c:dLblPos val="inEnd"/>
          <c:showLegendKey val="0"/>
          <c:showVal val="1"/>
          <c:showCatName val="0"/>
          <c:showSerName val="0"/>
          <c:showPercent val="0"/>
          <c:showBubbleSize val="0"/>
        </c:dLbls>
        <c:gapWidth val="9"/>
        <c:axId val="1305847512"/>
        <c:axId val="1305849152"/>
      </c:barChart>
      <c:catAx>
        <c:axId val="1305847512"/>
        <c:scaling>
          <c:orientation val="minMax"/>
        </c:scaling>
        <c:delete val="1"/>
        <c:axPos val="l"/>
        <c:numFmt formatCode="General" sourceLinked="1"/>
        <c:majorTickMark val="none"/>
        <c:minorTickMark val="none"/>
        <c:tickLblPos val="nextTo"/>
        <c:crossAx val="1305849152"/>
        <c:crossesAt val="0"/>
        <c:auto val="1"/>
        <c:lblAlgn val="ctr"/>
        <c:lblOffset val="100"/>
        <c:noMultiLvlLbl val="0"/>
      </c:catAx>
      <c:valAx>
        <c:axId val="1305849152"/>
        <c:scaling>
          <c:orientation val="minMax"/>
        </c:scaling>
        <c:delete val="1"/>
        <c:axPos val="b"/>
        <c:numFmt formatCode="0%" sourceLinked="1"/>
        <c:majorTickMark val="none"/>
        <c:minorTickMark val="none"/>
        <c:tickLblPos val="nextTo"/>
        <c:crossAx val="13058475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dLbls>
          <c:dLblPos val="inEnd"/>
          <c:showLegendKey val="0"/>
          <c:showVal val="1"/>
          <c:showCatName val="0"/>
          <c:showSerName val="0"/>
          <c:showPercent val="0"/>
          <c:showBubbleSize val="0"/>
        </c:dLbls>
        <c:gapWidth val="9"/>
        <c:axId val="1305847512"/>
        <c:axId val="1305849152"/>
      </c:barChart>
      <c:catAx>
        <c:axId val="1305847512"/>
        <c:scaling>
          <c:orientation val="minMax"/>
        </c:scaling>
        <c:delete val="1"/>
        <c:axPos val="l"/>
        <c:numFmt formatCode="General" sourceLinked="1"/>
        <c:majorTickMark val="none"/>
        <c:minorTickMark val="none"/>
        <c:tickLblPos val="nextTo"/>
        <c:crossAx val="1305849152"/>
        <c:crossesAt val="0"/>
        <c:auto val="1"/>
        <c:lblAlgn val="ctr"/>
        <c:lblOffset val="100"/>
        <c:noMultiLvlLbl val="0"/>
      </c:catAx>
      <c:valAx>
        <c:axId val="1305849152"/>
        <c:scaling>
          <c:orientation val="minMax"/>
        </c:scaling>
        <c:delete val="1"/>
        <c:axPos val="b"/>
        <c:numFmt formatCode="0%" sourceLinked="1"/>
        <c:majorTickMark val="none"/>
        <c:minorTickMark val="none"/>
        <c:tickLblPos val="nextTo"/>
        <c:crossAx val="13058475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2400">
                <a:solidFill>
                  <a:srgbClr val="75787B"/>
                </a:solidFill>
                <a:latin typeface="+mj-lt"/>
              </a:defRPr>
            </a:pPr>
            <a:r>
              <a:rPr lang="en-US" sz="2400" dirty="0">
                <a:solidFill>
                  <a:srgbClr val="75787B"/>
                </a:solidFill>
                <a:effectLst/>
              </a:rPr>
              <a:t>59%</a:t>
            </a:r>
          </a:p>
        </c:rich>
      </c:tx>
      <c:layout>
        <c:manualLayout>
          <c:xMode val="edge"/>
          <c:yMode val="edge"/>
          <c:x val="0.43778937007874014"/>
          <c:y val="0.40465677367252162"/>
        </c:manualLayout>
      </c:layout>
      <c:overlay val="0"/>
    </c:title>
    <c:autoTitleDeleted val="0"/>
    <c:plotArea>
      <c:layout>
        <c:manualLayout>
          <c:layoutTarget val="inner"/>
          <c:xMode val="edge"/>
          <c:yMode val="edge"/>
          <c:x val="0.24289866205748673"/>
          <c:y val="0.17624114881323288"/>
          <c:w val="0.57688112156712112"/>
          <c:h val="0.59130314960629915"/>
        </c:manualLayout>
      </c:layout>
      <c:doughnutChart>
        <c:varyColors val="1"/>
        <c:ser>
          <c:idx val="0"/>
          <c:order val="0"/>
          <c:tx>
            <c:strRef>
              <c:f>Sheet1!$B$1</c:f>
              <c:strCache>
                <c:ptCount val="1"/>
                <c:pt idx="0">
                  <c:v>Sales</c:v>
                </c:pt>
              </c:strCache>
            </c:strRef>
          </c:tx>
          <c:dPt>
            <c:idx val="0"/>
            <c:bubble3D val="0"/>
            <c:spPr>
              <a:solidFill>
                <a:schemeClr val="accent1">
                  <a:lumMod val="50000"/>
                </a:schemeClr>
              </a:solidFill>
            </c:spPr>
            <c:extLst>
              <c:ext xmlns:c16="http://schemas.microsoft.com/office/drawing/2014/chart" uri="{C3380CC4-5D6E-409C-BE32-E72D297353CC}">
                <c16:uniqueId val="{00000001-795E-0340-BAF5-3331B0FB36AE}"/>
              </c:ext>
            </c:extLst>
          </c:dPt>
          <c:dPt>
            <c:idx val="1"/>
            <c:bubble3D val="0"/>
            <c:spPr>
              <a:solidFill>
                <a:schemeClr val="bg1">
                  <a:lumMod val="75000"/>
                </a:schemeClr>
              </a:solidFill>
            </c:spPr>
            <c:extLst>
              <c:ext xmlns:c16="http://schemas.microsoft.com/office/drawing/2014/chart" uri="{C3380CC4-5D6E-409C-BE32-E72D297353CC}">
                <c16:uniqueId val="{00000003-795E-0340-BAF5-3331B0FB36AE}"/>
              </c:ext>
            </c:extLst>
          </c:dPt>
          <c:cat>
            <c:strRef>
              <c:f>Sheet1!$A$2:$A$3</c:f>
              <c:strCache>
                <c:ptCount val="2"/>
                <c:pt idx="0">
                  <c:v>1st Qtr</c:v>
                </c:pt>
                <c:pt idx="1">
                  <c:v>2nd Qtr</c:v>
                </c:pt>
              </c:strCache>
            </c:strRef>
          </c:cat>
          <c:val>
            <c:numRef>
              <c:f>Sheet1!$B$2:$B$3</c:f>
              <c:numCache>
                <c:formatCode>General</c:formatCode>
                <c:ptCount val="2"/>
                <c:pt idx="0">
                  <c:v>59</c:v>
                </c:pt>
                <c:pt idx="1">
                  <c:v>41</c:v>
                </c:pt>
              </c:numCache>
            </c:numRef>
          </c:val>
          <c:extLst>
            <c:ext xmlns:c16="http://schemas.microsoft.com/office/drawing/2014/chart" uri="{C3380CC4-5D6E-409C-BE32-E72D297353CC}">
              <c16:uniqueId val="{00000004-795E-0340-BAF5-3331B0FB36AE}"/>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2400">
                <a:solidFill>
                  <a:srgbClr val="75787B"/>
                </a:solidFill>
                <a:latin typeface="+mj-lt"/>
              </a:defRPr>
            </a:pPr>
            <a:r>
              <a:rPr lang="en-US" sz="2400" dirty="0">
                <a:solidFill>
                  <a:srgbClr val="75787B"/>
                </a:solidFill>
                <a:effectLst/>
              </a:rPr>
              <a:t>26%</a:t>
            </a:r>
          </a:p>
        </c:rich>
      </c:tx>
      <c:layout>
        <c:manualLayout>
          <c:xMode val="edge"/>
          <c:yMode val="edge"/>
          <c:x val="0.43778937007874014"/>
          <c:y val="0.40465677367252162"/>
        </c:manualLayout>
      </c:layout>
      <c:overlay val="0"/>
    </c:title>
    <c:autoTitleDeleted val="0"/>
    <c:plotArea>
      <c:layout>
        <c:manualLayout>
          <c:layoutTarget val="inner"/>
          <c:xMode val="edge"/>
          <c:yMode val="edge"/>
          <c:x val="0.24289866205748673"/>
          <c:y val="0.17624114881323288"/>
          <c:w val="0.57688112156712112"/>
          <c:h val="0.59130314960629915"/>
        </c:manualLayout>
      </c:layout>
      <c:doughnutChart>
        <c:varyColors val="1"/>
        <c:ser>
          <c:idx val="0"/>
          <c:order val="0"/>
          <c:tx>
            <c:strRef>
              <c:f>Sheet1!$B$1</c:f>
              <c:strCache>
                <c:ptCount val="1"/>
                <c:pt idx="0">
                  <c:v>Sales</c:v>
                </c:pt>
              </c:strCache>
            </c:strRef>
          </c:tx>
          <c:dPt>
            <c:idx val="0"/>
            <c:bubble3D val="0"/>
            <c:spPr>
              <a:solidFill>
                <a:schemeClr val="accent1">
                  <a:lumMod val="50000"/>
                </a:schemeClr>
              </a:solidFill>
            </c:spPr>
            <c:extLst>
              <c:ext xmlns:c16="http://schemas.microsoft.com/office/drawing/2014/chart" uri="{C3380CC4-5D6E-409C-BE32-E72D297353CC}">
                <c16:uniqueId val="{00000001-7741-DB4E-A6DE-FF1DC7FF7192}"/>
              </c:ext>
            </c:extLst>
          </c:dPt>
          <c:dPt>
            <c:idx val="1"/>
            <c:bubble3D val="0"/>
            <c:spPr>
              <a:solidFill>
                <a:schemeClr val="bg1">
                  <a:lumMod val="75000"/>
                </a:schemeClr>
              </a:solidFill>
            </c:spPr>
            <c:extLst>
              <c:ext xmlns:c16="http://schemas.microsoft.com/office/drawing/2014/chart" uri="{C3380CC4-5D6E-409C-BE32-E72D297353CC}">
                <c16:uniqueId val="{00000003-7741-DB4E-A6DE-FF1DC7FF7192}"/>
              </c:ext>
            </c:extLst>
          </c:dPt>
          <c:cat>
            <c:strRef>
              <c:f>Sheet1!$A$2:$A$3</c:f>
              <c:strCache>
                <c:ptCount val="2"/>
                <c:pt idx="0">
                  <c:v>1st Qtr</c:v>
                </c:pt>
                <c:pt idx="1">
                  <c:v>2nd Qtr</c:v>
                </c:pt>
              </c:strCache>
            </c:strRef>
          </c:cat>
          <c:val>
            <c:numRef>
              <c:f>Sheet1!$B$2:$B$3</c:f>
              <c:numCache>
                <c:formatCode>General</c:formatCode>
                <c:ptCount val="2"/>
                <c:pt idx="0">
                  <c:v>26</c:v>
                </c:pt>
                <c:pt idx="1">
                  <c:v>74</c:v>
                </c:pt>
              </c:numCache>
            </c:numRef>
          </c:val>
          <c:extLst>
            <c:ext xmlns:c16="http://schemas.microsoft.com/office/drawing/2014/chart" uri="{C3380CC4-5D6E-409C-BE32-E72D297353CC}">
              <c16:uniqueId val="{00000004-7741-DB4E-A6DE-FF1DC7FF7192}"/>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2400">
                <a:solidFill>
                  <a:srgbClr val="75787B"/>
                </a:solidFill>
                <a:latin typeface="+mj-lt"/>
              </a:defRPr>
            </a:pPr>
            <a:r>
              <a:rPr lang="en-US" sz="2400" dirty="0">
                <a:solidFill>
                  <a:srgbClr val="75787B"/>
                </a:solidFill>
                <a:effectLst/>
              </a:rPr>
              <a:t>80%</a:t>
            </a:r>
          </a:p>
        </c:rich>
      </c:tx>
      <c:layout>
        <c:manualLayout>
          <c:xMode val="edge"/>
          <c:yMode val="edge"/>
          <c:x val="0.43778937007874014"/>
          <c:y val="0.40465677367252162"/>
        </c:manualLayout>
      </c:layout>
      <c:overlay val="0"/>
    </c:title>
    <c:autoTitleDeleted val="0"/>
    <c:plotArea>
      <c:layout>
        <c:manualLayout>
          <c:layoutTarget val="inner"/>
          <c:xMode val="edge"/>
          <c:yMode val="edge"/>
          <c:x val="0.24289866205748673"/>
          <c:y val="0.17624114881323288"/>
          <c:w val="0.57688112156712112"/>
          <c:h val="0.59130314960629915"/>
        </c:manualLayout>
      </c:layout>
      <c:doughnutChart>
        <c:varyColors val="1"/>
        <c:ser>
          <c:idx val="0"/>
          <c:order val="0"/>
          <c:tx>
            <c:strRef>
              <c:f>Sheet1!$B$1</c:f>
              <c:strCache>
                <c:ptCount val="1"/>
                <c:pt idx="0">
                  <c:v>Sales</c:v>
                </c:pt>
              </c:strCache>
            </c:strRef>
          </c:tx>
          <c:dPt>
            <c:idx val="0"/>
            <c:bubble3D val="0"/>
            <c:spPr>
              <a:solidFill>
                <a:schemeClr val="accent1">
                  <a:lumMod val="50000"/>
                </a:schemeClr>
              </a:solidFill>
            </c:spPr>
            <c:extLst>
              <c:ext xmlns:c16="http://schemas.microsoft.com/office/drawing/2014/chart" uri="{C3380CC4-5D6E-409C-BE32-E72D297353CC}">
                <c16:uniqueId val="{00000001-795E-0340-BAF5-3331B0FB36AE}"/>
              </c:ext>
            </c:extLst>
          </c:dPt>
          <c:dPt>
            <c:idx val="1"/>
            <c:bubble3D val="0"/>
            <c:spPr>
              <a:solidFill>
                <a:schemeClr val="bg1">
                  <a:lumMod val="75000"/>
                </a:schemeClr>
              </a:solidFill>
            </c:spPr>
            <c:extLst>
              <c:ext xmlns:c16="http://schemas.microsoft.com/office/drawing/2014/chart" uri="{C3380CC4-5D6E-409C-BE32-E72D297353CC}">
                <c16:uniqueId val="{00000003-795E-0340-BAF5-3331B0FB36AE}"/>
              </c:ext>
            </c:extLst>
          </c:dPt>
          <c:cat>
            <c:strRef>
              <c:f>Sheet1!$A$2:$A$3</c:f>
              <c:strCache>
                <c:ptCount val="2"/>
                <c:pt idx="0">
                  <c:v>1st Qtr</c:v>
                </c:pt>
                <c:pt idx="1">
                  <c:v>2nd Qtr</c:v>
                </c:pt>
              </c:strCache>
            </c:strRef>
          </c:cat>
          <c:val>
            <c:numRef>
              <c:f>Sheet1!$B$2:$B$3</c:f>
              <c:numCache>
                <c:formatCode>General</c:formatCode>
                <c:ptCount val="2"/>
                <c:pt idx="0">
                  <c:v>80</c:v>
                </c:pt>
                <c:pt idx="1">
                  <c:v>20</c:v>
                </c:pt>
              </c:numCache>
            </c:numRef>
          </c:val>
          <c:extLst>
            <c:ext xmlns:c16="http://schemas.microsoft.com/office/drawing/2014/chart" uri="{C3380CC4-5D6E-409C-BE32-E72D297353CC}">
              <c16:uniqueId val="{00000004-795E-0340-BAF5-3331B0FB36AE}"/>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2400">
                <a:solidFill>
                  <a:srgbClr val="75787B"/>
                </a:solidFill>
                <a:latin typeface="+mj-lt"/>
              </a:defRPr>
            </a:pPr>
            <a:r>
              <a:rPr lang="en-US" sz="2400" dirty="0">
                <a:solidFill>
                  <a:srgbClr val="75787B"/>
                </a:solidFill>
                <a:effectLst/>
              </a:rPr>
              <a:t>70%</a:t>
            </a:r>
          </a:p>
        </c:rich>
      </c:tx>
      <c:layout>
        <c:manualLayout>
          <c:xMode val="edge"/>
          <c:yMode val="edge"/>
          <c:x val="0.43778937007874014"/>
          <c:y val="0.40465677367252162"/>
        </c:manualLayout>
      </c:layout>
      <c:overlay val="0"/>
    </c:title>
    <c:autoTitleDeleted val="0"/>
    <c:plotArea>
      <c:layout>
        <c:manualLayout>
          <c:layoutTarget val="inner"/>
          <c:xMode val="edge"/>
          <c:yMode val="edge"/>
          <c:x val="0.24289866205748673"/>
          <c:y val="0.17624114881323288"/>
          <c:w val="0.57688112156712112"/>
          <c:h val="0.59130314960629915"/>
        </c:manualLayout>
      </c:layout>
      <c:doughnutChart>
        <c:varyColors val="1"/>
        <c:ser>
          <c:idx val="0"/>
          <c:order val="0"/>
          <c:tx>
            <c:strRef>
              <c:f>Sheet1!$B$1</c:f>
              <c:strCache>
                <c:ptCount val="1"/>
                <c:pt idx="0">
                  <c:v>Sales</c:v>
                </c:pt>
              </c:strCache>
            </c:strRef>
          </c:tx>
          <c:dPt>
            <c:idx val="0"/>
            <c:bubble3D val="0"/>
            <c:spPr>
              <a:solidFill>
                <a:schemeClr val="accent1">
                  <a:lumMod val="50000"/>
                </a:schemeClr>
              </a:solidFill>
            </c:spPr>
            <c:extLst>
              <c:ext xmlns:c16="http://schemas.microsoft.com/office/drawing/2014/chart" uri="{C3380CC4-5D6E-409C-BE32-E72D297353CC}">
                <c16:uniqueId val="{00000001-795E-0340-BAF5-3331B0FB36AE}"/>
              </c:ext>
            </c:extLst>
          </c:dPt>
          <c:dPt>
            <c:idx val="1"/>
            <c:bubble3D val="0"/>
            <c:spPr>
              <a:solidFill>
                <a:schemeClr val="bg1">
                  <a:lumMod val="75000"/>
                </a:schemeClr>
              </a:solidFill>
            </c:spPr>
            <c:extLst>
              <c:ext xmlns:c16="http://schemas.microsoft.com/office/drawing/2014/chart" uri="{C3380CC4-5D6E-409C-BE32-E72D297353CC}">
                <c16:uniqueId val="{00000003-795E-0340-BAF5-3331B0FB36AE}"/>
              </c:ext>
            </c:extLst>
          </c:dPt>
          <c:cat>
            <c:strRef>
              <c:f>Sheet1!$A$2:$A$3</c:f>
              <c:strCache>
                <c:ptCount val="2"/>
                <c:pt idx="0">
                  <c:v>1st Qtr</c:v>
                </c:pt>
                <c:pt idx="1">
                  <c:v>2nd Qtr</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795E-0340-BAF5-3331B0FB36AE}"/>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Adj Close</c:v>
                </c:pt>
              </c:strCache>
            </c:strRef>
          </c:tx>
          <c:spPr>
            <a:ln w="25400" cap="rnd">
              <a:solidFill>
                <a:srgbClr val="00008F">
                  <a:alpha val="25000"/>
                </a:srgbClr>
              </a:solidFill>
              <a:round/>
            </a:ln>
            <a:effectLst/>
          </c:spPr>
          <c:marker>
            <c:symbol val="none"/>
          </c:marker>
          <c:cat>
            <c:numRef>
              <c:f>Sheet1!$A$2:$A$289</c:f>
              <c:numCache>
                <c:formatCode>m/d/yy</c:formatCode>
                <c:ptCount val="288"/>
                <c:pt idx="0">
                  <c:v>34700</c:v>
                </c:pt>
                <c:pt idx="1">
                  <c:v>34731</c:v>
                </c:pt>
                <c:pt idx="2">
                  <c:v>34759</c:v>
                </c:pt>
                <c:pt idx="3">
                  <c:v>34790</c:v>
                </c:pt>
                <c:pt idx="4">
                  <c:v>34820</c:v>
                </c:pt>
                <c:pt idx="5">
                  <c:v>34851</c:v>
                </c:pt>
                <c:pt idx="6">
                  <c:v>34881</c:v>
                </c:pt>
                <c:pt idx="7">
                  <c:v>34912</c:v>
                </c:pt>
                <c:pt idx="8">
                  <c:v>34943</c:v>
                </c:pt>
                <c:pt idx="9">
                  <c:v>34973</c:v>
                </c:pt>
                <c:pt idx="10">
                  <c:v>35004</c:v>
                </c:pt>
                <c:pt idx="11">
                  <c:v>35034</c:v>
                </c:pt>
                <c:pt idx="12">
                  <c:v>35065</c:v>
                </c:pt>
                <c:pt idx="13">
                  <c:v>35096</c:v>
                </c:pt>
                <c:pt idx="14">
                  <c:v>35125</c:v>
                </c:pt>
                <c:pt idx="15">
                  <c:v>35156</c:v>
                </c:pt>
                <c:pt idx="16">
                  <c:v>35186</c:v>
                </c:pt>
                <c:pt idx="17">
                  <c:v>35217</c:v>
                </c:pt>
                <c:pt idx="18">
                  <c:v>35247</c:v>
                </c:pt>
                <c:pt idx="19">
                  <c:v>35278</c:v>
                </c:pt>
                <c:pt idx="20">
                  <c:v>35309</c:v>
                </c:pt>
                <c:pt idx="21">
                  <c:v>35339</c:v>
                </c:pt>
                <c:pt idx="22">
                  <c:v>35370</c:v>
                </c:pt>
                <c:pt idx="23">
                  <c:v>35400</c:v>
                </c:pt>
                <c:pt idx="24">
                  <c:v>35431</c:v>
                </c:pt>
                <c:pt idx="25">
                  <c:v>35462</c:v>
                </c:pt>
                <c:pt idx="26">
                  <c:v>35490</c:v>
                </c:pt>
                <c:pt idx="27">
                  <c:v>35521</c:v>
                </c:pt>
                <c:pt idx="28">
                  <c:v>35551</c:v>
                </c:pt>
                <c:pt idx="29">
                  <c:v>35582</c:v>
                </c:pt>
                <c:pt idx="30">
                  <c:v>35612</c:v>
                </c:pt>
                <c:pt idx="31">
                  <c:v>35643</c:v>
                </c:pt>
                <c:pt idx="32">
                  <c:v>35674</c:v>
                </c:pt>
                <c:pt idx="33">
                  <c:v>35704</c:v>
                </c:pt>
                <c:pt idx="34">
                  <c:v>35735</c:v>
                </c:pt>
                <c:pt idx="35">
                  <c:v>35765</c:v>
                </c:pt>
                <c:pt idx="36">
                  <c:v>35796</c:v>
                </c:pt>
                <c:pt idx="37">
                  <c:v>35827</c:v>
                </c:pt>
                <c:pt idx="38">
                  <c:v>35855</c:v>
                </c:pt>
                <c:pt idx="39">
                  <c:v>35886</c:v>
                </c:pt>
                <c:pt idx="40">
                  <c:v>35916</c:v>
                </c:pt>
                <c:pt idx="41">
                  <c:v>35947</c:v>
                </c:pt>
                <c:pt idx="42">
                  <c:v>35977</c:v>
                </c:pt>
                <c:pt idx="43">
                  <c:v>36008</c:v>
                </c:pt>
                <c:pt idx="44">
                  <c:v>36039</c:v>
                </c:pt>
                <c:pt idx="45">
                  <c:v>36069</c:v>
                </c:pt>
                <c:pt idx="46">
                  <c:v>36100</c:v>
                </c:pt>
                <c:pt idx="47">
                  <c:v>36130</c:v>
                </c:pt>
                <c:pt idx="48">
                  <c:v>36161</c:v>
                </c:pt>
                <c:pt idx="49">
                  <c:v>36192</c:v>
                </c:pt>
                <c:pt idx="50">
                  <c:v>36220</c:v>
                </c:pt>
                <c:pt idx="51">
                  <c:v>36251</c:v>
                </c:pt>
                <c:pt idx="52">
                  <c:v>36281</c:v>
                </c:pt>
                <c:pt idx="53">
                  <c:v>36312</c:v>
                </c:pt>
                <c:pt idx="54">
                  <c:v>36342</c:v>
                </c:pt>
                <c:pt idx="55">
                  <c:v>36373</c:v>
                </c:pt>
                <c:pt idx="56">
                  <c:v>36404</c:v>
                </c:pt>
                <c:pt idx="57">
                  <c:v>36434</c:v>
                </c:pt>
                <c:pt idx="58">
                  <c:v>36465</c:v>
                </c:pt>
                <c:pt idx="59">
                  <c:v>36495</c:v>
                </c:pt>
                <c:pt idx="60">
                  <c:v>36526</c:v>
                </c:pt>
                <c:pt idx="61">
                  <c:v>36557</c:v>
                </c:pt>
                <c:pt idx="62">
                  <c:v>36586</c:v>
                </c:pt>
                <c:pt idx="63">
                  <c:v>36617</c:v>
                </c:pt>
                <c:pt idx="64">
                  <c:v>36647</c:v>
                </c:pt>
                <c:pt idx="65">
                  <c:v>36678</c:v>
                </c:pt>
                <c:pt idx="66">
                  <c:v>36708</c:v>
                </c:pt>
                <c:pt idx="67">
                  <c:v>36739</c:v>
                </c:pt>
                <c:pt idx="68">
                  <c:v>36770</c:v>
                </c:pt>
                <c:pt idx="69">
                  <c:v>36800</c:v>
                </c:pt>
                <c:pt idx="70">
                  <c:v>36831</c:v>
                </c:pt>
                <c:pt idx="71">
                  <c:v>36861</c:v>
                </c:pt>
                <c:pt idx="72">
                  <c:v>36892</c:v>
                </c:pt>
                <c:pt idx="73">
                  <c:v>36923</c:v>
                </c:pt>
                <c:pt idx="74">
                  <c:v>36951</c:v>
                </c:pt>
                <c:pt idx="75">
                  <c:v>36982</c:v>
                </c:pt>
                <c:pt idx="76">
                  <c:v>37012</c:v>
                </c:pt>
                <c:pt idx="77">
                  <c:v>37043</c:v>
                </c:pt>
                <c:pt idx="78">
                  <c:v>37073</c:v>
                </c:pt>
                <c:pt idx="79">
                  <c:v>37104</c:v>
                </c:pt>
                <c:pt idx="80">
                  <c:v>37135</c:v>
                </c:pt>
                <c:pt idx="81">
                  <c:v>37165</c:v>
                </c:pt>
                <c:pt idx="82">
                  <c:v>37196</c:v>
                </c:pt>
                <c:pt idx="83">
                  <c:v>37226</c:v>
                </c:pt>
                <c:pt idx="84">
                  <c:v>37257</c:v>
                </c:pt>
                <c:pt idx="85">
                  <c:v>37288</c:v>
                </c:pt>
                <c:pt idx="86">
                  <c:v>37316</c:v>
                </c:pt>
                <c:pt idx="87">
                  <c:v>37347</c:v>
                </c:pt>
                <c:pt idx="88">
                  <c:v>37377</c:v>
                </c:pt>
                <c:pt idx="89">
                  <c:v>37408</c:v>
                </c:pt>
                <c:pt idx="90">
                  <c:v>37438</c:v>
                </c:pt>
                <c:pt idx="91">
                  <c:v>37469</c:v>
                </c:pt>
                <c:pt idx="92">
                  <c:v>37500</c:v>
                </c:pt>
                <c:pt idx="93">
                  <c:v>37530</c:v>
                </c:pt>
                <c:pt idx="94">
                  <c:v>37561</c:v>
                </c:pt>
                <c:pt idx="95">
                  <c:v>37591</c:v>
                </c:pt>
                <c:pt idx="96">
                  <c:v>37622</c:v>
                </c:pt>
                <c:pt idx="97">
                  <c:v>37653</c:v>
                </c:pt>
                <c:pt idx="98">
                  <c:v>37681</c:v>
                </c:pt>
                <c:pt idx="99">
                  <c:v>37712</c:v>
                </c:pt>
                <c:pt idx="100">
                  <c:v>37742</c:v>
                </c:pt>
                <c:pt idx="101">
                  <c:v>37773</c:v>
                </c:pt>
                <c:pt idx="102">
                  <c:v>37803</c:v>
                </c:pt>
                <c:pt idx="103">
                  <c:v>37834</c:v>
                </c:pt>
                <c:pt idx="104">
                  <c:v>37865</c:v>
                </c:pt>
                <c:pt idx="105">
                  <c:v>37895</c:v>
                </c:pt>
                <c:pt idx="106">
                  <c:v>37926</c:v>
                </c:pt>
                <c:pt idx="107">
                  <c:v>37956</c:v>
                </c:pt>
                <c:pt idx="108">
                  <c:v>37987</c:v>
                </c:pt>
                <c:pt idx="109">
                  <c:v>38018</c:v>
                </c:pt>
                <c:pt idx="110">
                  <c:v>38047</c:v>
                </c:pt>
                <c:pt idx="111">
                  <c:v>38078</c:v>
                </c:pt>
                <c:pt idx="112">
                  <c:v>38108</c:v>
                </c:pt>
                <c:pt idx="113">
                  <c:v>38139</c:v>
                </c:pt>
                <c:pt idx="114">
                  <c:v>38169</c:v>
                </c:pt>
                <c:pt idx="115">
                  <c:v>38200</c:v>
                </c:pt>
                <c:pt idx="116">
                  <c:v>38231</c:v>
                </c:pt>
                <c:pt idx="117">
                  <c:v>38261</c:v>
                </c:pt>
                <c:pt idx="118">
                  <c:v>38292</c:v>
                </c:pt>
                <c:pt idx="119">
                  <c:v>38322</c:v>
                </c:pt>
                <c:pt idx="120">
                  <c:v>38353</c:v>
                </c:pt>
                <c:pt idx="121">
                  <c:v>38384</c:v>
                </c:pt>
                <c:pt idx="122">
                  <c:v>38412</c:v>
                </c:pt>
                <c:pt idx="123">
                  <c:v>38443</c:v>
                </c:pt>
                <c:pt idx="124">
                  <c:v>38473</c:v>
                </c:pt>
                <c:pt idx="125">
                  <c:v>38504</c:v>
                </c:pt>
                <c:pt idx="126">
                  <c:v>38534</c:v>
                </c:pt>
                <c:pt idx="127">
                  <c:v>38565</c:v>
                </c:pt>
                <c:pt idx="128">
                  <c:v>38596</c:v>
                </c:pt>
                <c:pt idx="129">
                  <c:v>38626</c:v>
                </c:pt>
                <c:pt idx="130">
                  <c:v>38657</c:v>
                </c:pt>
                <c:pt idx="131">
                  <c:v>38687</c:v>
                </c:pt>
                <c:pt idx="132">
                  <c:v>38718</c:v>
                </c:pt>
                <c:pt idx="133">
                  <c:v>38749</c:v>
                </c:pt>
                <c:pt idx="134">
                  <c:v>38777</c:v>
                </c:pt>
                <c:pt idx="135">
                  <c:v>38808</c:v>
                </c:pt>
                <c:pt idx="136">
                  <c:v>38838</c:v>
                </c:pt>
                <c:pt idx="137">
                  <c:v>38869</c:v>
                </c:pt>
                <c:pt idx="138">
                  <c:v>38899</c:v>
                </c:pt>
                <c:pt idx="139">
                  <c:v>38930</c:v>
                </c:pt>
                <c:pt idx="140">
                  <c:v>38961</c:v>
                </c:pt>
                <c:pt idx="141">
                  <c:v>38991</c:v>
                </c:pt>
                <c:pt idx="142">
                  <c:v>39022</c:v>
                </c:pt>
                <c:pt idx="143">
                  <c:v>39052</c:v>
                </c:pt>
                <c:pt idx="144">
                  <c:v>39083</c:v>
                </c:pt>
                <c:pt idx="145">
                  <c:v>39114</c:v>
                </c:pt>
                <c:pt idx="146">
                  <c:v>39142</c:v>
                </c:pt>
                <c:pt idx="147">
                  <c:v>39173</c:v>
                </c:pt>
                <c:pt idx="148">
                  <c:v>39203</c:v>
                </c:pt>
                <c:pt idx="149">
                  <c:v>39234</c:v>
                </c:pt>
                <c:pt idx="150">
                  <c:v>39264</c:v>
                </c:pt>
                <c:pt idx="151">
                  <c:v>39295</c:v>
                </c:pt>
                <c:pt idx="152">
                  <c:v>39326</c:v>
                </c:pt>
                <c:pt idx="153">
                  <c:v>39356</c:v>
                </c:pt>
                <c:pt idx="154">
                  <c:v>39387</c:v>
                </c:pt>
                <c:pt idx="155">
                  <c:v>39417</c:v>
                </c:pt>
                <c:pt idx="156">
                  <c:v>39448</c:v>
                </c:pt>
                <c:pt idx="157">
                  <c:v>39479</c:v>
                </c:pt>
                <c:pt idx="158">
                  <c:v>39508</c:v>
                </c:pt>
                <c:pt idx="159">
                  <c:v>39539</c:v>
                </c:pt>
                <c:pt idx="160">
                  <c:v>39569</c:v>
                </c:pt>
                <c:pt idx="161">
                  <c:v>39600</c:v>
                </c:pt>
                <c:pt idx="162">
                  <c:v>39630</c:v>
                </c:pt>
                <c:pt idx="163">
                  <c:v>39661</c:v>
                </c:pt>
                <c:pt idx="164">
                  <c:v>39692</c:v>
                </c:pt>
                <c:pt idx="165">
                  <c:v>39722</c:v>
                </c:pt>
                <c:pt idx="166">
                  <c:v>39753</c:v>
                </c:pt>
                <c:pt idx="167">
                  <c:v>39783</c:v>
                </c:pt>
                <c:pt idx="168">
                  <c:v>39814</c:v>
                </c:pt>
                <c:pt idx="169">
                  <c:v>39845</c:v>
                </c:pt>
                <c:pt idx="170">
                  <c:v>39873</c:v>
                </c:pt>
                <c:pt idx="171">
                  <c:v>39904</c:v>
                </c:pt>
                <c:pt idx="172">
                  <c:v>39934</c:v>
                </c:pt>
                <c:pt idx="173">
                  <c:v>39965</c:v>
                </c:pt>
                <c:pt idx="174">
                  <c:v>39995</c:v>
                </c:pt>
                <c:pt idx="175">
                  <c:v>40026</c:v>
                </c:pt>
                <c:pt idx="176">
                  <c:v>40057</c:v>
                </c:pt>
                <c:pt idx="177">
                  <c:v>40087</c:v>
                </c:pt>
                <c:pt idx="178">
                  <c:v>40118</c:v>
                </c:pt>
                <c:pt idx="179">
                  <c:v>40148</c:v>
                </c:pt>
                <c:pt idx="180">
                  <c:v>40179</c:v>
                </c:pt>
                <c:pt idx="181">
                  <c:v>40210</c:v>
                </c:pt>
                <c:pt idx="182">
                  <c:v>40238</c:v>
                </c:pt>
                <c:pt idx="183">
                  <c:v>40269</c:v>
                </c:pt>
                <c:pt idx="184">
                  <c:v>40299</c:v>
                </c:pt>
                <c:pt idx="185">
                  <c:v>40330</c:v>
                </c:pt>
                <c:pt idx="186">
                  <c:v>40360</c:v>
                </c:pt>
                <c:pt idx="187">
                  <c:v>40391</c:v>
                </c:pt>
                <c:pt idx="188">
                  <c:v>40422</c:v>
                </c:pt>
                <c:pt idx="189">
                  <c:v>40452</c:v>
                </c:pt>
                <c:pt idx="190">
                  <c:v>40483</c:v>
                </c:pt>
                <c:pt idx="191">
                  <c:v>40513</c:v>
                </c:pt>
                <c:pt idx="192">
                  <c:v>40544</c:v>
                </c:pt>
                <c:pt idx="193">
                  <c:v>40575</c:v>
                </c:pt>
                <c:pt idx="194">
                  <c:v>40603</c:v>
                </c:pt>
                <c:pt idx="195">
                  <c:v>40634</c:v>
                </c:pt>
                <c:pt idx="196">
                  <c:v>40664</c:v>
                </c:pt>
                <c:pt idx="197">
                  <c:v>40695</c:v>
                </c:pt>
                <c:pt idx="198">
                  <c:v>40725</c:v>
                </c:pt>
                <c:pt idx="199">
                  <c:v>40756</c:v>
                </c:pt>
                <c:pt idx="200">
                  <c:v>40787</c:v>
                </c:pt>
                <c:pt idx="201">
                  <c:v>40817</c:v>
                </c:pt>
                <c:pt idx="202">
                  <c:v>40848</c:v>
                </c:pt>
                <c:pt idx="203">
                  <c:v>40878</c:v>
                </c:pt>
                <c:pt idx="204">
                  <c:v>40909</c:v>
                </c:pt>
                <c:pt idx="205">
                  <c:v>40940</c:v>
                </c:pt>
                <c:pt idx="206">
                  <c:v>40969</c:v>
                </c:pt>
                <c:pt idx="207">
                  <c:v>41000</c:v>
                </c:pt>
                <c:pt idx="208">
                  <c:v>41030</c:v>
                </c:pt>
                <c:pt idx="209">
                  <c:v>41061</c:v>
                </c:pt>
                <c:pt idx="210">
                  <c:v>41091</c:v>
                </c:pt>
                <c:pt idx="211">
                  <c:v>41122</c:v>
                </c:pt>
                <c:pt idx="212">
                  <c:v>41153</c:v>
                </c:pt>
                <c:pt idx="213">
                  <c:v>41183</c:v>
                </c:pt>
                <c:pt idx="214">
                  <c:v>41214</c:v>
                </c:pt>
                <c:pt idx="215">
                  <c:v>41244</c:v>
                </c:pt>
                <c:pt idx="216">
                  <c:v>41275</c:v>
                </c:pt>
                <c:pt idx="217">
                  <c:v>41306</c:v>
                </c:pt>
                <c:pt idx="218">
                  <c:v>41334</c:v>
                </c:pt>
                <c:pt idx="219">
                  <c:v>41365</c:v>
                </c:pt>
                <c:pt idx="220">
                  <c:v>41395</c:v>
                </c:pt>
                <c:pt idx="221">
                  <c:v>41426</c:v>
                </c:pt>
                <c:pt idx="222">
                  <c:v>41456</c:v>
                </c:pt>
                <c:pt idx="223">
                  <c:v>41487</c:v>
                </c:pt>
                <c:pt idx="224">
                  <c:v>41518</c:v>
                </c:pt>
                <c:pt idx="225">
                  <c:v>41548</c:v>
                </c:pt>
                <c:pt idx="226">
                  <c:v>41579</c:v>
                </c:pt>
                <c:pt idx="227">
                  <c:v>41609</c:v>
                </c:pt>
                <c:pt idx="228">
                  <c:v>41640</c:v>
                </c:pt>
                <c:pt idx="229">
                  <c:v>41671</c:v>
                </c:pt>
                <c:pt idx="230">
                  <c:v>41699</c:v>
                </c:pt>
                <c:pt idx="231">
                  <c:v>41730</c:v>
                </c:pt>
                <c:pt idx="232">
                  <c:v>41760</c:v>
                </c:pt>
                <c:pt idx="233">
                  <c:v>41791</c:v>
                </c:pt>
                <c:pt idx="234">
                  <c:v>41821</c:v>
                </c:pt>
                <c:pt idx="235">
                  <c:v>41852</c:v>
                </c:pt>
                <c:pt idx="236">
                  <c:v>41883</c:v>
                </c:pt>
                <c:pt idx="237">
                  <c:v>41913</c:v>
                </c:pt>
                <c:pt idx="238">
                  <c:v>41944</c:v>
                </c:pt>
                <c:pt idx="239">
                  <c:v>41974</c:v>
                </c:pt>
                <c:pt idx="240">
                  <c:v>42005</c:v>
                </c:pt>
                <c:pt idx="241">
                  <c:v>42036</c:v>
                </c:pt>
                <c:pt idx="242">
                  <c:v>42064</c:v>
                </c:pt>
                <c:pt idx="243">
                  <c:v>42095</c:v>
                </c:pt>
                <c:pt idx="244">
                  <c:v>42125</c:v>
                </c:pt>
                <c:pt idx="245">
                  <c:v>42156</c:v>
                </c:pt>
                <c:pt idx="246">
                  <c:v>42186</c:v>
                </c:pt>
                <c:pt idx="247">
                  <c:v>42217</c:v>
                </c:pt>
                <c:pt idx="248">
                  <c:v>42248</c:v>
                </c:pt>
                <c:pt idx="249">
                  <c:v>42278</c:v>
                </c:pt>
                <c:pt idx="250">
                  <c:v>42309</c:v>
                </c:pt>
                <c:pt idx="251">
                  <c:v>42339</c:v>
                </c:pt>
                <c:pt idx="252">
                  <c:v>42370</c:v>
                </c:pt>
                <c:pt idx="253">
                  <c:v>42401</c:v>
                </c:pt>
                <c:pt idx="254">
                  <c:v>42430</c:v>
                </c:pt>
                <c:pt idx="255">
                  <c:v>42461</c:v>
                </c:pt>
                <c:pt idx="256">
                  <c:v>42491</c:v>
                </c:pt>
                <c:pt idx="257">
                  <c:v>42522</c:v>
                </c:pt>
                <c:pt idx="258">
                  <c:v>42552</c:v>
                </c:pt>
                <c:pt idx="259">
                  <c:v>42583</c:v>
                </c:pt>
                <c:pt idx="260">
                  <c:v>42614</c:v>
                </c:pt>
                <c:pt idx="261">
                  <c:v>42644</c:v>
                </c:pt>
                <c:pt idx="262">
                  <c:v>42675</c:v>
                </c:pt>
                <c:pt idx="263">
                  <c:v>42705</c:v>
                </c:pt>
                <c:pt idx="264">
                  <c:v>42736</c:v>
                </c:pt>
                <c:pt idx="265">
                  <c:v>42767</c:v>
                </c:pt>
                <c:pt idx="266">
                  <c:v>42795</c:v>
                </c:pt>
                <c:pt idx="267">
                  <c:v>42826</c:v>
                </c:pt>
                <c:pt idx="268">
                  <c:v>42856</c:v>
                </c:pt>
                <c:pt idx="269">
                  <c:v>42887</c:v>
                </c:pt>
                <c:pt idx="270">
                  <c:v>42917</c:v>
                </c:pt>
                <c:pt idx="271">
                  <c:v>42948</c:v>
                </c:pt>
                <c:pt idx="272">
                  <c:v>42979</c:v>
                </c:pt>
                <c:pt idx="273">
                  <c:v>43009</c:v>
                </c:pt>
                <c:pt idx="274">
                  <c:v>43040</c:v>
                </c:pt>
                <c:pt idx="275">
                  <c:v>43070</c:v>
                </c:pt>
                <c:pt idx="276">
                  <c:v>43101</c:v>
                </c:pt>
                <c:pt idx="277">
                  <c:v>43132</c:v>
                </c:pt>
                <c:pt idx="278">
                  <c:v>43160</c:v>
                </c:pt>
                <c:pt idx="279">
                  <c:v>43191</c:v>
                </c:pt>
                <c:pt idx="280">
                  <c:v>43221</c:v>
                </c:pt>
                <c:pt idx="281">
                  <c:v>43252</c:v>
                </c:pt>
                <c:pt idx="282">
                  <c:v>43282</c:v>
                </c:pt>
                <c:pt idx="283">
                  <c:v>43313</c:v>
                </c:pt>
                <c:pt idx="284">
                  <c:v>43344</c:v>
                </c:pt>
                <c:pt idx="285">
                  <c:v>43374</c:v>
                </c:pt>
                <c:pt idx="286">
                  <c:v>43405</c:v>
                </c:pt>
                <c:pt idx="287">
                  <c:v>43435</c:v>
                </c:pt>
              </c:numCache>
            </c:numRef>
          </c:cat>
          <c:val>
            <c:numRef>
              <c:f>Sheet1!$B$2:$B$289</c:f>
              <c:numCache>
                <c:formatCode>0</c:formatCode>
                <c:ptCount val="288"/>
                <c:pt idx="0">
                  <c:v>470.42001299999998</c:v>
                </c:pt>
                <c:pt idx="1">
                  <c:v>487.39001500000001</c:v>
                </c:pt>
                <c:pt idx="2">
                  <c:v>500.709991</c:v>
                </c:pt>
                <c:pt idx="3">
                  <c:v>514.71002199999998</c:v>
                </c:pt>
                <c:pt idx="4">
                  <c:v>533.40002400000003</c:v>
                </c:pt>
                <c:pt idx="5">
                  <c:v>544.75</c:v>
                </c:pt>
                <c:pt idx="6">
                  <c:v>562.05999799999995</c:v>
                </c:pt>
                <c:pt idx="7">
                  <c:v>561.88000499999998</c:v>
                </c:pt>
                <c:pt idx="8">
                  <c:v>584.40997300000004</c:v>
                </c:pt>
                <c:pt idx="9">
                  <c:v>581.5</c:v>
                </c:pt>
                <c:pt idx="10">
                  <c:v>605.36999500000002</c:v>
                </c:pt>
                <c:pt idx="11">
                  <c:v>615.92999299999997</c:v>
                </c:pt>
                <c:pt idx="12">
                  <c:v>636.02002000000005</c:v>
                </c:pt>
                <c:pt idx="13">
                  <c:v>640.42999299999997</c:v>
                </c:pt>
                <c:pt idx="14">
                  <c:v>645.5</c:v>
                </c:pt>
                <c:pt idx="15">
                  <c:v>654.169983</c:v>
                </c:pt>
                <c:pt idx="16">
                  <c:v>669.11999500000002</c:v>
                </c:pt>
                <c:pt idx="17">
                  <c:v>670.63000499999998</c:v>
                </c:pt>
                <c:pt idx="18">
                  <c:v>639.95001200000002</c:v>
                </c:pt>
                <c:pt idx="19">
                  <c:v>651.98999000000003</c:v>
                </c:pt>
                <c:pt idx="20">
                  <c:v>687.330017</c:v>
                </c:pt>
                <c:pt idx="21">
                  <c:v>705.27002000000005</c:v>
                </c:pt>
                <c:pt idx="22">
                  <c:v>757.02002000000005</c:v>
                </c:pt>
                <c:pt idx="23">
                  <c:v>740.73999000000003</c:v>
                </c:pt>
                <c:pt idx="24">
                  <c:v>786.15997300000004</c:v>
                </c:pt>
                <c:pt idx="25">
                  <c:v>790.82000700000003</c:v>
                </c:pt>
                <c:pt idx="26">
                  <c:v>757.11999500000002</c:v>
                </c:pt>
                <c:pt idx="27">
                  <c:v>801.34002699999996</c:v>
                </c:pt>
                <c:pt idx="28">
                  <c:v>848.28002900000001</c:v>
                </c:pt>
                <c:pt idx="29">
                  <c:v>885.14001499999995</c:v>
                </c:pt>
                <c:pt idx="30">
                  <c:v>954.30999799999995</c:v>
                </c:pt>
                <c:pt idx="31">
                  <c:v>899.46997099999999</c:v>
                </c:pt>
                <c:pt idx="32">
                  <c:v>947.28002900000001</c:v>
                </c:pt>
                <c:pt idx="33">
                  <c:v>914.61999500000002</c:v>
                </c:pt>
                <c:pt idx="34">
                  <c:v>955.40002400000003</c:v>
                </c:pt>
                <c:pt idx="35">
                  <c:v>970.42999299999997</c:v>
                </c:pt>
                <c:pt idx="36">
                  <c:v>980.28002900000001</c:v>
                </c:pt>
                <c:pt idx="37">
                  <c:v>1049.339966</c:v>
                </c:pt>
                <c:pt idx="38">
                  <c:v>1101.75</c:v>
                </c:pt>
                <c:pt idx="39">
                  <c:v>1111.75</c:v>
                </c:pt>
                <c:pt idx="40">
                  <c:v>1090.8199460000001</c:v>
                </c:pt>
                <c:pt idx="41">
                  <c:v>1133.839966</c:v>
                </c:pt>
                <c:pt idx="42">
                  <c:v>1120.670044</c:v>
                </c:pt>
                <c:pt idx="43">
                  <c:v>957.28002900000001</c:v>
                </c:pt>
                <c:pt idx="44">
                  <c:v>1017.01001</c:v>
                </c:pt>
                <c:pt idx="45">
                  <c:v>1098.670044</c:v>
                </c:pt>
                <c:pt idx="46">
                  <c:v>1163.630005</c:v>
                </c:pt>
                <c:pt idx="47">
                  <c:v>1229.2299800000001</c:v>
                </c:pt>
                <c:pt idx="48">
                  <c:v>1279.6400149999999</c:v>
                </c:pt>
                <c:pt idx="49">
                  <c:v>1238.329956</c:v>
                </c:pt>
                <c:pt idx="50">
                  <c:v>1286.369995</c:v>
                </c:pt>
                <c:pt idx="51">
                  <c:v>1335.1800539999999</c:v>
                </c:pt>
                <c:pt idx="52">
                  <c:v>1301.839966</c:v>
                </c:pt>
                <c:pt idx="53">
                  <c:v>1372.709961</c:v>
                </c:pt>
                <c:pt idx="54">
                  <c:v>1328.719971</c:v>
                </c:pt>
                <c:pt idx="55">
                  <c:v>1320.410034</c:v>
                </c:pt>
                <c:pt idx="56">
                  <c:v>1282.709961</c:v>
                </c:pt>
                <c:pt idx="57">
                  <c:v>1362.9300539999999</c:v>
                </c:pt>
                <c:pt idx="58">
                  <c:v>1388.910034</c:v>
                </c:pt>
                <c:pt idx="59">
                  <c:v>1469.25</c:v>
                </c:pt>
                <c:pt idx="60">
                  <c:v>1394.459961</c:v>
                </c:pt>
                <c:pt idx="61">
                  <c:v>1366.420044</c:v>
                </c:pt>
                <c:pt idx="62">
                  <c:v>1498.579956</c:v>
                </c:pt>
                <c:pt idx="63">
                  <c:v>1452.4300539999999</c:v>
                </c:pt>
                <c:pt idx="64">
                  <c:v>1420.599976</c:v>
                </c:pt>
                <c:pt idx="65">
                  <c:v>1454.599976</c:v>
                </c:pt>
                <c:pt idx="66">
                  <c:v>1430.829956</c:v>
                </c:pt>
                <c:pt idx="67">
                  <c:v>1517.6800539999999</c:v>
                </c:pt>
                <c:pt idx="68">
                  <c:v>1436.51001</c:v>
                </c:pt>
                <c:pt idx="69">
                  <c:v>1429.400024</c:v>
                </c:pt>
                <c:pt idx="70">
                  <c:v>1314.9499510000001</c:v>
                </c:pt>
                <c:pt idx="71">
                  <c:v>1320.280029</c:v>
                </c:pt>
                <c:pt idx="72">
                  <c:v>1366.01001</c:v>
                </c:pt>
                <c:pt idx="73">
                  <c:v>1239.9399410000001</c:v>
                </c:pt>
                <c:pt idx="74">
                  <c:v>1160.329956</c:v>
                </c:pt>
                <c:pt idx="75">
                  <c:v>1249.459961</c:v>
                </c:pt>
                <c:pt idx="76">
                  <c:v>1255.8199460000001</c:v>
                </c:pt>
                <c:pt idx="77">
                  <c:v>1224.380005</c:v>
                </c:pt>
                <c:pt idx="78">
                  <c:v>1211.2299800000001</c:v>
                </c:pt>
                <c:pt idx="79">
                  <c:v>1133.579956</c:v>
                </c:pt>
                <c:pt idx="80">
                  <c:v>1040.9399410000001</c:v>
                </c:pt>
                <c:pt idx="81">
                  <c:v>1059.780029</c:v>
                </c:pt>
                <c:pt idx="82">
                  <c:v>1139.4499510000001</c:v>
                </c:pt>
                <c:pt idx="83">
                  <c:v>1148.079956</c:v>
                </c:pt>
                <c:pt idx="84">
                  <c:v>1130.1999510000001</c:v>
                </c:pt>
                <c:pt idx="85">
                  <c:v>1106.7299800000001</c:v>
                </c:pt>
                <c:pt idx="86">
                  <c:v>1147.3900149999999</c:v>
                </c:pt>
                <c:pt idx="87">
                  <c:v>1076.920044</c:v>
                </c:pt>
                <c:pt idx="88">
                  <c:v>1067.1400149999999</c:v>
                </c:pt>
                <c:pt idx="89">
                  <c:v>989.82000700000003</c:v>
                </c:pt>
                <c:pt idx="90">
                  <c:v>911.61999500000002</c:v>
                </c:pt>
                <c:pt idx="91">
                  <c:v>916.07000700000003</c:v>
                </c:pt>
                <c:pt idx="92">
                  <c:v>815.28002900000001</c:v>
                </c:pt>
                <c:pt idx="93">
                  <c:v>885.76000999999997</c:v>
                </c:pt>
                <c:pt idx="94">
                  <c:v>936.30999799999995</c:v>
                </c:pt>
                <c:pt idx="95">
                  <c:v>879.82000700000003</c:v>
                </c:pt>
                <c:pt idx="96">
                  <c:v>855.70001200000002</c:v>
                </c:pt>
                <c:pt idx="97">
                  <c:v>841.15002400000003</c:v>
                </c:pt>
                <c:pt idx="98">
                  <c:v>848.17999299999997</c:v>
                </c:pt>
                <c:pt idx="99">
                  <c:v>916.919983</c:v>
                </c:pt>
                <c:pt idx="100">
                  <c:v>963.59002699999996</c:v>
                </c:pt>
                <c:pt idx="101">
                  <c:v>974.5</c:v>
                </c:pt>
                <c:pt idx="102">
                  <c:v>990.30999799999995</c:v>
                </c:pt>
                <c:pt idx="103">
                  <c:v>1008.01001</c:v>
                </c:pt>
                <c:pt idx="104">
                  <c:v>995.96997099999999</c:v>
                </c:pt>
                <c:pt idx="105">
                  <c:v>1050.709961</c:v>
                </c:pt>
                <c:pt idx="106">
                  <c:v>1058.1999510000001</c:v>
                </c:pt>
                <c:pt idx="107">
                  <c:v>1111.920044</c:v>
                </c:pt>
                <c:pt idx="108">
                  <c:v>1131.130005</c:v>
                </c:pt>
                <c:pt idx="109">
                  <c:v>1144.9399410000001</c:v>
                </c:pt>
                <c:pt idx="110">
                  <c:v>1126.209961</c:v>
                </c:pt>
                <c:pt idx="111">
                  <c:v>1107.3000489999999</c:v>
                </c:pt>
                <c:pt idx="112">
                  <c:v>1120.6800539999999</c:v>
                </c:pt>
                <c:pt idx="113">
                  <c:v>1140.839966</c:v>
                </c:pt>
                <c:pt idx="114">
                  <c:v>1101.719971</c:v>
                </c:pt>
                <c:pt idx="115">
                  <c:v>1104.23999</c:v>
                </c:pt>
                <c:pt idx="116">
                  <c:v>1114.579956</c:v>
                </c:pt>
                <c:pt idx="117">
                  <c:v>1130.1999510000001</c:v>
                </c:pt>
                <c:pt idx="118">
                  <c:v>1173.8199460000001</c:v>
                </c:pt>
                <c:pt idx="119">
                  <c:v>1211.920044</c:v>
                </c:pt>
                <c:pt idx="120">
                  <c:v>1181.2700199999999</c:v>
                </c:pt>
                <c:pt idx="121">
                  <c:v>1203.599976</c:v>
                </c:pt>
                <c:pt idx="122">
                  <c:v>1180.589966</c:v>
                </c:pt>
                <c:pt idx="123">
                  <c:v>1156.849976</c:v>
                </c:pt>
                <c:pt idx="124">
                  <c:v>1191.5</c:v>
                </c:pt>
                <c:pt idx="125">
                  <c:v>1191.329956</c:v>
                </c:pt>
                <c:pt idx="126">
                  <c:v>1234.1800539999999</c:v>
                </c:pt>
                <c:pt idx="127">
                  <c:v>1220.329956</c:v>
                </c:pt>
                <c:pt idx="128">
                  <c:v>1228.8100589999999</c:v>
                </c:pt>
                <c:pt idx="129">
                  <c:v>1207.01001</c:v>
                </c:pt>
                <c:pt idx="130">
                  <c:v>1249.4799800000001</c:v>
                </c:pt>
                <c:pt idx="131">
                  <c:v>1248.290039</c:v>
                </c:pt>
                <c:pt idx="132">
                  <c:v>1280.079956</c:v>
                </c:pt>
                <c:pt idx="133">
                  <c:v>1280.660034</c:v>
                </c:pt>
                <c:pt idx="134">
                  <c:v>1294.869995</c:v>
                </c:pt>
                <c:pt idx="135">
                  <c:v>1310.6099850000001</c:v>
                </c:pt>
                <c:pt idx="136">
                  <c:v>1270.089966</c:v>
                </c:pt>
                <c:pt idx="137">
                  <c:v>1270.1999510000001</c:v>
                </c:pt>
                <c:pt idx="138">
                  <c:v>1276.660034</c:v>
                </c:pt>
                <c:pt idx="139">
                  <c:v>1303.8199460000001</c:v>
                </c:pt>
                <c:pt idx="140">
                  <c:v>1335.849976</c:v>
                </c:pt>
                <c:pt idx="141">
                  <c:v>1377.9399410000001</c:v>
                </c:pt>
                <c:pt idx="142">
                  <c:v>1400.630005</c:v>
                </c:pt>
                <c:pt idx="143">
                  <c:v>1418.3000489999999</c:v>
                </c:pt>
                <c:pt idx="144">
                  <c:v>1438.23999</c:v>
                </c:pt>
                <c:pt idx="145">
                  <c:v>1406.8199460000001</c:v>
                </c:pt>
                <c:pt idx="146">
                  <c:v>1420.8599850000001</c:v>
                </c:pt>
                <c:pt idx="147">
                  <c:v>1482.369995</c:v>
                </c:pt>
                <c:pt idx="148">
                  <c:v>1530.619995</c:v>
                </c:pt>
                <c:pt idx="149">
                  <c:v>1503.349976</c:v>
                </c:pt>
                <c:pt idx="150">
                  <c:v>1455.2700199999999</c:v>
                </c:pt>
                <c:pt idx="151">
                  <c:v>1473.98999</c:v>
                </c:pt>
                <c:pt idx="152">
                  <c:v>1526.75</c:v>
                </c:pt>
                <c:pt idx="153">
                  <c:v>1549.380005</c:v>
                </c:pt>
                <c:pt idx="154">
                  <c:v>1481.1400149999999</c:v>
                </c:pt>
                <c:pt idx="155">
                  <c:v>1468.3599850000001</c:v>
                </c:pt>
                <c:pt idx="156">
                  <c:v>1378.5500489999999</c:v>
                </c:pt>
                <c:pt idx="157">
                  <c:v>1330.630005</c:v>
                </c:pt>
                <c:pt idx="158">
                  <c:v>1322.6999510000001</c:v>
                </c:pt>
                <c:pt idx="159">
                  <c:v>1385.589966</c:v>
                </c:pt>
                <c:pt idx="160">
                  <c:v>1400.380005</c:v>
                </c:pt>
                <c:pt idx="161">
                  <c:v>1280</c:v>
                </c:pt>
                <c:pt idx="162">
                  <c:v>1267.380005</c:v>
                </c:pt>
                <c:pt idx="163">
                  <c:v>1282.829956</c:v>
                </c:pt>
                <c:pt idx="164">
                  <c:v>1166.3599850000001</c:v>
                </c:pt>
                <c:pt idx="165">
                  <c:v>968.75</c:v>
                </c:pt>
                <c:pt idx="166">
                  <c:v>896.23999000000003</c:v>
                </c:pt>
                <c:pt idx="167">
                  <c:v>903.25</c:v>
                </c:pt>
                <c:pt idx="168">
                  <c:v>825.88000499999998</c:v>
                </c:pt>
                <c:pt idx="169">
                  <c:v>735.09002699999996</c:v>
                </c:pt>
                <c:pt idx="170">
                  <c:v>797.86999500000002</c:v>
                </c:pt>
                <c:pt idx="171">
                  <c:v>872.80999799999995</c:v>
                </c:pt>
                <c:pt idx="172">
                  <c:v>919.14001499999995</c:v>
                </c:pt>
                <c:pt idx="173">
                  <c:v>919.32000700000003</c:v>
                </c:pt>
                <c:pt idx="174">
                  <c:v>987.47997999999995</c:v>
                </c:pt>
                <c:pt idx="175">
                  <c:v>1020.619995</c:v>
                </c:pt>
                <c:pt idx="176">
                  <c:v>1057.079956</c:v>
                </c:pt>
                <c:pt idx="177">
                  <c:v>1036.1899410000001</c:v>
                </c:pt>
                <c:pt idx="178">
                  <c:v>1095.630005</c:v>
                </c:pt>
                <c:pt idx="179">
                  <c:v>1115.099976</c:v>
                </c:pt>
                <c:pt idx="180">
                  <c:v>1073.869995</c:v>
                </c:pt>
                <c:pt idx="181">
                  <c:v>1104.48999</c:v>
                </c:pt>
                <c:pt idx="182">
                  <c:v>1169.4300539999999</c:v>
                </c:pt>
                <c:pt idx="183">
                  <c:v>1186.6899410000001</c:v>
                </c:pt>
                <c:pt idx="184">
                  <c:v>1089.410034</c:v>
                </c:pt>
                <c:pt idx="185">
                  <c:v>1030.709961</c:v>
                </c:pt>
                <c:pt idx="186">
                  <c:v>1101.599976</c:v>
                </c:pt>
                <c:pt idx="187">
                  <c:v>1049.329956</c:v>
                </c:pt>
                <c:pt idx="188">
                  <c:v>1141.1999510000001</c:v>
                </c:pt>
                <c:pt idx="189">
                  <c:v>1183.26001</c:v>
                </c:pt>
                <c:pt idx="190">
                  <c:v>1180.5500489999999</c:v>
                </c:pt>
                <c:pt idx="191">
                  <c:v>1257.6400149999999</c:v>
                </c:pt>
                <c:pt idx="192">
                  <c:v>1286.119995</c:v>
                </c:pt>
                <c:pt idx="193">
                  <c:v>1327.219971</c:v>
                </c:pt>
                <c:pt idx="194">
                  <c:v>1325.829956</c:v>
                </c:pt>
                <c:pt idx="195">
                  <c:v>1363.6099850000001</c:v>
                </c:pt>
                <c:pt idx="196">
                  <c:v>1345.1999510000001</c:v>
                </c:pt>
                <c:pt idx="197">
                  <c:v>1320.6400149999999</c:v>
                </c:pt>
                <c:pt idx="198">
                  <c:v>1292.280029</c:v>
                </c:pt>
                <c:pt idx="199">
                  <c:v>1218.8900149999999</c:v>
                </c:pt>
                <c:pt idx="200">
                  <c:v>1131.420044</c:v>
                </c:pt>
                <c:pt idx="201">
                  <c:v>1253.3000489999999</c:v>
                </c:pt>
                <c:pt idx="202">
                  <c:v>1246.959961</c:v>
                </c:pt>
                <c:pt idx="203">
                  <c:v>1257.599976</c:v>
                </c:pt>
                <c:pt idx="204">
                  <c:v>1312.410034</c:v>
                </c:pt>
                <c:pt idx="205">
                  <c:v>1365.6800539999999</c:v>
                </c:pt>
                <c:pt idx="206">
                  <c:v>1408.469971</c:v>
                </c:pt>
                <c:pt idx="207">
                  <c:v>1397.910034</c:v>
                </c:pt>
                <c:pt idx="208">
                  <c:v>1310.329956</c:v>
                </c:pt>
                <c:pt idx="209">
                  <c:v>1362.160034</c:v>
                </c:pt>
                <c:pt idx="210">
                  <c:v>1379.3199460000001</c:v>
                </c:pt>
                <c:pt idx="211">
                  <c:v>1406.579956</c:v>
                </c:pt>
                <c:pt idx="212">
                  <c:v>1440.670044</c:v>
                </c:pt>
                <c:pt idx="213">
                  <c:v>1412.160034</c:v>
                </c:pt>
                <c:pt idx="214">
                  <c:v>1416.1800539999999</c:v>
                </c:pt>
                <c:pt idx="215">
                  <c:v>1426.1899410000001</c:v>
                </c:pt>
                <c:pt idx="216">
                  <c:v>1498.1099850000001</c:v>
                </c:pt>
                <c:pt idx="217">
                  <c:v>1514.6800539999999</c:v>
                </c:pt>
                <c:pt idx="218">
                  <c:v>1569.1899410000001</c:v>
                </c:pt>
                <c:pt idx="219">
                  <c:v>1597.5699460000001</c:v>
                </c:pt>
                <c:pt idx="220">
                  <c:v>1630.73999</c:v>
                </c:pt>
                <c:pt idx="221">
                  <c:v>1606.280029</c:v>
                </c:pt>
                <c:pt idx="222">
                  <c:v>1685.7299800000001</c:v>
                </c:pt>
                <c:pt idx="223">
                  <c:v>1632.969971</c:v>
                </c:pt>
                <c:pt idx="224">
                  <c:v>1681.5500489999999</c:v>
                </c:pt>
                <c:pt idx="225">
                  <c:v>1756.540039</c:v>
                </c:pt>
                <c:pt idx="226">
                  <c:v>1805.8100589999999</c:v>
                </c:pt>
                <c:pt idx="227">
                  <c:v>1848.3599850000001</c:v>
                </c:pt>
                <c:pt idx="228">
                  <c:v>1782.589966</c:v>
                </c:pt>
                <c:pt idx="229">
                  <c:v>1859.4499510000001</c:v>
                </c:pt>
                <c:pt idx="230">
                  <c:v>1872.339966</c:v>
                </c:pt>
                <c:pt idx="231">
                  <c:v>1883.9499510000001</c:v>
                </c:pt>
                <c:pt idx="232">
                  <c:v>1923.5699460000001</c:v>
                </c:pt>
                <c:pt idx="233">
                  <c:v>1960.2299800000001</c:v>
                </c:pt>
                <c:pt idx="234">
                  <c:v>1930.670044</c:v>
                </c:pt>
                <c:pt idx="235">
                  <c:v>2003.369995</c:v>
                </c:pt>
                <c:pt idx="236">
                  <c:v>1972.290039</c:v>
                </c:pt>
                <c:pt idx="237">
                  <c:v>2018.0500489999999</c:v>
                </c:pt>
                <c:pt idx="238">
                  <c:v>2067.5600589999999</c:v>
                </c:pt>
                <c:pt idx="239">
                  <c:v>2058.8999020000001</c:v>
                </c:pt>
                <c:pt idx="240">
                  <c:v>1994.98999</c:v>
                </c:pt>
                <c:pt idx="241">
                  <c:v>2104.5</c:v>
                </c:pt>
                <c:pt idx="242">
                  <c:v>2067.889893</c:v>
                </c:pt>
                <c:pt idx="243">
                  <c:v>2085.51001</c:v>
                </c:pt>
                <c:pt idx="244">
                  <c:v>2107.389893</c:v>
                </c:pt>
                <c:pt idx="245">
                  <c:v>2063.110107</c:v>
                </c:pt>
                <c:pt idx="246">
                  <c:v>2103.8400879999999</c:v>
                </c:pt>
                <c:pt idx="247">
                  <c:v>1972.1800539999999</c:v>
                </c:pt>
                <c:pt idx="248">
                  <c:v>1920.030029</c:v>
                </c:pt>
                <c:pt idx="249">
                  <c:v>2079.360107</c:v>
                </c:pt>
                <c:pt idx="250">
                  <c:v>2080.4099120000001</c:v>
                </c:pt>
                <c:pt idx="251">
                  <c:v>2043.9399410000001</c:v>
                </c:pt>
                <c:pt idx="252">
                  <c:v>1940.23999</c:v>
                </c:pt>
                <c:pt idx="253">
                  <c:v>1932.2299800000001</c:v>
                </c:pt>
                <c:pt idx="254">
                  <c:v>2059.73999</c:v>
                </c:pt>
                <c:pt idx="255">
                  <c:v>2065.3000489999999</c:v>
                </c:pt>
                <c:pt idx="256">
                  <c:v>2096.9499510000001</c:v>
                </c:pt>
                <c:pt idx="257">
                  <c:v>2098.860107</c:v>
                </c:pt>
                <c:pt idx="258">
                  <c:v>2173.6000979999999</c:v>
                </c:pt>
                <c:pt idx="259">
                  <c:v>2170.9499510000001</c:v>
                </c:pt>
                <c:pt idx="260">
                  <c:v>2168.2700199999999</c:v>
                </c:pt>
                <c:pt idx="261">
                  <c:v>2126.1499020000001</c:v>
                </c:pt>
                <c:pt idx="262">
                  <c:v>2198.8100589999999</c:v>
                </c:pt>
                <c:pt idx="263">
                  <c:v>2238.830078</c:v>
                </c:pt>
                <c:pt idx="264">
                  <c:v>2278.8701169999999</c:v>
                </c:pt>
                <c:pt idx="265">
                  <c:v>2363.639893</c:v>
                </c:pt>
                <c:pt idx="266">
                  <c:v>2362.719971</c:v>
                </c:pt>
                <c:pt idx="267">
                  <c:v>2384.1999510000001</c:v>
                </c:pt>
                <c:pt idx="268">
                  <c:v>2411.8000489999999</c:v>
                </c:pt>
                <c:pt idx="269">
                  <c:v>2423.4099120000001</c:v>
                </c:pt>
                <c:pt idx="270">
                  <c:v>2470.3000489999999</c:v>
                </c:pt>
                <c:pt idx="271">
                  <c:v>2471.6499020000001</c:v>
                </c:pt>
                <c:pt idx="272">
                  <c:v>2519.360107</c:v>
                </c:pt>
                <c:pt idx="273">
                  <c:v>2575.26001</c:v>
                </c:pt>
                <c:pt idx="274">
                  <c:v>2584.8400879999999</c:v>
                </c:pt>
                <c:pt idx="275">
                  <c:v>2673.610107</c:v>
                </c:pt>
                <c:pt idx="276">
                  <c:v>2823.8100589999999</c:v>
                </c:pt>
                <c:pt idx="277">
                  <c:v>2713.830078</c:v>
                </c:pt>
                <c:pt idx="278">
                  <c:v>2640.8701169999999</c:v>
                </c:pt>
                <c:pt idx="279">
                  <c:v>2648.0500489999999</c:v>
                </c:pt>
                <c:pt idx="280">
                  <c:v>2705.2700199999999</c:v>
                </c:pt>
                <c:pt idx="281">
                  <c:v>2718.3701169999999</c:v>
                </c:pt>
                <c:pt idx="282">
                  <c:v>2816.290039</c:v>
                </c:pt>
                <c:pt idx="283">
                  <c:v>2901.5200199999999</c:v>
                </c:pt>
                <c:pt idx="284">
                  <c:v>2913.9799800000001</c:v>
                </c:pt>
                <c:pt idx="285">
                  <c:v>2711.73999</c:v>
                </c:pt>
                <c:pt idx="286">
                  <c:v>2760.169922</c:v>
                </c:pt>
                <c:pt idx="287">
                  <c:v>2506.8500979999999</c:v>
                </c:pt>
              </c:numCache>
            </c:numRef>
          </c:val>
          <c:smooth val="0"/>
          <c:extLst>
            <c:ext xmlns:c16="http://schemas.microsoft.com/office/drawing/2014/chart" uri="{C3380CC4-5D6E-409C-BE32-E72D297353CC}">
              <c16:uniqueId val="{00000000-CFCF-8943-805C-3BF85D52690E}"/>
            </c:ext>
          </c:extLst>
        </c:ser>
        <c:dLbls>
          <c:showLegendKey val="0"/>
          <c:showVal val="0"/>
          <c:showCatName val="0"/>
          <c:showSerName val="0"/>
          <c:showPercent val="0"/>
          <c:showBubbleSize val="0"/>
        </c:dLbls>
        <c:smooth val="0"/>
        <c:axId val="1439629472"/>
        <c:axId val="1439617336"/>
      </c:lineChart>
      <c:dateAx>
        <c:axId val="1439629472"/>
        <c:scaling>
          <c:orientation val="minMax"/>
          <c:min val="35065"/>
        </c:scaling>
        <c:delete val="0"/>
        <c:axPos val="b"/>
        <c:numFmt formatCode="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rgbClr val="75787B"/>
                </a:solidFill>
                <a:latin typeface="+mn-lt"/>
                <a:ea typeface="+mn-ea"/>
                <a:cs typeface="+mn-cs"/>
              </a:defRPr>
            </a:pPr>
            <a:endParaRPr lang="en-US"/>
          </a:p>
        </c:txPr>
        <c:crossAx val="1439617336"/>
        <c:crosses val="autoZero"/>
        <c:auto val="1"/>
        <c:lblOffset val="100"/>
        <c:baseTimeUnit val="months"/>
        <c:majorUnit val="24"/>
        <c:majorTimeUnit val="months"/>
      </c:dateAx>
      <c:valAx>
        <c:axId val="1439617336"/>
        <c:scaling>
          <c:orientation val="minMax"/>
          <c:max val="3000"/>
          <c:min val="400"/>
        </c:scaling>
        <c:delete val="0"/>
        <c:axPos val="l"/>
        <c:majorGridlines>
          <c:spPr>
            <a:ln w="9525" cap="flat" cmpd="sng" algn="ctr">
              <a:solidFill>
                <a:schemeClr val="tx1">
                  <a:lumMod val="15000"/>
                  <a:lumOff val="85000"/>
                </a:schemeClr>
              </a:solidFill>
              <a:round/>
            </a:ln>
            <a:effectLst/>
          </c:spPr>
        </c:majorGridlines>
        <c:minorGridlines>
          <c:spPr>
            <a:ln w="9525" cap="flat" cmpd="sng" algn="ctr">
              <a:noFill/>
              <a:round/>
            </a:ln>
            <a:effectLst/>
          </c:spPr>
        </c:min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75787B"/>
                </a:solidFill>
                <a:latin typeface="+mn-lt"/>
                <a:ea typeface="+mn-ea"/>
                <a:cs typeface="+mn-cs"/>
              </a:defRPr>
            </a:pPr>
            <a:endParaRPr lang="en-US"/>
          </a:p>
        </c:txPr>
        <c:crossAx val="1439629472"/>
        <c:crosses val="autoZero"/>
        <c:crossBetween val="between"/>
        <c:majorUnit val="2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stacked"/>
        <c:varyColors val="0"/>
        <c:ser>
          <c:idx val="0"/>
          <c:order val="0"/>
          <c:tx>
            <c:strRef>
              <c:f>Sheet1!$B$1</c:f>
              <c:strCache>
                <c:ptCount val="1"/>
                <c:pt idx="0">
                  <c:v>Return</c:v>
                </c:pt>
              </c:strCache>
            </c:strRef>
          </c:tx>
          <c:spPr>
            <a:solidFill>
              <a:srgbClr val="3369FF"/>
            </a:solidFill>
            <a:ln>
              <a:noFill/>
            </a:ln>
            <a:effectLst/>
          </c:spPr>
          <c:invertIfNegative val="0"/>
          <c:dLbls>
            <c:dLbl>
              <c:idx val="0"/>
              <c:layout>
                <c:manualLayout>
                  <c:x val="1.5331187449962385E-3"/>
                  <c:y val="-0.1260250799929999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B2C-7E4D-8D36-2FD33CA95C6F}"/>
                </c:ext>
              </c:extLst>
            </c:dLbl>
            <c:dLbl>
              <c:idx val="1"/>
              <c:layout>
                <c:manualLayout>
                  <c:x val="0"/>
                  <c:y val="-6.01985239397323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B2C-7E4D-8D36-2FD33CA95C6F}"/>
                </c:ext>
              </c:extLst>
            </c:dLbl>
            <c:dLbl>
              <c:idx val="2"/>
              <c:layout>
                <c:manualLayout>
                  <c:x val="0"/>
                  <c:y val="-9.06551549643592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B2C-7E4D-8D36-2FD33CA95C6F}"/>
                </c:ext>
              </c:extLst>
            </c:dLbl>
            <c:dLbl>
              <c:idx val="3"/>
              <c:layout>
                <c:manualLayout>
                  <c:x val="1.5331187449962244E-3"/>
                  <c:y val="-9.6817680369017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B2C-7E4D-8D36-2FD33CA95C6F}"/>
                </c:ext>
              </c:extLst>
            </c:dLbl>
            <c:dLbl>
              <c:idx val="4"/>
              <c:layout>
                <c:manualLayout>
                  <c:x val="1.5331187449962385E-3"/>
                  <c:y val="-2.39368613884892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B2C-7E4D-8D36-2FD33CA95C6F}"/>
                </c:ext>
              </c:extLst>
            </c:dLbl>
            <c:dLbl>
              <c:idx val="5"/>
              <c:layout>
                <c:manualLayout>
                  <c:x val="-1.5331187449962385E-3"/>
                  <c:y val="-0.1263818249313534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B2C-7E4D-8D36-2FD33CA95C6F}"/>
                </c:ext>
              </c:extLst>
            </c:dLbl>
            <c:dLbl>
              <c:idx val="6"/>
              <c:layout>
                <c:manualLayout>
                  <c:x val="1.5331187449962103E-3"/>
                  <c:y val="-9.06551549643592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B2C-7E4D-8D36-2FD33CA95C6F}"/>
                </c:ext>
              </c:extLst>
            </c:dLbl>
            <c:dLbl>
              <c:idx val="7"/>
              <c:layout>
                <c:manualLayout>
                  <c:x val="-2.8106852298841494E-17"/>
                  <c:y val="-2.09447026865292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B2C-7E4D-8D36-2FD33CA95C6F}"/>
                </c:ext>
              </c:extLst>
            </c:dLbl>
            <c:dLbl>
              <c:idx val="8"/>
              <c:layout>
                <c:manualLayout>
                  <c:x val="-2.8106852298841494E-17"/>
                  <c:y val="-6.5826208443377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B2C-7E4D-8D36-2FD33CA95C6F}"/>
                </c:ext>
              </c:extLst>
            </c:dLbl>
            <c:dLbl>
              <c:idx val="9"/>
              <c:layout>
                <c:manualLayout>
                  <c:x val="3.0662374899924206E-3"/>
                  <c:y val="-0.1360718562694864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B2C-7E4D-8D36-2FD33CA95C6F}"/>
                </c:ext>
              </c:extLst>
            </c:dLbl>
            <c:dLbl>
              <c:idx val="10"/>
              <c:layout>
                <c:manualLayout>
                  <c:x val="0"/>
                  <c:y val="-4.48815057568482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B2C-7E4D-8D36-2FD33CA95C6F}"/>
                </c:ext>
              </c:extLst>
            </c:dLbl>
            <c:dLbl>
              <c:idx val="11"/>
              <c:layout>
                <c:manualLayout>
                  <c:x val="3.0662374899924206E-3"/>
                  <c:y val="-0.1297308335723699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B2C-7E4D-8D36-2FD33CA95C6F}"/>
                </c:ext>
              </c:extLst>
            </c:dLbl>
            <c:dLbl>
              <c:idx val="12"/>
              <c:layout>
                <c:manualLayout>
                  <c:x val="0"/>
                  <c:y val="-3.29131042216887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B2C-7E4D-8D36-2FD33CA95C6F}"/>
                </c:ext>
              </c:extLst>
            </c:dLbl>
            <c:dLbl>
              <c:idx val="13"/>
              <c:layout>
                <c:manualLayout>
                  <c:x val="0"/>
                  <c:y val="-4.18894053730584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B2C-7E4D-8D36-2FD33CA95C6F}"/>
                </c:ext>
              </c:extLst>
            </c:dLbl>
            <c:dLbl>
              <c:idx val="14"/>
              <c:layout>
                <c:manualLayout>
                  <c:x val="0"/>
                  <c:y val="-2.09447026865291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9B2C-7E4D-8D36-2FD33CA95C6F}"/>
                </c:ext>
              </c:extLst>
            </c:dLbl>
            <c:dLbl>
              <c:idx val="15"/>
              <c:layout>
                <c:manualLayout>
                  <c:x val="-1.5331187449962947E-3"/>
                  <c:y val="-0.1630007317140758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B2C-7E4D-8D36-2FD33CA95C6F}"/>
                </c:ext>
              </c:extLst>
            </c:dLbl>
            <c:dLbl>
              <c:idx val="16"/>
              <c:layout>
                <c:manualLayout>
                  <c:x val="-5.6213704597682988E-17"/>
                  <c:y val="-0.1024449635428641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9B2C-7E4D-8D36-2FD33CA95C6F}"/>
                </c:ext>
              </c:extLst>
            </c:dLbl>
            <c:dLbl>
              <c:idx val="17"/>
              <c:layout>
                <c:manualLayout>
                  <c:x val="0"/>
                  <c:y val="-0.1571949512477709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B2C-7E4D-8D36-2FD33CA95C6F}"/>
                </c:ext>
              </c:extLst>
            </c:dLbl>
            <c:dLbl>
              <c:idx val="18"/>
              <c:layout>
                <c:manualLayout>
                  <c:x val="5.6213704597682988E-17"/>
                  <c:y val="-0.1360718562694864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9B2C-7E4D-8D36-2FD33CA95C6F}"/>
                </c:ext>
              </c:extLst>
            </c:dLbl>
            <c:dLbl>
              <c:idx val="19"/>
              <c:layout>
                <c:manualLayout>
                  <c:x val="1.5331187449962385E-3"/>
                  <c:y val="-0.1026234608353223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9B2C-7E4D-8D36-2FD33CA95C6F}"/>
                </c:ext>
              </c:extLst>
            </c:dLbl>
            <c:dLbl>
              <c:idx val="20"/>
              <c:layout>
                <c:manualLayout>
                  <c:x val="0"/>
                  <c:y val="-5.38578069082178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9B2C-7E4D-8D36-2FD33CA95C6F}"/>
                </c:ext>
              </c:extLst>
            </c:dLbl>
            <c:dLbl>
              <c:idx val="21"/>
              <c:layout>
                <c:manualLayout>
                  <c:x val="-1.5331187449962385E-3"/>
                  <c:y val="-7.23453271031536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9B2C-7E4D-8D36-2FD33CA95C6F}"/>
                </c:ext>
              </c:extLst>
            </c:dLbl>
            <c:dLbl>
              <c:idx val="22"/>
              <c:layout>
                <c:manualLayout>
                  <c:x val="0"/>
                  <c:y val="-0.1177620284082809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9B2C-7E4D-8D36-2FD33CA95C6F}"/>
                </c:ext>
              </c:extLst>
            </c:dLbl>
            <c:dLbl>
              <c:idx val="23"/>
              <c:layout>
                <c:manualLayout>
                  <c:x val="-1.5331187449962385E-3"/>
                  <c:y val="-0.1512106734890079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9B2C-7E4D-8D36-2FD33CA95C6F}"/>
                </c:ext>
              </c:extLst>
            </c:dLbl>
            <c:dLbl>
              <c:idx val="24"/>
              <c:layout>
                <c:manualLayout>
                  <c:x val="0"/>
                  <c:y val="-5.38578069082179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9B2C-7E4D-8D36-2FD33CA95C6F}"/>
                </c:ext>
              </c:extLst>
            </c:dLbl>
            <c:dLbl>
              <c:idx val="25"/>
              <c:layout>
                <c:manualLayout>
                  <c:x val="-1.1242740919536598E-16"/>
                  <c:y val="-2.69289034541089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9B2C-7E4D-8D36-2FD33CA95C6F}"/>
                </c:ext>
              </c:extLst>
            </c:dLbl>
            <c:dLbl>
              <c:idx val="26"/>
              <c:layout>
                <c:manualLayout>
                  <c:x val="0"/>
                  <c:y val="-6.88183088271673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9B2C-7E4D-8D36-2FD33CA95C6F}"/>
                </c:ext>
              </c:extLst>
            </c:dLbl>
            <c:dLbl>
              <c:idx val="27"/>
              <c:layout>
                <c:manualLayout>
                  <c:x val="0"/>
                  <c:y val="-3.29131042216887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9B2C-7E4D-8D36-2FD33CA95C6F}"/>
                </c:ext>
              </c:extLst>
            </c:dLbl>
            <c:dLbl>
              <c:idx val="28"/>
              <c:layout>
                <c:manualLayout>
                  <c:x val="0"/>
                  <c:y val="-0.1843018246916927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9B2C-7E4D-8D36-2FD33CA95C6F}"/>
                </c:ext>
              </c:extLst>
            </c:dLbl>
            <c:dLbl>
              <c:idx val="29"/>
              <c:layout>
                <c:manualLayout>
                  <c:x val="0"/>
                  <c:y val="-0.111778249942643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9B2C-7E4D-8D36-2FD33CA95C6F}"/>
                </c:ext>
              </c:extLst>
            </c:dLbl>
            <c:dLbl>
              <c:idx val="30"/>
              <c:layout>
                <c:manualLayout>
                  <c:x val="-1.1242740919536598E-16"/>
                  <c:y val="-7.88650967392913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9B2C-7E4D-8D36-2FD33CA95C6F}"/>
                </c:ext>
              </c:extLst>
            </c:dLbl>
            <c:dLbl>
              <c:idx val="32"/>
              <c:layout>
                <c:manualLayout>
                  <c:x val="-1.1242740919536598E-16"/>
                  <c:y val="-7.88650967392913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9B2C-7E4D-8D36-2FD33CA95C6F}"/>
                </c:ext>
              </c:extLst>
            </c:dLbl>
            <c:dLbl>
              <c:idx val="33"/>
              <c:layout>
                <c:manualLayout>
                  <c:x val="-1.1242740919536598E-16"/>
                  <c:y val="-0.1443344085610796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9B2C-7E4D-8D36-2FD33CA95C6F}"/>
                </c:ext>
              </c:extLst>
            </c:dLbl>
            <c:dLbl>
              <c:idx val="34"/>
              <c:layout>
                <c:manualLayout>
                  <c:x val="3.0662374899925893E-3"/>
                  <c:y val="-6.65397962834117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9B2C-7E4D-8D36-2FD33CA95C6F}"/>
                </c:ext>
              </c:extLst>
            </c:dLbl>
            <c:dLbl>
              <c:idx val="35"/>
              <c:layout>
                <c:manualLayout>
                  <c:x val="-1.5331187449963508E-3"/>
                  <c:y val="-2.39368030703190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9B2C-7E4D-8D36-2FD33CA95C6F}"/>
                </c:ext>
              </c:extLst>
            </c:dLbl>
            <c:dLbl>
              <c:idx val="36"/>
              <c:layout>
                <c:manualLayout>
                  <c:x val="1.1242740919536598E-16"/>
                  <c:y val="-5.38578069082179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9B2C-7E4D-8D36-2FD33CA95C6F}"/>
                </c:ext>
              </c:extLst>
            </c:dLbl>
            <c:dLbl>
              <c:idx val="37"/>
              <c:layout>
                <c:manualLayout>
                  <c:x val="-1.1242740919536598E-16"/>
                  <c:y val="-0.1089644835324389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9B2C-7E4D-8D36-2FD33CA95C6F}"/>
                </c:ext>
              </c:extLst>
            </c:dLbl>
            <c:dLbl>
              <c:idx val="38"/>
              <c:layout>
                <c:manualLayout>
                  <c:x val="0"/>
                  <c:y val="-2.393656747186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9B2C-7E4D-8D36-2FD33CA95C6F}"/>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50000"/>
                        <a:lumOff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0</c:f>
              <c:numCache>
                <c:formatCode>General</c:formatCode>
                <c:ptCount val="3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numCache>
            </c:numRef>
          </c:cat>
          <c:val>
            <c:numRef>
              <c:f>Sheet1!$B$2:$B$40</c:f>
              <c:numCache>
                <c:formatCode>General</c:formatCode>
                <c:ptCount val="39"/>
                <c:pt idx="0">
                  <c:v>26</c:v>
                </c:pt>
                <c:pt idx="1">
                  <c:v>-10</c:v>
                </c:pt>
                <c:pt idx="2">
                  <c:v>15</c:v>
                </c:pt>
                <c:pt idx="3">
                  <c:v>17</c:v>
                </c:pt>
                <c:pt idx="4">
                  <c:v>1</c:v>
                </c:pt>
                <c:pt idx="5">
                  <c:v>26</c:v>
                </c:pt>
                <c:pt idx="6">
                  <c:v>15</c:v>
                </c:pt>
                <c:pt idx="7">
                  <c:v>2</c:v>
                </c:pt>
                <c:pt idx="8">
                  <c:v>12</c:v>
                </c:pt>
                <c:pt idx="9">
                  <c:v>27</c:v>
                </c:pt>
                <c:pt idx="10">
                  <c:v>-7</c:v>
                </c:pt>
                <c:pt idx="11">
                  <c:v>26</c:v>
                </c:pt>
                <c:pt idx="12">
                  <c:v>4</c:v>
                </c:pt>
                <c:pt idx="13">
                  <c:v>7</c:v>
                </c:pt>
                <c:pt idx="14">
                  <c:v>-2</c:v>
                </c:pt>
                <c:pt idx="15">
                  <c:v>34</c:v>
                </c:pt>
                <c:pt idx="16">
                  <c:v>20</c:v>
                </c:pt>
                <c:pt idx="17">
                  <c:v>31</c:v>
                </c:pt>
                <c:pt idx="18">
                  <c:v>27</c:v>
                </c:pt>
                <c:pt idx="19">
                  <c:v>20</c:v>
                </c:pt>
                <c:pt idx="20">
                  <c:v>-10</c:v>
                </c:pt>
                <c:pt idx="21">
                  <c:v>-13</c:v>
                </c:pt>
                <c:pt idx="22">
                  <c:v>-23</c:v>
                </c:pt>
                <c:pt idx="23">
                  <c:v>29</c:v>
                </c:pt>
                <c:pt idx="24">
                  <c:v>9</c:v>
                </c:pt>
                <c:pt idx="25">
                  <c:v>3</c:v>
                </c:pt>
                <c:pt idx="26">
                  <c:v>14</c:v>
                </c:pt>
                <c:pt idx="27">
                  <c:v>4</c:v>
                </c:pt>
                <c:pt idx="28">
                  <c:v>-38</c:v>
                </c:pt>
                <c:pt idx="29">
                  <c:v>23</c:v>
                </c:pt>
                <c:pt idx="30">
                  <c:v>13</c:v>
                </c:pt>
                <c:pt idx="31">
                  <c:v>0</c:v>
                </c:pt>
                <c:pt idx="32">
                  <c:v>13</c:v>
                </c:pt>
                <c:pt idx="33">
                  <c:v>30</c:v>
                </c:pt>
                <c:pt idx="34">
                  <c:v>11</c:v>
                </c:pt>
                <c:pt idx="35">
                  <c:v>-1</c:v>
                </c:pt>
                <c:pt idx="36">
                  <c:v>10</c:v>
                </c:pt>
                <c:pt idx="37">
                  <c:v>19</c:v>
                </c:pt>
                <c:pt idx="38">
                  <c:v>-1</c:v>
                </c:pt>
              </c:numCache>
            </c:numRef>
          </c:val>
          <c:extLst>
            <c:ext xmlns:c16="http://schemas.microsoft.com/office/drawing/2014/chart" uri="{C3380CC4-5D6E-409C-BE32-E72D297353CC}">
              <c16:uniqueId val="{00000026-9B2C-7E4D-8D36-2FD33CA95C6F}"/>
            </c:ext>
          </c:extLst>
        </c:ser>
        <c:dLbls>
          <c:showLegendKey val="0"/>
          <c:showVal val="1"/>
          <c:showCatName val="0"/>
          <c:showSerName val="0"/>
          <c:showPercent val="0"/>
          <c:showBubbleSize val="0"/>
        </c:dLbls>
        <c:gapWidth val="65"/>
        <c:overlap val="100"/>
        <c:axId val="1474231912"/>
        <c:axId val="1474239784"/>
      </c:barChart>
      <c:scatterChart>
        <c:scatterStyle val="lineMarker"/>
        <c:varyColors val="0"/>
        <c:ser>
          <c:idx val="1"/>
          <c:order val="1"/>
          <c:tx>
            <c:strRef>
              <c:f>Sheet1!$C$1</c:f>
              <c:strCache>
                <c:ptCount val="1"/>
                <c:pt idx="0">
                  <c:v>Declines</c:v>
                </c:pt>
              </c:strCache>
            </c:strRef>
          </c:tx>
          <c:spPr>
            <a:ln w="25400" cap="rnd">
              <a:noFill/>
              <a:round/>
            </a:ln>
            <a:effectLst/>
          </c:spPr>
          <c:marker>
            <c:symbol val="circle"/>
            <c:size val="5"/>
            <c:spPr>
              <a:solidFill>
                <a:schemeClr val="accent1">
                  <a:shade val="76000"/>
                </a:schemeClr>
              </a:solidFill>
              <a:ln w="9525">
                <a:solidFill>
                  <a:schemeClr val="accent1">
                    <a:shade val="76000"/>
                  </a:schemeClr>
                </a:solidFill>
              </a:ln>
              <a:effectLst/>
            </c:spPr>
          </c:marker>
          <c:dLbls>
            <c:dLbl>
              <c:idx val="0"/>
              <c:layout>
                <c:manualLayout>
                  <c:x val="-2.75961374099323E-2"/>
                  <c:y val="3.29131042216887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9B2C-7E4D-8D36-2FD33CA95C6F}"/>
                </c:ext>
              </c:extLst>
            </c:dLbl>
            <c:dLbl>
              <c:idx val="1"/>
              <c:layout>
                <c:manualLayout>
                  <c:x val="-2.2996781174943578E-2"/>
                  <c:y val="2.69289034541089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9B2C-7E4D-8D36-2FD33CA95C6F}"/>
                </c:ext>
              </c:extLst>
            </c:dLbl>
            <c:dLbl>
              <c:idx val="2"/>
              <c:layout>
                <c:manualLayout>
                  <c:x val="-1.6864306194958621E-2"/>
                  <c:y val="2.992100383789883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9B2C-7E4D-8D36-2FD33CA95C6F}"/>
                </c:ext>
              </c:extLst>
            </c:dLbl>
            <c:dLbl>
              <c:idx val="3"/>
              <c:layout>
                <c:manualLayout>
                  <c:x val="-1.6864306194958621E-2"/>
                  <c:y val="2.09447026865291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9B2C-7E4D-8D36-2FD33CA95C6F}"/>
                </c:ext>
              </c:extLst>
            </c:dLbl>
            <c:dLbl>
              <c:idx val="4"/>
              <c:layout>
                <c:manualLayout>
                  <c:x val="-2.2996781174943578E-2"/>
                  <c:y val="3.29131042216887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9B2C-7E4D-8D36-2FD33CA95C6F}"/>
                </c:ext>
              </c:extLst>
            </c:dLbl>
            <c:dLbl>
              <c:idx val="5"/>
              <c:layout>
                <c:manualLayout>
                  <c:x val="-1.6864306194958621E-2"/>
                  <c:y val="3.29131042216887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C-9B2C-7E4D-8D36-2FD33CA95C6F}"/>
                </c:ext>
              </c:extLst>
            </c:dLbl>
            <c:dLbl>
              <c:idx val="6"/>
              <c:layout>
                <c:manualLayout>
                  <c:x val="-1.6864306194958652E-2"/>
                  <c:y val="2.69289034541089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D-9B2C-7E4D-8D36-2FD33CA95C6F}"/>
                </c:ext>
              </c:extLst>
            </c:dLbl>
            <c:dLbl>
              <c:idx val="7"/>
              <c:layout>
                <c:manualLayout>
                  <c:x val="-2.146366242994734E-2"/>
                  <c:y val="2.69289034541089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9B2C-7E4D-8D36-2FD33CA95C6F}"/>
                </c:ext>
              </c:extLst>
            </c:dLbl>
            <c:dLbl>
              <c:idx val="8"/>
              <c:layout>
                <c:manualLayout>
                  <c:x val="-1.839742493995486E-2"/>
                  <c:y val="3.29131042216887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F-9B2C-7E4D-8D36-2FD33CA95C6F}"/>
                </c:ext>
              </c:extLst>
            </c:dLbl>
            <c:dLbl>
              <c:idx val="9"/>
              <c:layout>
                <c:manualLayout>
                  <c:x val="-1.6864306194958621E-2"/>
                  <c:y val="2.69289034541089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0-9B2C-7E4D-8D36-2FD33CA95C6F}"/>
                </c:ext>
              </c:extLst>
            </c:dLbl>
            <c:dLbl>
              <c:idx val="10"/>
              <c:layout>
                <c:manualLayout>
                  <c:x val="-2.146366242994734E-2"/>
                  <c:y val="2.992100383789883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1-9B2C-7E4D-8D36-2FD33CA95C6F}"/>
                </c:ext>
              </c:extLst>
            </c:dLbl>
            <c:dLbl>
              <c:idx val="11"/>
              <c:layout>
                <c:manualLayout>
                  <c:x val="-1.839742493995486E-2"/>
                  <c:y val="2.09447026865291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2-9B2C-7E4D-8D36-2FD33CA95C6F}"/>
                </c:ext>
              </c:extLst>
            </c:dLbl>
            <c:dLbl>
              <c:idx val="12"/>
              <c:layout>
                <c:manualLayout>
                  <c:x val="-1.839742493995486E-2"/>
                  <c:y val="2.09447026865291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3-9B2C-7E4D-8D36-2FD33CA95C6F}"/>
                </c:ext>
              </c:extLst>
            </c:dLbl>
            <c:dLbl>
              <c:idx val="13"/>
              <c:layout>
                <c:manualLayout>
                  <c:x val="-1.839742493995486E-2"/>
                  <c:y val="2.09447026865291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4-9B2C-7E4D-8D36-2FD33CA95C6F}"/>
                </c:ext>
              </c:extLst>
            </c:dLbl>
            <c:dLbl>
              <c:idx val="14"/>
              <c:layout>
                <c:manualLayout>
                  <c:x val="-1.8397424939954918E-2"/>
                  <c:y val="2.11230949782844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5-9B2C-7E4D-8D36-2FD33CA95C6F}"/>
                </c:ext>
              </c:extLst>
            </c:dLbl>
            <c:dLbl>
              <c:idx val="15"/>
              <c:layout>
                <c:manualLayout>
                  <c:x val="-1.8397424939954918E-2"/>
                  <c:y val="2.74641176754010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6-9B2C-7E4D-8D36-2FD33CA95C6F}"/>
                </c:ext>
              </c:extLst>
            </c:dLbl>
            <c:dLbl>
              <c:idx val="16"/>
              <c:layout>
                <c:manualLayout>
                  <c:x val="-1.8397424939954918E-2"/>
                  <c:y val="2.09447026865291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7-9B2C-7E4D-8D36-2FD33CA95C6F}"/>
                </c:ext>
              </c:extLst>
            </c:dLbl>
            <c:dLbl>
              <c:idx val="17"/>
              <c:layout>
                <c:manualLayout>
                  <c:x val="-2.1463662429947395E-2"/>
                  <c:y val="1.79526023027393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8-9B2C-7E4D-8D36-2FD33CA95C6F}"/>
                </c:ext>
              </c:extLst>
            </c:dLbl>
            <c:dLbl>
              <c:idx val="18"/>
              <c:layout>
                <c:manualLayout>
                  <c:x val="-2.2996781174943633E-2"/>
                  <c:y val="2.09447026865290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9-9B2C-7E4D-8D36-2FD33CA95C6F}"/>
                </c:ext>
              </c:extLst>
            </c:dLbl>
            <c:dLbl>
              <c:idx val="19"/>
              <c:layout>
                <c:manualLayout>
                  <c:x val="-2.4529899919939872E-2"/>
                  <c:y val="2.393680307031896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A-9B2C-7E4D-8D36-2FD33CA95C6F}"/>
                </c:ext>
              </c:extLst>
            </c:dLbl>
            <c:dLbl>
              <c:idx val="20"/>
              <c:layout>
                <c:manualLayout>
                  <c:x val="-2.2996781174943578E-2"/>
                  <c:y val="2.74641176754010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B-9B2C-7E4D-8D36-2FD33CA95C6F}"/>
                </c:ext>
              </c:extLst>
            </c:dLbl>
            <c:dLbl>
              <c:idx val="21"/>
              <c:layout>
                <c:manualLayout>
                  <c:x val="-2.4529899919939927E-2"/>
                  <c:y val="2.09447026865291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C-9B2C-7E4D-8D36-2FD33CA95C6F}"/>
                </c:ext>
              </c:extLst>
            </c:dLbl>
            <c:dLbl>
              <c:idx val="22"/>
              <c:layout>
                <c:manualLayout>
                  <c:x val="-2.146366242994734E-2"/>
                  <c:y val="2.09447026865290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D-9B2C-7E4D-8D36-2FD33CA95C6F}"/>
                </c:ext>
              </c:extLst>
            </c:dLbl>
            <c:dLbl>
              <c:idx val="23"/>
              <c:layout>
                <c:manualLayout>
                  <c:x val="-1.9930543684951212E-2"/>
                  <c:y val="2.09447026865291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E-9B2C-7E4D-8D36-2FD33CA95C6F}"/>
                </c:ext>
              </c:extLst>
            </c:dLbl>
            <c:dLbl>
              <c:idx val="24"/>
              <c:layout>
                <c:manualLayout>
                  <c:x val="-1.8397424939954974E-2"/>
                  <c:y val="2.3936803070319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F-9B2C-7E4D-8D36-2FD33CA95C6F}"/>
                </c:ext>
              </c:extLst>
            </c:dLbl>
            <c:dLbl>
              <c:idx val="25"/>
              <c:layout>
                <c:manualLayout>
                  <c:x val="-1.839742493995486E-2"/>
                  <c:y val="2.09447026865291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0-9B2C-7E4D-8D36-2FD33CA95C6F}"/>
                </c:ext>
              </c:extLst>
            </c:dLbl>
            <c:dLbl>
              <c:idx val="26"/>
              <c:layout>
                <c:manualLayout>
                  <c:x val="-1.8397424939954974E-2"/>
                  <c:y val="2.09447026865291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1-9B2C-7E4D-8D36-2FD33CA95C6F}"/>
                </c:ext>
              </c:extLst>
            </c:dLbl>
            <c:dLbl>
              <c:idx val="27"/>
              <c:layout>
                <c:manualLayout>
                  <c:x val="-2.146366242994734E-2"/>
                  <c:y val="1.79526023027393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2-9B2C-7E4D-8D36-2FD33CA95C6F}"/>
                </c:ext>
              </c:extLst>
            </c:dLbl>
            <c:dLbl>
              <c:idx val="28"/>
              <c:layout>
                <c:manualLayout>
                  <c:x val="-2.146366242994734E-2"/>
                  <c:y val="3.045613173150112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3-9B2C-7E4D-8D36-2FD33CA95C6F}"/>
                </c:ext>
              </c:extLst>
            </c:dLbl>
            <c:dLbl>
              <c:idx val="29"/>
              <c:layout>
                <c:manualLayout>
                  <c:x val="-2.146366242994734E-2"/>
                  <c:y val="2.09447026865291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4-9B2C-7E4D-8D36-2FD33CA95C6F}"/>
                </c:ext>
              </c:extLst>
            </c:dLbl>
            <c:dLbl>
              <c:idx val="30"/>
              <c:layout>
                <c:manualLayout>
                  <c:x val="-1.9930543684951212E-2"/>
                  <c:y val="2.09447026865290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5-9B2C-7E4D-8D36-2FD33CA95C6F}"/>
                </c:ext>
              </c:extLst>
            </c:dLbl>
            <c:dLbl>
              <c:idx val="31"/>
              <c:layout>
                <c:manualLayout>
                  <c:x val="-1.9930543684951101E-2"/>
                  <c:y val="2.09447026865290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6-9B2C-7E4D-8D36-2FD33CA95C6F}"/>
                </c:ext>
              </c:extLst>
            </c:dLbl>
            <c:dLbl>
              <c:idx val="32"/>
              <c:layout>
                <c:manualLayout>
                  <c:x val="-1.9930543684951212E-2"/>
                  <c:y val="1.79526023027393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7-9B2C-7E4D-8D36-2FD33CA95C6F}"/>
                </c:ext>
              </c:extLst>
            </c:dLbl>
            <c:dLbl>
              <c:idx val="33"/>
              <c:layout>
                <c:manualLayout>
                  <c:x val="-1.839742493995486E-2"/>
                  <c:y val="2.69289034541089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8-9B2C-7E4D-8D36-2FD33CA95C6F}"/>
                </c:ext>
              </c:extLst>
            </c:dLbl>
            <c:dLbl>
              <c:idx val="34"/>
              <c:layout>
                <c:manualLayout>
                  <c:x val="-1.839742493995486E-2"/>
                  <c:y val="2.39368030703190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9-9B2C-7E4D-8D36-2FD33CA95C6F}"/>
                </c:ext>
              </c:extLst>
            </c:dLbl>
            <c:dLbl>
              <c:idx val="35"/>
              <c:layout>
                <c:manualLayout>
                  <c:x val="-2.4529899919939816E-2"/>
                  <c:y val="3.02778840856058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A-9B2C-7E4D-8D36-2FD33CA95C6F}"/>
                </c:ext>
              </c:extLst>
            </c:dLbl>
            <c:dLbl>
              <c:idx val="36"/>
              <c:layout>
                <c:manualLayout>
                  <c:x val="-2.146366242994734E-2"/>
                  <c:y val="2.97426418547940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B-9B2C-7E4D-8D36-2FD33CA95C6F}"/>
                </c:ext>
              </c:extLst>
            </c:dLbl>
            <c:dLbl>
              <c:idx val="37"/>
              <c:layout>
                <c:manualLayout>
                  <c:x val="-1.6864306194958847E-2"/>
                  <c:y val="2.692890345410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C-9B2C-7E4D-8D36-2FD33CA95C6F}"/>
                </c:ext>
              </c:extLst>
            </c:dLbl>
            <c:dLbl>
              <c:idx val="38"/>
              <c:layout>
                <c:manualLayout>
                  <c:x val="-1.2264949959970019E-2"/>
                  <c:y val="2.11230949782843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D-9B2C-7E4D-8D36-2FD33CA95C6F}"/>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50000"/>
                        <a:lumOff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40</c:f>
              <c:numCache>
                <c:formatCode>General</c:formatCode>
                <c:ptCount val="3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numCache>
            </c:numRef>
          </c:xVal>
          <c:yVal>
            <c:numRef>
              <c:f>Sheet1!$C$2:$C$40</c:f>
              <c:numCache>
                <c:formatCode>General</c:formatCode>
                <c:ptCount val="39"/>
                <c:pt idx="0">
                  <c:v>-17</c:v>
                </c:pt>
                <c:pt idx="1">
                  <c:v>-18</c:v>
                </c:pt>
                <c:pt idx="2">
                  <c:v>-17</c:v>
                </c:pt>
                <c:pt idx="3">
                  <c:v>-7</c:v>
                </c:pt>
                <c:pt idx="4">
                  <c:v>-13</c:v>
                </c:pt>
                <c:pt idx="5">
                  <c:v>-8</c:v>
                </c:pt>
                <c:pt idx="6">
                  <c:v>-9</c:v>
                </c:pt>
                <c:pt idx="7">
                  <c:v>-34</c:v>
                </c:pt>
                <c:pt idx="8">
                  <c:v>-8</c:v>
                </c:pt>
                <c:pt idx="9">
                  <c:v>-8</c:v>
                </c:pt>
                <c:pt idx="10">
                  <c:v>-20</c:v>
                </c:pt>
                <c:pt idx="11">
                  <c:v>-6</c:v>
                </c:pt>
                <c:pt idx="12">
                  <c:v>-6</c:v>
                </c:pt>
                <c:pt idx="13">
                  <c:v>-5</c:v>
                </c:pt>
                <c:pt idx="14">
                  <c:v>-9</c:v>
                </c:pt>
                <c:pt idx="15">
                  <c:v>-3</c:v>
                </c:pt>
                <c:pt idx="16">
                  <c:v>-8</c:v>
                </c:pt>
                <c:pt idx="17">
                  <c:v>-11</c:v>
                </c:pt>
                <c:pt idx="18">
                  <c:v>-19</c:v>
                </c:pt>
                <c:pt idx="19">
                  <c:v>-12</c:v>
                </c:pt>
                <c:pt idx="20">
                  <c:v>-17</c:v>
                </c:pt>
                <c:pt idx="21">
                  <c:v>-30</c:v>
                </c:pt>
                <c:pt idx="22">
                  <c:v>-34</c:v>
                </c:pt>
                <c:pt idx="23">
                  <c:v>-14</c:v>
                </c:pt>
                <c:pt idx="24">
                  <c:v>-8</c:v>
                </c:pt>
                <c:pt idx="25">
                  <c:v>-7</c:v>
                </c:pt>
                <c:pt idx="26">
                  <c:v>-8</c:v>
                </c:pt>
                <c:pt idx="27">
                  <c:v>-10</c:v>
                </c:pt>
                <c:pt idx="28">
                  <c:v>-49</c:v>
                </c:pt>
                <c:pt idx="29">
                  <c:v>-28</c:v>
                </c:pt>
                <c:pt idx="30">
                  <c:v>-16</c:v>
                </c:pt>
                <c:pt idx="31">
                  <c:v>-19</c:v>
                </c:pt>
                <c:pt idx="32">
                  <c:v>-10</c:v>
                </c:pt>
                <c:pt idx="33">
                  <c:v>-6</c:v>
                </c:pt>
                <c:pt idx="34">
                  <c:v>-7</c:v>
                </c:pt>
                <c:pt idx="35">
                  <c:v>-12</c:v>
                </c:pt>
                <c:pt idx="36">
                  <c:v>-11</c:v>
                </c:pt>
                <c:pt idx="37">
                  <c:v>-3</c:v>
                </c:pt>
                <c:pt idx="38">
                  <c:v>-10</c:v>
                </c:pt>
              </c:numCache>
            </c:numRef>
          </c:yVal>
          <c:smooth val="0"/>
          <c:extLst>
            <c:ext xmlns:c16="http://schemas.microsoft.com/office/drawing/2014/chart" uri="{C3380CC4-5D6E-409C-BE32-E72D297353CC}">
              <c16:uniqueId val="{0000004E-9B2C-7E4D-8D36-2FD33CA95C6F}"/>
            </c:ext>
          </c:extLst>
        </c:ser>
        <c:dLbls>
          <c:showLegendKey val="0"/>
          <c:showVal val="1"/>
          <c:showCatName val="0"/>
          <c:showSerName val="0"/>
          <c:showPercent val="0"/>
          <c:showBubbleSize val="0"/>
        </c:dLbls>
        <c:axId val="1474231912"/>
        <c:axId val="1474239784"/>
      </c:scatterChart>
      <c:catAx>
        <c:axId val="1474231912"/>
        <c:scaling>
          <c:orientation val="minMax"/>
        </c:scaling>
        <c:delete val="1"/>
        <c:axPos val="b"/>
        <c:numFmt formatCode="General" sourceLinked="1"/>
        <c:majorTickMark val="none"/>
        <c:minorTickMark val="none"/>
        <c:tickLblPos val="low"/>
        <c:crossAx val="1474239784"/>
        <c:crosses val="autoZero"/>
        <c:auto val="0"/>
        <c:lblAlgn val="ctr"/>
        <c:lblOffset val="100"/>
        <c:noMultiLvlLbl val="0"/>
      </c:catAx>
      <c:valAx>
        <c:axId val="14742397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474231912"/>
        <c:crosses val="autoZero"/>
        <c:crossBetween val="between"/>
      </c:valAx>
      <c:spPr>
        <a:noFill/>
        <a:ln>
          <a:noFill/>
        </a:ln>
        <a:effectLst/>
      </c:spPr>
    </c:plotArea>
    <c:legend>
      <c:legendPos val="b"/>
      <c:layout>
        <c:manualLayout>
          <c:xMode val="edge"/>
          <c:yMode val="edge"/>
          <c:x val="5.4259119287907116E-2"/>
          <c:y val="0.89139590425713167"/>
          <c:w val="0.19480410363979292"/>
          <c:h val="6.098915460436885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Adj Close</c:v>
                </c:pt>
              </c:strCache>
            </c:strRef>
          </c:tx>
          <c:spPr>
            <a:ln w="15875" cap="rnd">
              <a:solidFill>
                <a:srgbClr val="3369FF"/>
              </a:solidFill>
              <a:round/>
            </a:ln>
            <a:effectLst/>
          </c:spPr>
          <c:marker>
            <c:symbol val="none"/>
          </c:marker>
          <c:cat>
            <c:numRef>
              <c:f>Sheet1!$A$2:$A$6043</c:f>
              <c:numCache>
                <c:formatCode>m/d/yy</c:formatCode>
                <c:ptCount val="6042"/>
                <c:pt idx="0">
                  <c:v>35066</c:v>
                </c:pt>
                <c:pt idx="1">
                  <c:v>35067</c:v>
                </c:pt>
                <c:pt idx="2">
                  <c:v>35068</c:v>
                </c:pt>
                <c:pt idx="3">
                  <c:v>35069</c:v>
                </c:pt>
                <c:pt idx="4">
                  <c:v>35072</c:v>
                </c:pt>
                <c:pt idx="5">
                  <c:v>35073</c:v>
                </c:pt>
                <c:pt idx="6">
                  <c:v>35074</c:v>
                </c:pt>
                <c:pt idx="7">
                  <c:v>35075</c:v>
                </c:pt>
                <c:pt idx="8">
                  <c:v>35076</c:v>
                </c:pt>
                <c:pt idx="9">
                  <c:v>35079</c:v>
                </c:pt>
                <c:pt idx="10">
                  <c:v>35080</c:v>
                </c:pt>
                <c:pt idx="11">
                  <c:v>35081</c:v>
                </c:pt>
                <c:pt idx="12">
                  <c:v>35082</c:v>
                </c:pt>
                <c:pt idx="13">
                  <c:v>35083</c:v>
                </c:pt>
                <c:pt idx="14">
                  <c:v>35086</c:v>
                </c:pt>
                <c:pt idx="15">
                  <c:v>35087</c:v>
                </c:pt>
                <c:pt idx="16">
                  <c:v>35088</c:v>
                </c:pt>
                <c:pt idx="17">
                  <c:v>35089</c:v>
                </c:pt>
                <c:pt idx="18">
                  <c:v>35090</c:v>
                </c:pt>
                <c:pt idx="19">
                  <c:v>35093</c:v>
                </c:pt>
                <c:pt idx="20">
                  <c:v>35094</c:v>
                </c:pt>
                <c:pt idx="21">
                  <c:v>35095</c:v>
                </c:pt>
                <c:pt idx="22">
                  <c:v>35096</c:v>
                </c:pt>
                <c:pt idx="23">
                  <c:v>35097</c:v>
                </c:pt>
                <c:pt idx="24">
                  <c:v>35100</c:v>
                </c:pt>
                <c:pt idx="25">
                  <c:v>35101</c:v>
                </c:pt>
                <c:pt idx="26">
                  <c:v>35102</c:v>
                </c:pt>
                <c:pt idx="27">
                  <c:v>35103</c:v>
                </c:pt>
                <c:pt idx="28">
                  <c:v>35104</c:v>
                </c:pt>
                <c:pt idx="29">
                  <c:v>35107</c:v>
                </c:pt>
                <c:pt idx="30">
                  <c:v>35108</c:v>
                </c:pt>
                <c:pt idx="31">
                  <c:v>35109</c:v>
                </c:pt>
                <c:pt idx="32">
                  <c:v>35110</c:v>
                </c:pt>
                <c:pt idx="33">
                  <c:v>35111</c:v>
                </c:pt>
                <c:pt idx="34">
                  <c:v>35115</c:v>
                </c:pt>
                <c:pt idx="35">
                  <c:v>35116</c:v>
                </c:pt>
                <c:pt idx="36">
                  <c:v>35117</c:v>
                </c:pt>
                <c:pt idx="37">
                  <c:v>35118</c:v>
                </c:pt>
                <c:pt idx="38">
                  <c:v>35121</c:v>
                </c:pt>
                <c:pt idx="39">
                  <c:v>35122</c:v>
                </c:pt>
                <c:pt idx="40">
                  <c:v>35123</c:v>
                </c:pt>
                <c:pt idx="41">
                  <c:v>35124</c:v>
                </c:pt>
                <c:pt idx="42">
                  <c:v>35125</c:v>
                </c:pt>
                <c:pt idx="43">
                  <c:v>35128</c:v>
                </c:pt>
                <c:pt idx="44">
                  <c:v>35129</c:v>
                </c:pt>
                <c:pt idx="45">
                  <c:v>35130</c:v>
                </c:pt>
                <c:pt idx="46">
                  <c:v>35131</c:v>
                </c:pt>
                <c:pt idx="47">
                  <c:v>35132</c:v>
                </c:pt>
                <c:pt idx="48">
                  <c:v>35135</c:v>
                </c:pt>
                <c:pt idx="49">
                  <c:v>35136</c:v>
                </c:pt>
                <c:pt idx="50">
                  <c:v>35137</c:v>
                </c:pt>
                <c:pt idx="51">
                  <c:v>35138</c:v>
                </c:pt>
                <c:pt idx="52">
                  <c:v>35139</c:v>
                </c:pt>
                <c:pt idx="53">
                  <c:v>35142</c:v>
                </c:pt>
                <c:pt idx="54">
                  <c:v>35143</c:v>
                </c:pt>
                <c:pt idx="55">
                  <c:v>35144</c:v>
                </c:pt>
                <c:pt idx="56">
                  <c:v>35145</c:v>
                </c:pt>
                <c:pt idx="57">
                  <c:v>35146</c:v>
                </c:pt>
                <c:pt idx="58">
                  <c:v>35149</c:v>
                </c:pt>
                <c:pt idx="59">
                  <c:v>35150</c:v>
                </c:pt>
                <c:pt idx="60">
                  <c:v>35151</c:v>
                </c:pt>
                <c:pt idx="61">
                  <c:v>35152</c:v>
                </c:pt>
                <c:pt idx="62">
                  <c:v>35153</c:v>
                </c:pt>
                <c:pt idx="63">
                  <c:v>35156</c:v>
                </c:pt>
                <c:pt idx="64">
                  <c:v>35157</c:v>
                </c:pt>
                <c:pt idx="65">
                  <c:v>35158</c:v>
                </c:pt>
                <c:pt idx="66">
                  <c:v>35159</c:v>
                </c:pt>
                <c:pt idx="67">
                  <c:v>35163</c:v>
                </c:pt>
                <c:pt idx="68">
                  <c:v>35164</c:v>
                </c:pt>
                <c:pt idx="69">
                  <c:v>35165</c:v>
                </c:pt>
                <c:pt idx="70">
                  <c:v>35166</c:v>
                </c:pt>
                <c:pt idx="71">
                  <c:v>35167</c:v>
                </c:pt>
                <c:pt idx="72">
                  <c:v>35170</c:v>
                </c:pt>
                <c:pt idx="73">
                  <c:v>35171</c:v>
                </c:pt>
                <c:pt idx="74">
                  <c:v>35172</c:v>
                </c:pt>
                <c:pt idx="75">
                  <c:v>35173</c:v>
                </c:pt>
                <c:pt idx="76">
                  <c:v>35174</c:v>
                </c:pt>
                <c:pt idx="77">
                  <c:v>35177</c:v>
                </c:pt>
                <c:pt idx="78">
                  <c:v>35178</c:v>
                </c:pt>
                <c:pt idx="79">
                  <c:v>35179</c:v>
                </c:pt>
                <c:pt idx="80">
                  <c:v>35180</c:v>
                </c:pt>
                <c:pt idx="81">
                  <c:v>35181</c:v>
                </c:pt>
                <c:pt idx="82">
                  <c:v>35184</c:v>
                </c:pt>
                <c:pt idx="83">
                  <c:v>35185</c:v>
                </c:pt>
                <c:pt idx="84">
                  <c:v>35186</c:v>
                </c:pt>
                <c:pt idx="85">
                  <c:v>35187</c:v>
                </c:pt>
                <c:pt idx="86">
                  <c:v>35188</c:v>
                </c:pt>
                <c:pt idx="87">
                  <c:v>35191</c:v>
                </c:pt>
                <c:pt idx="88">
                  <c:v>35192</c:v>
                </c:pt>
                <c:pt idx="89">
                  <c:v>35193</c:v>
                </c:pt>
                <c:pt idx="90">
                  <c:v>35194</c:v>
                </c:pt>
                <c:pt idx="91">
                  <c:v>35195</c:v>
                </c:pt>
                <c:pt idx="92">
                  <c:v>35198</c:v>
                </c:pt>
                <c:pt idx="93">
                  <c:v>35199</c:v>
                </c:pt>
                <c:pt idx="94">
                  <c:v>35200</c:v>
                </c:pt>
                <c:pt idx="95">
                  <c:v>35201</c:v>
                </c:pt>
                <c:pt idx="96">
                  <c:v>35202</c:v>
                </c:pt>
                <c:pt idx="97">
                  <c:v>35205</c:v>
                </c:pt>
                <c:pt idx="98">
                  <c:v>35206</c:v>
                </c:pt>
                <c:pt idx="99">
                  <c:v>35207</c:v>
                </c:pt>
                <c:pt idx="100">
                  <c:v>35208</c:v>
                </c:pt>
                <c:pt idx="101">
                  <c:v>35209</c:v>
                </c:pt>
                <c:pt idx="102">
                  <c:v>35213</c:v>
                </c:pt>
                <c:pt idx="103">
                  <c:v>35214</c:v>
                </c:pt>
                <c:pt idx="104">
                  <c:v>35215</c:v>
                </c:pt>
                <c:pt idx="105">
                  <c:v>35216</c:v>
                </c:pt>
                <c:pt idx="106">
                  <c:v>35219</c:v>
                </c:pt>
                <c:pt idx="107">
                  <c:v>35220</c:v>
                </c:pt>
                <c:pt idx="108">
                  <c:v>35221</c:v>
                </c:pt>
                <c:pt idx="109">
                  <c:v>35222</c:v>
                </c:pt>
                <c:pt idx="110">
                  <c:v>35223</c:v>
                </c:pt>
                <c:pt idx="111">
                  <c:v>35226</c:v>
                </c:pt>
                <c:pt idx="112">
                  <c:v>35227</c:v>
                </c:pt>
                <c:pt idx="113">
                  <c:v>35228</c:v>
                </c:pt>
                <c:pt idx="114">
                  <c:v>35229</c:v>
                </c:pt>
                <c:pt idx="115">
                  <c:v>35230</c:v>
                </c:pt>
                <c:pt idx="116">
                  <c:v>35233</c:v>
                </c:pt>
                <c:pt idx="117">
                  <c:v>35234</c:v>
                </c:pt>
                <c:pt idx="118">
                  <c:v>35235</c:v>
                </c:pt>
                <c:pt idx="119">
                  <c:v>35236</c:v>
                </c:pt>
                <c:pt idx="120">
                  <c:v>35237</c:v>
                </c:pt>
                <c:pt idx="121">
                  <c:v>35240</c:v>
                </c:pt>
                <c:pt idx="122">
                  <c:v>35241</c:v>
                </c:pt>
                <c:pt idx="123">
                  <c:v>35242</c:v>
                </c:pt>
                <c:pt idx="124">
                  <c:v>35243</c:v>
                </c:pt>
                <c:pt idx="125">
                  <c:v>35244</c:v>
                </c:pt>
                <c:pt idx="126">
                  <c:v>35247</c:v>
                </c:pt>
                <c:pt idx="127">
                  <c:v>35248</c:v>
                </c:pt>
                <c:pt idx="128">
                  <c:v>35249</c:v>
                </c:pt>
                <c:pt idx="129">
                  <c:v>35251</c:v>
                </c:pt>
                <c:pt idx="130">
                  <c:v>35254</c:v>
                </c:pt>
                <c:pt idx="131">
                  <c:v>35255</c:v>
                </c:pt>
                <c:pt idx="132">
                  <c:v>35256</c:v>
                </c:pt>
                <c:pt idx="133">
                  <c:v>35257</c:v>
                </c:pt>
                <c:pt idx="134">
                  <c:v>35258</c:v>
                </c:pt>
                <c:pt idx="135">
                  <c:v>35261</c:v>
                </c:pt>
                <c:pt idx="136">
                  <c:v>35262</c:v>
                </c:pt>
                <c:pt idx="137">
                  <c:v>35263</c:v>
                </c:pt>
                <c:pt idx="138">
                  <c:v>35264</c:v>
                </c:pt>
                <c:pt idx="139">
                  <c:v>35265</c:v>
                </c:pt>
                <c:pt idx="140">
                  <c:v>35268</c:v>
                </c:pt>
                <c:pt idx="141">
                  <c:v>35269</c:v>
                </c:pt>
                <c:pt idx="142">
                  <c:v>35270</c:v>
                </c:pt>
                <c:pt idx="143">
                  <c:v>35271</c:v>
                </c:pt>
                <c:pt idx="144">
                  <c:v>35272</c:v>
                </c:pt>
                <c:pt idx="145">
                  <c:v>35275</c:v>
                </c:pt>
                <c:pt idx="146">
                  <c:v>35276</c:v>
                </c:pt>
                <c:pt idx="147">
                  <c:v>35277</c:v>
                </c:pt>
                <c:pt idx="148">
                  <c:v>35278</c:v>
                </c:pt>
                <c:pt idx="149">
                  <c:v>35279</c:v>
                </c:pt>
                <c:pt idx="150">
                  <c:v>35282</c:v>
                </c:pt>
                <c:pt idx="151">
                  <c:v>35283</c:v>
                </c:pt>
                <c:pt idx="152">
                  <c:v>35284</c:v>
                </c:pt>
                <c:pt idx="153">
                  <c:v>35285</c:v>
                </c:pt>
                <c:pt idx="154">
                  <c:v>35286</c:v>
                </c:pt>
                <c:pt idx="155">
                  <c:v>35289</c:v>
                </c:pt>
                <c:pt idx="156">
                  <c:v>35290</c:v>
                </c:pt>
                <c:pt idx="157">
                  <c:v>35291</c:v>
                </c:pt>
                <c:pt idx="158">
                  <c:v>35292</c:v>
                </c:pt>
                <c:pt idx="159">
                  <c:v>35293</c:v>
                </c:pt>
                <c:pt idx="160">
                  <c:v>35296</c:v>
                </c:pt>
                <c:pt idx="161">
                  <c:v>35297</c:v>
                </c:pt>
                <c:pt idx="162">
                  <c:v>35298</c:v>
                </c:pt>
                <c:pt idx="163">
                  <c:v>35299</c:v>
                </c:pt>
                <c:pt idx="164">
                  <c:v>35300</c:v>
                </c:pt>
                <c:pt idx="165">
                  <c:v>35303</c:v>
                </c:pt>
                <c:pt idx="166">
                  <c:v>35304</c:v>
                </c:pt>
                <c:pt idx="167">
                  <c:v>35305</c:v>
                </c:pt>
                <c:pt idx="168">
                  <c:v>35306</c:v>
                </c:pt>
                <c:pt idx="169">
                  <c:v>35307</c:v>
                </c:pt>
                <c:pt idx="170">
                  <c:v>35311</c:v>
                </c:pt>
                <c:pt idx="171">
                  <c:v>35312</c:v>
                </c:pt>
                <c:pt idx="172">
                  <c:v>35313</c:v>
                </c:pt>
                <c:pt idx="173">
                  <c:v>35314</c:v>
                </c:pt>
                <c:pt idx="174">
                  <c:v>35317</c:v>
                </c:pt>
                <c:pt idx="175">
                  <c:v>35318</c:v>
                </c:pt>
                <c:pt idx="176">
                  <c:v>35319</c:v>
                </c:pt>
                <c:pt idx="177">
                  <c:v>35320</c:v>
                </c:pt>
                <c:pt idx="178">
                  <c:v>35321</c:v>
                </c:pt>
                <c:pt idx="179">
                  <c:v>35324</c:v>
                </c:pt>
                <c:pt idx="180">
                  <c:v>35325</c:v>
                </c:pt>
                <c:pt idx="181">
                  <c:v>35326</c:v>
                </c:pt>
                <c:pt idx="182">
                  <c:v>35327</c:v>
                </c:pt>
                <c:pt idx="183">
                  <c:v>35328</c:v>
                </c:pt>
                <c:pt idx="184">
                  <c:v>35331</c:v>
                </c:pt>
                <c:pt idx="185">
                  <c:v>35332</c:v>
                </c:pt>
                <c:pt idx="186">
                  <c:v>35333</c:v>
                </c:pt>
                <c:pt idx="187">
                  <c:v>35334</c:v>
                </c:pt>
                <c:pt idx="188">
                  <c:v>35335</c:v>
                </c:pt>
                <c:pt idx="189">
                  <c:v>35338</c:v>
                </c:pt>
                <c:pt idx="190">
                  <c:v>35339</c:v>
                </c:pt>
                <c:pt idx="191">
                  <c:v>35340</c:v>
                </c:pt>
                <c:pt idx="192">
                  <c:v>35341</c:v>
                </c:pt>
                <c:pt idx="193">
                  <c:v>35342</c:v>
                </c:pt>
                <c:pt idx="194">
                  <c:v>35345</c:v>
                </c:pt>
                <c:pt idx="195">
                  <c:v>35346</c:v>
                </c:pt>
                <c:pt idx="196">
                  <c:v>35347</c:v>
                </c:pt>
                <c:pt idx="197">
                  <c:v>35348</c:v>
                </c:pt>
                <c:pt idx="198">
                  <c:v>35349</c:v>
                </c:pt>
                <c:pt idx="199">
                  <c:v>35352</c:v>
                </c:pt>
                <c:pt idx="200">
                  <c:v>35353</c:v>
                </c:pt>
                <c:pt idx="201">
                  <c:v>35354</c:v>
                </c:pt>
                <c:pt idx="202">
                  <c:v>35355</c:v>
                </c:pt>
                <c:pt idx="203">
                  <c:v>35356</c:v>
                </c:pt>
                <c:pt idx="204">
                  <c:v>35359</c:v>
                </c:pt>
                <c:pt idx="205">
                  <c:v>35360</c:v>
                </c:pt>
                <c:pt idx="206">
                  <c:v>35361</c:v>
                </c:pt>
                <c:pt idx="207">
                  <c:v>35362</c:v>
                </c:pt>
                <c:pt idx="208">
                  <c:v>35363</c:v>
                </c:pt>
                <c:pt idx="209">
                  <c:v>35366</c:v>
                </c:pt>
                <c:pt idx="210">
                  <c:v>35367</c:v>
                </c:pt>
                <c:pt idx="211">
                  <c:v>35368</c:v>
                </c:pt>
                <c:pt idx="212">
                  <c:v>35369</c:v>
                </c:pt>
                <c:pt idx="213">
                  <c:v>35370</c:v>
                </c:pt>
                <c:pt idx="214">
                  <c:v>35373</c:v>
                </c:pt>
                <c:pt idx="215">
                  <c:v>35374</c:v>
                </c:pt>
                <c:pt idx="216">
                  <c:v>35375</c:v>
                </c:pt>
                <c:pt idx="217">
                  <c:v>35376</c:v>
                </c:pt>
                <c:pt idx="218">
                  <c:v>35377</c:v>
                </c:pt>
                <c:pt idx="219">
                  <c:v>35380</c:v>
                </c:pt>
                <c:pt idx="220">
                  <c:v>35381</c:v>
                </c:pt>
                <c:pt idx="221">
                  <c:v>35382</c:v>
                </c:pt>
                <c:pt idx="222">
                  <c:v>35383</c:v>
                </c:pt>
                <c:pt idx="223">
                  <c:v>35384</c:v>
                </c:pt>
                <c:pt idx="224">
                  <c:v>35387</c:v>
                </c:pt>
                <c:pt idx="225">
                  <c:v>35388</c:v>
                </c:pt>
                <c:pt idx="226">
                  <c:v>35389</c:v>
                </c:pt>
                <c:pt idx="227">
                  <c:v>35390</c:v>
                </c:pt>
                <c:pt idx="228">
                  <c:v>35391</c:v>
                </c:pt>
                <c:pt idx="229">
                  <c:v>35394</c:v>
                </c:pt>
                <c:pt idx="230">
                  <c:v>35395</c:v>
                </c:pt>
                <c:pt idx="231">
                  <c:v>35396</c:v>
                </c:pt>
                <c:pt idx="232">
                  <c:v>35398</c:v>
                </c:pt>
                <c:pt idx="233">
                  <c:v>35401</c:v>
                </c:pt>
                <c:pt idx="234">
                  <c:v>35402</c:v>
                </c:pt>
                <c:pt idx="235">
                  <c:v>35403</c:v>
                </c:pt>
                <c:pt idx="236">
                  <c:v>35404</c:v>
                </c:pt>
                <c:pt idx="237">
                  <c:v>35405</c:v>
                </c:pt>
                <c:pt idx="238">
                  <c:v>35408</c:v>
                </c:pt>
                <c:pt idx="239">
                  <c:v>35409</c:v>
                </c:pt>
                <c:pt idx="240">
                  <c:v>35410</c:v>
                </c:pt>
                <c:pt idx="241">
                  <c:v>35411</c:v>
                </c:pt>
                <c:pt idx="242">
                  <c:v>35412</c:v>
                </c:pt>
                <c:pt idx="243">
                  <c:v>35415</c:v>
                </c:pt>
                <c:pt idx="244">
                  <c:v>35416</c:v>
                </c:pt>
                <c:pt idx="245">
                  <c:v>35417</c:v>
                </c:pt>
                <c:pt idx="246">
                  <c:v>35418</c:v>
                </c:pt>
                <c:pt idx="247">
                  <c:v>35419</c:v>
                </c:pt>
                <c:pt idx="248">
                  <c:v>35422</c:v>
                </c:pt>
                <c:pt idx="249">
                  <c:v>35423</c:v>
                </c:pt>
                <c:pt idx="250">
                  <c:v>35425</c:v>
                </c:pt>
                <c:pt idx="251">
                  <c:v>35426</c:v>
                </c:pt>
                <c:pt idx="252">
                  <c:v>35429</c:v>
                </c:pt>
                <c:pt idx="253">
                  <c:v>35430</c:v>
                </c:pt>
                <c:pt idx="254">
                  <c:v>35432</c:v>
                </c:pt>
                <c:pt idx="255">
                  <c:v>35433</c:v>
                </c:pt>
                <c:pt idx="256">
                  <c:v>35436</c:v>
                </c:pt>
                <c:pt idx="257">
                  <c:v>35437</c:v>
                </c:pt>
                <c:pt idx="258">
                  <c:v>35438</c:v>
                </c:pt>
                <c:pt idx="259">
                  <c:v>35439</c:v>
                </c:pt>
                <c:pt idx="260">
                  <c:v>35440</c:v>
                </c:pt>
                <c:pt idx="261">
                  <c:v>35443</c:v>
                </c:pt>
                <c:pt idx="262">
                  <c:v>35444</c:v>
                </c:pt>
                <c:pt idx="263">
                  <c:v>35445</c:v>
                </c:pt>
                <c:pt idx="264">
                  <c:v>35446</c:v>
                </c:pt>
                <c:pt idx="265">
                  <c:v>35447</c:v>
                </c:pt>
                <c:pt idx="266">
                  <c:v>35450</c:v>
                </c:pt>
                <c:pt idx="267">
                  <c:v>35451</c:v>
                </c:pt>
                <c:pt idx="268">
                  <c:v>35452</c:v>
                </c:pt>
                <c:pt idx="269">
                  <c:v>35453</c:v>
                </c:pt>
                <c:pt idx="270">
                  <c:v>35454</c:v>
                </c:pt>
                <c:pt idx="271">
                  <c:v>35457</c:v>
                </c:pt>
                <c:pt idx="272">
                  <c:v>35458</c:v>
                </c:pt>
                <c:pt idx="273">
                  <c:v>35459</c:v>
                </c:pt>
                <c:pt idx="274">
                  <c:v>35460</c:v>
                </c:pt>
                <c:pt idx="275">
                  <c:v>35461</c:v>
                </c:pt>
                <c:pt idx="276">
                  <c:v>35464</c:v>
                </c:pt>
                <c:pt idx="277">
                  <c:v>35465</c:v>
                </c:pt>
                <c:pt idx="278">
                  <c:v>35466</c:v>
                </c:pt>
                <c:pt idx="279">
                  <c:v>35467</c:v>
                </c:pt>
                <c:pt idx="280">
                  <c:v>35468</c:v>
                </c:pt>
                <c:pt idx="281">
                  <c:v>35471</c:v>
                </c:pt>
                <c:pt idx="282">
                  <c:v>35472</c:v>
                </c:pt>
                <c:pt idx="283">
                  <c:v>35473</c:v>
                </c:pt>
                <c:pt idx="284">
                  <c:v>35474</c:v>
                </c:pt>
                <c:pt idx="285">
                  <c:v>35475</c:v>
                </c:pt>
                <c:pt idx="286">
                  <c:v>35479</c:v>
                </c:pt>
                <c:pt idx="287">
                  <c:v>35480</c:v>
                </c:pt>
                <c:pt idx="288">
                  <c:v>35481</c:v>
                </c:pt>
                <c:pt idx="289">
                  <c:v>35482</c:v>
                </c:pt>
                <c:pt idx="290">
                  <c:v>35485</c:v>
                </c:pt>
                <c:pt idx="291">
                  <c:v>35486</c:v>
                </c:pt>
                <c:pt idx="292">
                  <c:v>35487</c:v>
                </c:pt>
                <c:pt idx="293">
                  <c:v>35488</c:v>
                </c:pt>
                <c:pt idx="294">
                  <c:v>35489</c:v>
                </c:pt>
                <c:pt idx="295">
                  <c:v>35492</c:v>
                </c:pt>
                <c:pt idx="296">
                  <c:v>35493</c:v>
                </c:pt>
                <c:pt idx="297">
                  <c:v>35494</c:v>
                </c:pt>
                <c:pt idx="298">
                  <c:v>35495</c:v>
                </c:pt>
                <c:pt idx="299">
                  <c:v>35496</c:v>
                </c:pt>
                <c:pt idx="300">
                  <c:v>35499</c:v>
                </c:pt>
                <c:pt idx="301">
                  <c:v>35500</c:v>
                </c:pt>
                <c:pt idx="302">
                  <c:v>35501</c:v>
                </c:pt>
                <c:pt idx="303">
                  <c:v>35502</c:v>
                </c:pt>
                <c:pt idx="304">
                  <c:v>35503</c:v>
                </c:pt>
                <c:pt idx="305">
                  <c:v>35506</c:v>
                </c:pt>
                <c:pt idx="306">
                  <c:v>35507</c:v>
                </c:pt>
                <c:pt idx="307">
                  <c:v>35508</c:v>
                </c:pt>
                <c:pt idx="308">
                  <c:v>35509</c:v>
                </c:pt>
                <c:pt idx="309">
                  <c:v>35510</c:v>
                </c:pt>
                <c:pt idx="310">
                  <c:v>35513</c:v>
                </c:pt>
                <c:pt idx="311">
                  <c:v>35514</c:v>
                </c:pt>
                <c:pt idx="312">
                  <c:v>35515</c:v>
                </c:pt>
                <c:pt idx="313">
                  <c:v>35516</c:v>
                </c:pt>
                <c:pt idx="314">
                  <c:v>35520</c:v>
                </c:pt>
                <c:pt idx="315">
                  <c:v>35521</c:v>
                </c:pt>
                <c:pt idx="316">
                  <c:v>35522</c:v>
                </c:pt>
                <c:pt idx="317">
                  <c:v>35523</c:v>
                </c:pt>
                <c:pt idx="318">
                  <c:v>35524</c:v>
                </c:pt>
                <c:pt idx="319">
                  <c:v>35527</c:v>
                </c:pt>
                <c:pt idx="320">
                  <c:v>35528</c:v>
                </c:pt>
                <c:pt idx="321">
                  <c:v>35529</c:v>
                </c:pt>
                <c:pt idx="322">
                  <c:v>35530</c:v>
                </c:pt>
                <c:pt idx="323">
                  <c:v>35531</c:v>
                </c:pt>
                <c:pt idx="324">
                  <c:v>35534</c:v>
                </c:pt>
                <c:pt idx="325">
                  <c:v>35535</c:v>
                </c:pt>
                <c:pt idx="326">
                  <c:v>35536</c:v>
                </c:pt>
                <c:pt idx="327">
                  <c:v>35537</c:v>
                </c:pt>
                <c:pt idx="328">
                  <c:v>35538</c:v>
                </c:pt>
                <c:pt idx="329">
                  <c:v>35541</c:v>
                </c:pt>
                <c:pt idx="330">
                  <c:v>35542</c:v>
                </c:pt>
                <c:pt idx="331">
                  <c:v>35543</c:v>
                </c:pt>
                <c:pt idx="332">
                  <c:v>35544</c:v>
                </c:pt>
                <c:pt idx="333">
                  <c:v>35545</c:v>
                </c:pt>
                <c:pt idx="334">
                  <c:v>35548</c:v>
                </c:pt>
                <c:pt idx="335">
                  <c:v>35549</c:v>
                </c:pt>
                <c:pt idx="336">
                  <c:v>35550</c:v>
                </c:pt>
                <c:pt idx="337">
                  <c:v>35551</c:v>
                </c:pt>
                <c:pt idx="338">
                  <c:v>35552</c:v>
                </c:pt>
                <c:pt idx="339">
                  <c:v>35555</c:v>
                </c:pt>
                <c:pt idx="340">
                  <c:v>35556</c:v>
                </c:pt>
                <c:pt idx="341">
                  <c:v>35557</c:v>
                </c:pt>
                <c:pt idx="342">
                  <c:v>35558</c:v>
                </c:pt>
                <c:pt idx="343">
                  <c:v>35559</c:v>
                </c:pt>
                <c:pt idx="344">
                  <c:v>35562</c:v>
                </c:pt>
                <c:pt idx="345">
                  <c:v>35563</c:v>
                </c:pt>
                <c:pt idx="346">
                  <c:v>35564</c:v>
                </c:pt>
                <c:pt idx="347">
                  <c:v>35565</c:v>
                </c:pt>
                <c:pt idx="348">
                  <c:v>35566</c:v>
                </c:pt>
                <c:pt idx="349">
                  <c:v>35569</c:v>
                </c:pt>
                <c:pt idx="350">
                  <c:v>35570</c:v>
                </c:pt>
                <c:pt idx="351">
                  <c:v>35571</c:v>
                </c:pt>
                <c:pt idx="352">
                  <c:v>35572</c:v>
                </c:pt>
                <c:pt idx="353">
                  <c:v>35573</c:v>
                </c:pt>
                <c:pt idx="354">
                  <c:v>35577</c:v>
                </c:pt>
                <c:pt idx="355">
                  <c:v>35578</c:v>
                </c:pt>
                <c:pt idx="356">
                  <c:v>35579</c:v>
                </c:pt>
                <c:pt idx="357">
                  <c:v>35580</c:v>
                </c:pt>
                <c:pt idx="358">
                  <c:v>35583</c:v>
                </c:pt>
                <c:pt idx="359">
                  <c:v>35584</c:v>
                </c:pt>
                <c:pt idx="360">
                  <c:v>35585</c:v>
                </c:pt>
                <c:pt idx="361">
                  <c:v>35586</c:v>
                </c:pt>
                <c:pt idx="362">
                  <c:v>35587</c:v>
                </c:pt>
                <c:pt idx="363">
                  <c:v>35590</c:v>
                </c:pt>
                <c:pt idx="364">
                  <c:v>35591</c:v>
                </c:pt>
                <c:pt idx="365">
                  <c:v>35592</c:v>
                </c:pt>
                <c:pt idx="366">
                  <c:v>35593</c:v>
                </c:pt>
                <c:pt idx="367">
                  <c:v>35594</c:v>
                </c:pt>
                <c:pt idx="368">
                  <c:v>35597</c:v>
                </c:pt>
                <c:pt idx="369">
                  <c:v>35598</c:v>
                </c:pt>
                <c:pt idx="370">
                  <c:v>35599</c:v>
                </c:pt>
                <c:pt idx="371">
                  <c:v>35600</c:v>
                </c:pt>
                <c:pt idx="372">
                  <c:v>35601</c:v>
                </c:pt>
                <c:pt idx="373">
                  <c:v>35604</c:v>
                </c:pt>
                <c:pt idx="374">
                  <c:v>35605</c:v>
                </c:pt>
                <c:pt idx="375">
                  <c:v>35606</c:v>
                </c:pt>
                <c:pt idx="376">
                  <c:v>35607</c:v>
                </c:pt>
                <c:pt idx="377">
                  <c:v>35608</c:v>
                </c:pt>
                <c:pt idx="378">
                  <c:v>35611</c:v>
                </c:pt>
                <c:pt idx="379">
                  <c:v>35612</c:v>
                </c:pt>
                <c:pt idx="380">
                  <c:v>35613</c:v>
                </c:pt>
                <c:pt idx="381">
                  <c:v>35614</c:v>
                </c:pt>
                <c:pt idx="382">
                  <c:v>35618</c:v>
                </c:pt>
                <c:pt idx="383">
                  <c:v>35619</c:v>
                </c:pt>
                <c:pt idx="384">
                  <c:v>35620</c:v>
                </c:pt>
                <c:pt idx="385">
                  <c:v>35621</c:v>
                </c:pt>
                <c:pt idx="386">
                  <c:v>35622</c:v>
                </c:pt>
                <c:pt idx="387">
                  <c:v>35625</c:v>
                </c:pt>
                <c:pt idx="388">
                  <c:v>35626</c:v>
                </c:pt>
                <c:pt idx="389">
                  <c:v>35627</c:v>
                </c:pt>
                <c:pt idx="390">
                  <c:v>35628</c:v>
                </c:pt>
                <c:pt idx="391">
                  <c:v>35629</c:v>
                </c:pt>
                <c:pt idx="392">
                  <c:v>35632</c:v>
                </c:pt>
                <c:pt idx="393">
                  <c:v>35633</c:v>
                </c:pt>
                <c:pt idx="394">
                  <c:v>35634</c:v>
                </c:pt>
                <c:pt idx="395">
                  <c:v>35635</c:v>
                </c:pt>
                <c:pt idx="396">
                  <c:v>35636</c:v>
                </c:pt>
                <c:pt idx="397">
                  <c:v>35639</c:v>
                </c:pt>
                <c:pt idx="398">
                  <c:v>35640</c:v>
                </c:pt>
                <c:pt idx="399">
                  <c:v>35641</c:v>
                </c:pt>
                <c:pt idx="400">
                  <c:v>35642</c:v>
                </c:pt>
                <c:pt idx="401">
                  <c:v>35643</c:v>
                </c:pt>
                <c:pt idx="402">
                  <c:v>35646</c:v>
                </c:pt>
                <c:pt idx="403">
                  <c:v>35647</c:v>
                </c:pt>
                <c:pt idx="404">
                  <c:v>35648</c:v>
                </c:pt>
                <c:pt idx="405">
                  <c:v>35649</c:v>
                </c:pt>
                <c:pt idx="406">
                  <c:v>35650</c:v>
                </c:pt>
                <c:pt idx="407">
                  <c:v>35653</c:v>
                </c:pt>
                <c:pt idx="408">
                  <c:v>35654</c:v>
                </c:pt>
                <c:pt idx="409">
                  <c:v>35655</c:v>
                </c:pt>
                <c:pt idx="410">
                  <c:v>35656</c:v>
                </c:pt>
                <c:pt idx="411">
                  <c:v>35657</c:v>
                </c:pt>
                <c:pt idx="412">
                  <c:v>35660</c:v>
                </c:pt>
                <c:pt idx="413">
                  <c:v>35661</c:v>
                </c:pt>
                <c:pt idx="414">
                  <c:v>35662</c:v>
                </c:pt>
                <c:pt idx="415">
                  <c:v>35663</c:v>
                </c:pt>
                <c:pt idx="416">
                  <c:v>35664</c:v>
                </c:pt>
                <c:pt idx="417">
                  <c:v>35667</c:v>
                </c:pt>
                <c:pt idx="418">
                  <c:v>35668</c:v>
                </c:pt>
                <c:pt idx="419">
                  <c:v>35669</c:v>
                </c:pt>
                <c:pt idx="420">
                  <c:v>35670</c:v>
                </c:pt>
                <c:pt idx="421">
                  <c:v>35671</c:v>
                </c:pt>
                <c:pt idx="422">
                  <c:v>35675</c:v>
                </c:pt>
                <c:pt idx="423">
                  <c:v>35676</c:v>
                </c:pt>
                <c:pt idx="424">
                  <c:v>35677</c:v>
                </c:pt>
                <c:pt idx="425">
                  <c:v>35678</c:v>
                </c:pt>
                <c:pt idx="426">
                  <c:v>35681</c:v>
                </c:pt>
                <c:pt idx="427">
                  <c:v>35682</c:v>
                </c:pt>
                <c:pt idx="428">
                  <c:v>35683</c:v>
                </c:pt>
                <c:pt idx="429">
                  <c:v>35684</c:v>
                </c:pt>
                <c:pt idx="430">
                  <c:v>35685</c:v>
                </c:pt>
                <c:pt idx="431">
                  <c:v>35688</c:v>
                </c:pt>
                <c:pt idx="432">
                  <c:v>35689</c:v>
                </c:pt>
                <c:pt idx="433">
                  <c:v>35690</c:v>
                </c:pt>
                <c:pt idx="434">
                  <c:v>35691</c:v>
                </c:pt>
                <c:pt idx="435">
                  <c:v>35692</c:v>
                </c:pt>
                <c:pt idx="436">
                  <c:v>35695</c:v>
                </c:pt>
                <c:pt idx="437">
                  <c:v>35696</c:v>
                </c:pt>
                <c:pt idx="438">
                  <c:v>35697</c:v>
                </c:pt>
                <c:pt idx="439">
                  <c:v>35698</c:v>
                </c:pt>
                <c:pt idx="440">
                  <c:v>35699</c:v>
                </c:pt>
                <c:pt idx="441">
                  <c:v>35702</c:v>
                </c:pt>
                <c:pt idx="442">
                  <c:v>35703</c:v>
                </c:pt>
                <c:pt idx="443">
                  <c:v>35704</c:v>
                </c:pt>
                <c:pt idx="444">
                  <c:v>35705</c:v>
                </c:pt>
                <c:pt idx="445">
                  <c:v>35706</c:v>
                </c:pt>
                <c:pt idx="446">
                  <c:v>35709</c:v>
                </c:pt>
                <c:pt idx="447">
                  <c:v>35710</c:v>
                </c:pt>
                <c:pt idx="448">
                  <c:v>35711</c:v>
                </c:pt>
                <c:pt idx="449">
                  <c:v>35712</c:v>
                </c:pt>
                <c:pt idx="450">
                  <c:v>35713</c:v>
                </c:pt>
                <c:pt idx="451">
                  <c:v>35716</c:v>
                </c:pt>
                <c:pt idx="452">
                  <c:v>35717</c:v>
                </c:pt>
                <c:pt idx="453">
                  <c:v>35718</c:v>
                </c:pt>
                <c:pt idx="454">
                  <c:v>35719</c:v>
                </c:pt>
                <c:pt idx="455">
                  <c:v>35720</c:v>
                </c:pt>
                <c:pt idx="456">
                  <c:v>35723</c:v>
                </c:pt>
                <c:pt idx="457">
                  <c:v>35724</c:v>
                </c:pt>
                <c:pt idx="458">
                  <c:v>35725</c:v>
                </c:pt>
                <c:pt idx="459">
                  <c:v>35726</c:v>
                </c:pt>
                <c:pt idx="460">
                  <c:v>35727</c:v>
                </c:pt>
                <c:pt idx="461">
                  <c:v>35730</c:v>
                </c:pt>
                <c:pt idx="462">
                  <c:v>35731</c:v>
                </c:pt>
                <c:pt idx="463">
                  <c:v>35732</c:v>
                </c:pt>
                <c:pt idx="464">
                  <c:v>35733</c:v>
                </c:pt>
                <c:pt idx="465">
                  <c:v>35734</c:v>
                </c:pt>
                <c:pt idx="466">
                  <c:v>35737</c:v>
                </c:pt>
                <c:pt idx="467">
                  <c:v>35738</c:v>
                </c:pt>
                <c:pt idx="468">
                  <c:v>35739</c:v>
                </c:pt>
                <c:pt idx="469">
                  <c:v>35740</c:v>
                </c:pt>
                <c:pt idx="470">
                  <c:v>35741</c:v>
                </c:pt>
                <c:pt idx="471">
                  <c:v>35744</c:v>
                </c:pt>
                <c:pt idx="472">
                  <c:v>35745</c:v>
                </c:pt>
                <c:pt idx="473">
                  <c:v>35746</c:v>
                </c:pt>
                <c:pt idx="474">
                  <c:v>35747</c:v>
                </c:pt>
                <c:pt idx="475">
                  <c:v>35748</c:v>
                </c:pt>
                <c:pt idx="476">
                  <c:v>35751</c:v>
                </c:pt>
                <c:pt idx="477">
                  <c:v>35752</c:v>
                </c:pt>
                <c:pt idx="478">
                  <c:v>35753</c:v>
                </c:pt>
                <c:pt idx="479">
                  <c:v>35754</c:v>
                </c:pt>
                <c:pt idx="480">
                  <c:v>35755</c:v>
                </c:pt>
                <c:pt idx="481">
                  <c:v>35758</c:v>
                </c:pt>
                <c:pt idx="482">
                  <c:v>35759</c:v>
                </c:pt>
                <c:pt idx="483">
                  <c:v>35760</c:v>
                </c:pt>
                <c:pt idx="484">
                  <c:v>35762</c:v>
                </c:pt>
                <c:pt idx="485">
                  <c:v>35765</c:v>
                </c:pt>
                <c:pt idx="486">
                  <c:v>35766</c:v>
                </c:pt>
                <c:pt idx="487">
                  <c:v>35767</c:v>
                </c:pt>
                <c:pt idx="488">
                  <c:v>35768</c:v>
                </c:pt>
                <c:pt idx="489">
                  <c:v>35769</c:v>
                </c:pt>
                <c:pt idx="490">
                  <c:v>35772</c:v>
                </c:pt>
                <c:pt idx="491">
                  <c:v>35773</c:v>
                </c:pt>
                <c:pt idx="492">
                  <c:v>35774</c:v>
                </c:pt>
                <c:pt idx="493">
                  <c:v>35775</c:v>
                </c:pt>
                <c:pt idx="494">
                  <c:v>35776</c:v>
                </c:pt>
                <c:pt idx="495">
                  <c:v>35779</c:v>
                </c:pt>
                <c:pt idx="496">
                  <c:v>35780</c:v>
                </c:pt>
                <c:pt idx="497">
                  <c:v>35781</c:v>
                </c:pt>
                <c:pt idx="498">
                  <c:v>35782</c:v>
                </c:pt>
                <c:pt idx="499">
                  <c:v>35783</c:v>
                </c:pt>
                <c:pt idx="500">
                  <c:v>35786</c:v>
                </c:pt>
                <c:pt idx="501">
                  <c:v>35787</c:v>
                </c:pt>
                <c:pt idx="502">
                  <c:v>35788</c:v>
                </c:pt>
                <c:pt idx="503">
                  <c:v>35790</c:v>
                </c:pt>
                <c:pt idx="504">
                  <c:v>35793</c:v>
                </c:pt>
                <c:pt idx="505">
                  <c:v>35794</c:v>
                </c:pt>
                <c:pt idx="506">
                  <c:v>35795</c:v>
                </c:pt>
                <c:pt idx="507">
                  <c:v>35797</c:v>
                </c:pt>
                <c:pt idx="508">
                  <c:v>35800</c:v>
                </c:pt>
                <c:pt idx="509">
                  <c:v>35801</c:v>
                </c:pt>
                <c:pt idx="510">
                  <c:v>35802</c:v>
                </c:pt>
                <c:pt idx="511">
                  <c:v>35803</c:v>
                </c:pt>
                <c:pt idx="512">
                  <c:v>35804</c:v>
                </c:pt>
                <c:pt idx="513">
                  <c:v>35807</c:v>
                </c:pt>
                <c:pt idx="514">
                  <c:v>35808</c:v>
                </c:pt>
                <c:pt idx="515">
                  <c:v>35809</c:v>
                </c:pt>
                <c:pt idx="516">
                  <c:v>35810</c:v>
                </c:pt>
                <c:pt idx="517">
                  <c:v>35811</c:v>
                </c:pt>
                <c:pt idx="518">
                  <c:v>35815</c:v>
                </c:pt>
                <c:pt idx="519">
                  <c:v>35816</c:v>
                </c:pt>
                <c:pt idx="520">
                  <c:v>35817</c:v>
                </c:pt>
                <c:pt idx="521">
                  <c:v>35818</c:v>
                </c:pt>
                <c:pt idx="522">
                  <c:v>35821</c:v>
                </c:pt>
                <c:pt idx="523">
                  <c:v>35822</c:v>
                </c:pt>
                <c:pt idx="524">
                  <c:v>35823</c:v>
                </c:pt>
                <c:pt idx="525">
                  <c:v>35824</c:v>
                </c:pt>
                <c:pt idx="526">
                  <c:v>35825</c:v>
                </c:pt>
                <c:pt idx="527">
                  <c:v>35828</c:v>
                </c:pt>
                <c:pt idx="528">
                  <c:v>35829</c:v>
                </c:pt>
                <c:pt idx="529">
                  <c:v>35830</c:v>
                </c:pt>
                <c:pt idx="530">
                  <c:v>35831</c:v>
                </c:pt>
                <c:pt idx="531">
                  <c:v>35832</c:v>
                </c:pt>
                <c:pt idx="532">
                  <c:v>35835</c:v>
                </c:pt>
                <c:pt idx="533">
                  <c:v>35836</c:v>
                </c:pt>
                <c:pt idx="534">
                  <c:v>35837</c:v>
                </c:pt>
                <c:pt idx="535">
                  <c:v>35838</c:v>
                </c:pt>
                <c:pt idx="536">
                  <c:v>35839</c:v>
                </c:pt>
                <c:pt idx="537">
                  <c:v>35843</c:v>
                </c:pt>
                <c:pt idx="538">
                  <c:v>35844</c:v>
                </c:pt>
                <c:pt idx="539">
                  <c:v>35845</c:v>
                </c:pt>
                <c:pt idx="540">
                  <c:v>35846</c:v>
                </c:pt>
                <c:pt idx="541">
                  <c:v>35849</c:v>
                </c:pt>
                <c:pt idx="542">
                  <c:v>35850</c:v>
                </c:pt>
                <c:pt idx="543">
                  <c:v>35851</c:v>
                </c:pt>
                <c:pt idx="544">
                  <c:v>35852</c:v>
                </c:pt>
                <c:pt idx="545">
                  <c:v>35853</c:v>
                </c:pt>
                <c:pt idx="546">
                  <c:v>35856</c:v>
                </c:pt>
                <c:pt idx="547">
                  <c:v>35857</c:v>
                </c:pt>
                <c:pt idx="548">
                  <c:v>35858</c:v>
                </c:pt>
                <c:pt idx="549">
                  <c:v>35859</c:v>
                </c:pt>
                <c:pt idx="550">
                  <c:v>35860</c:v>
                </c:pt>
                <c:pt idx="551">
                  <c:v>35863</c:v>
                </c:pt>
                <c:pt idx="552">
                  <c:v>35864</c:v>
                </c:pt>
                <c:pt idx="553">
                  <c:v>35865</c:v>
                </c:pt>
                <c:pt idx="554">
                  <c:v>35866</c:v>
                </c:pt>
                <c:pt idx="555">
                  <c:v>35867</c:v>
                </c:pt>
                <c:pt idx="556">
                  <c:v>35870</c:v>
                </c:pt>
                <c:pt idx="557">
                  <c:v>35871</c:v>
                </c:pt>
                <c:pt idx="558">
                  <c:v>35872</c:v>
                </c:pt>
                <c:pt idx="559">
                  <c:v>35873</c:v>
                </c:pt>
                <c:pt idx="560">
                  <c:v>35874</c:v>
                </c:pt>
                <c:pt idx="561">
                  <c:v>35877</c:v>
                </c:pt>
                <c:pt idx="562">
                  <c:v>35878</c:v>
                </c:pt>
                <c:pt idx="563">
                  <c:v>35879</c:v>
                </c:pt>
                <c:pt idx="564">
                  <c:v>35880</c:v>
                </c:pt>
                <c:pt idx="565">
                  <c:v>35881</c:v>
                </c:pt>
                <c:pt idx="566">
                  <c:v>35884</c:v>
                </c:pt>
                <c:pt idx="567">
                  <c:v>35885</c:v>
                </c:pt>
                <c:pt idx="568">
                  <c:v>35886</c:v>
                </c:pt>
                <c:pt idx="569">
                  <c:v>35887</c:v>
                </c:pt>
                <c:pt idx="570">
                  <c:v>35888</c:v>
                </c:pt>
                <c:pt idx="571">
                  <c:v>35891</c:v>
                </c:pt>
                <c:pt idx="572">
                  <c:v>35892</c:v>
                </c:pt>
                <c:pt idx="573">
                  <c:v>35893</c:v>
                </c:pt>
                <c:pt idx="574">
                  <c:v>35894</c:v>
                </c:pt>
                <c:pt idx="575">
                  <c:v>35898</c:v>
                </c:pt>
                <c:pt idx="576">
                  <c:v>35899</c:v>
                </c:pt>
                <c:pt idx="577">
                  <c:v>35900</c:v>
                </c:pt>
                <c:pt idx="578">
                  <c:v>35901</c:v>
                </c:pt>
                <c:pt idx="579">
                  <c:v>35902</c:v>
                </c:pt>
                <c:pt idx="580">
                  <c:v>35905</c:v>
                </c:pt>
                <c:pt idx="581">
                  <c:v>35906</c:v>
                </c:pt>
                <c:pt idx="582">
                  <c:v>35907</c:v>
                </c:pt>
                <c:pt idx="583">
                  <c:v>35908</c:v>
                </c:pt>
                <c:pt idx="584">
                  <c:v>35909</c:v>
                </c:pt>
                <c:pt idx="585">
                  <c:v>35912</c:v>
                </c:pt>
                <c:pt idx="586">
                  <c:v>35913</c:v>
                </c:pt>
                <c:pt idx="587">
                  <c:v>35914</c:v>
                </c:pt>
                <c:pt idx="588">
                  <c:v>35915</c:v>
                </c:pt>
                <c:pt idx="589">
                  <c:v>35916</c:v>
                </c:pt>
                <c:pt idx="590">
                  <c:v>35919</c:v>
                </c:pt>
                <c:pt idx="591">
                  <c:v>35920</c:v>
                </c:pt>
                <c:pt idx="592">
                  <c:v>35921</c:v>
                </c:pt>
                <c:pt idx="593">
                  <c:v>35922</c:v>
                </c:pt>
                <c:pt idx="594">
                  <c:v>35923</c:v>
                </c:pt>
                <c:pt idx="595">
                  <c:v>35926</c:v>
                </c:pt>
                <c:pt idx="596">
                  <c:v>35927</c:v>
                </c:pt>
                <c:pt idx="597">
                  <c:v>35928</c:v>
                </c:pt>
                <c:pt idx="598">
                  <c:v>35929</c:v>
                </c:pt>
                <c:pt idx="599">
                  <c:v>35930</c:v>
                </c:pt>
                <c:pt idx="600">
                  <c:v>35933</c:v>
                </c:pt>
                <c:pt idx="601">
                  <c:v>35934</c:v>
                </c:pt>
                <c:pt idx="602">
                  <c:v>35935</c:v>
                </c:pt>
                <c:pt idx="603">
                  <c:v>35936</c:v>
                </c:pt>
                <c:pt idx="604">
                  <c:v>35937</c:v>
                </c:pt>
                <c:pt idx="605">
                  <c:v>35941</c:v>
                </c:pt>
                <c:pt idx="606">
                  <c:v>35942</c:v>
                </c:pt>
                <c:pt idx="607">
                  <c:v>35943</c:v>
                </c:pt>
                <c:pt idx="608">
                  <c:v>35944</c:v>
                </c:pt>
                <c:pt idx="609">
                  <c:v>35947</c:v>
                </c:pt>
                <c:pt idx="610">
                  <c:v>35948</c:v>
                </c:pt>
                <c:pt idx="611">
                  <c:v>35949</c:v>
                </c:pt>
                <c:pt idx="612">
                  <c:v>35950</c:v>
                </c:pt>
                <c:pt idx="613">
                  <c:v>35951</c:v>
                </c:pt>
                <c:pt idx="614">
                  <c:v>35954</c:v>
                </c:pt>
                <c:pt idx="615">
                  <c:v>35955</c:v>
                </c:pt>
                <c:pt idx="616">
                  <c:v>35956</c:v>
                </c:pt>
                <c:pt idx="617">
                  <c:v>35957</c:v>
                </c:pt>
                <c:pt idx="618">
                  <c:v>35958</c:v>
                </c:pt>
                <c:pt idx="619">
                  <c:v>35961</c:v>
                </c:pt>
                <c:pt idx="620">
                  <c:v>35962</c:v>
                </c:pt>
                <c:pt idx="621">
                  <c:v>35963</c:v>
                </c:pt>
                <c:pt idx="622">
                  <c:v>35964</c:v>
                </c:pt>
                <c:pt idx="623">
                  <c:v>35965</c:v>
                </c:pt>
                <c:pt idx="624">
                  <c:v>35968</c:v>
                </c:pt>
                <c:pt idx="625">
                  <c:v>35969</c:v>
                </c:pt>
                <c:pt idx="626">
                  <c:v>35970</c:v>
                </c:pt>
                <c:pt idx="627">
                  <c:v>35971</c:v>
                </c:pt>
                <c:pt idx="628">
                  <c:v>35972</c:v>
                </c:pt>
                <c:pt idx="629">
                  <c:v>35975</c:v>
                </c:pt>
                <c:pt idx="630">
                  <c:v>35976</c:v>
                </c:pt>
                <c:pt idx="631">
                  <c:v>35977</c:v>
                </c:pt>
                <c:pt idx="632">
                  <c:v>35978</c:v>
                </c:pt>
                <c:pt idx="633">
                  <c:v>35982</c:v>
                </c:pt>
                <c:pt idx="634">
                  <c:v>35983</c:v>
                </c:pt>
                <c:pt idx="635">
                  <c:v>35984</c:v>
                </c:pt>
                <c:pt idx="636">
                  <c:v>35985</c:v>
                </c:pt>
                <c:pt idx="637">
                  <c:v>35986</c:v>
                </c:pt>
                <c:pt idx="638">
                  <c:v>35989</c:v>
                </c:pt>
                <c:pt idx="639">
                  <c:v>35990</c:v>
                </c:pt>
                <c:pt idx="640">
                  <c:v>35991</c:v>
                </c:pt>
                <c:pt idx="641">
                  <c:v>35992</c:v>
                </c:pt>
                <c:pt idx="642">
                  <c:v>35993</c:v>
                </c:pt>
                <c:pt idx="643">
                  <c:v>35996</c:v>
                </c:pt>
                <c:pt idx="644">
                  <c:v>35997</c:v>
                </c:pt>
                <c:pt idx="645">
                  <c:v>35998</c:v>
                </c:pt>
                <c:pt idx="646">
                  <c:v>35999</c:v>
                </c:pt>
                <c:pt idx="647">
                  <c:v>36000</c:v>
                </c:pt>
                <c:pt idx="648">
                  <c:v>36003</c:v>
                </c:pt>
                <c:pt idx="649">
                  <c:v>36004</c:v>
                </c:pt>
                <c:pt idx="650">
                  <c:v>36005</c:v>
                </c:pt>
                <c:pt idx="651">
                  <c:v>36006</c:v>
                </c:pt>
                <c:pt idx="652">
                  <c:v>36007</c:v>
                </c:pt>
                <c:pt idx="653">
                  <c:v>36010</c:v>
                </c:pt>
                <c:pt idx="654">
                  <c:v>36011</c:v>
                </c:pt>
                <c:pt idx="655">
                  <c:v>36012</c:v>
                </c:pt>
                <c:pt idx="656">
                  <c:v>36013</c:v>
                </c:pt>
                <c:pt idx="657">
                  <c:v>36014</c:v>
                </c:pt>
                <c:pt idx="658">
                  <c:v>36017</c:v>
                </c:pt>
                <c:pt idx="659">
                  <c:v>36018</c:v>
                </c:pt>
                <c:pt idx="660">
                  <c:v>36019</c:v>
                </c:pt>
                <c:pt idx="661">
                  <c:v>36020</c:v>
                </c:pt>
                <c:pt idx="662">
                  <c:v>36021</c:v>
                </c:pt>
                <c:pt idx="663">
                  <c:v>36024</c:v>
                </c:pt>
                <c:pt idx="664">
                  <c:v>36025</c:v>
                </c:pt>
                <c:pt idx="665">
                  <c:v>36026</c:v>
                </c:pt>
                <c:pt idx="666">
                  <c:v>36027</c:v>
                </c:pt>
                <c:pt idx="667">
                  <c:v>36028</c:v>
                </c:pt>
                <c:pt idx="668">
                  <c:v>36031</c:v>
                </c:pt>
                <c:pt idx="669">
                  <c:v>36032</c:v>
                </c:pt>
                <c:pt idx="670">
                  <c:v>36033</c:v>
                </c:pt>
                <c:pt idx="671">
                  <c:v>36034</c:v>
                </c:pt>
                <c:pt idx="672">
                  <c:v>36035</c:v>
                </c:pt>
                <c:pt idx="673">
                  <c:v>36038</c:v>
                </c:pt>
                <c:pt idx="674">
                  <c:v>36039</c:v>
                </c:pt>
                <c:pt idx="675">
                  <c:v>36040</c:v>
                </c:pt>
                <c:pt idx="676">
                  <c:v>36041</c:v>
                </c:pt>
                <c:pt idx="677">
                  <c:v>36042</c:v>
                </c:pt>
                <c:pt idx="678">
                  <c:v>36046</c:v>
                </c:pt>
                <c:pt idx="679">
                  <c:v>36047</c:v>
                </c:pt>
                <c:pt idx="680">
                  <c:v>36048</c:v>
                </c:pt>
                <c:pt idx="681">
                  <c:v>36049</c:v>
                </c:pt>
                <c:pt idx="682">
                  <c:v>36052</c:v>
                </c:pt>
                <c:pt idx="683">
                  <c:v>36053</c:v>
                </c:pt>
                <c:pt idx="684">
                  <c:v>36054</c:v>
                </c:pt>
                <c:pt idx="685">
                  <c:v>36055</c:v>
                </c:pt>
                <c:pt idx="686">
                  <c:v>36056</c:v>
                </c:pt>
                <c:pt idx="687">
                  <c:v>36059</c:v>
                </c:pt>
                <c:pt idx="688">
                  <c:v>36060</c:v>
                </c:pt>
                <c:pt idx="689">
                  <c:v>36061</c:v>
                </c:pt>
                <c:pt idx="690">
                  <c:v>36062</c:v>
                </c:pt>
                <c:pt idx="691">
                  <c:v>36063</c:v>
                </c:pt>
                <c:pt idx="692">
                  <c:v>36066</c:v>
                </c:pt>
                <c:pt idx="693">
                  <c:v>36067</c:v>
                </c:pt>
                <c:pt idx="694">
                  <c:v>36068</c:v>
                </c:pt>
                <c:pt idx="695">
                  <c:v>36069</c:v>
                </c:pt>
                <c:pt idx="696">
                  <c:v>36070</c:v>
                </c:pt>
                <c:pt idx="697">
                  <c:v>36073</c:v>
                </c:pt>
                <c:pt idx="698">
                  <c:v>36074</c:v>
                </c:pt>
                <c:pt idx="699">
                  <c:v>36075</c:v>
                </c:pt>
                <c:pt idx="700">
                  <c:v>36076</c:v>
                </c:pt>
                <c:pt idx="701">
                  <c:v>36077</c:v>
                </c:pt>
                <c:pt idx="702">
                  <c:v>36080</c:v>
                </c:pt>
                <c:pt idx="703">
                  <c:v>36081</c:v>
                </c:pt>
                <c:pt idx="704">
                  <c:v>36082</c:v>
                </c:pt>
                <c:pt idx="705">
                  <c:v>36083</c:v>
                </c:pt>
                <c:pt idx="706">
                  <c:v>36084</c:v>
                </c:pt>
                <c:pt idx="707">
                  <c:v>36087</c:v>
                </c:pt>
                <c:pt idx="708">
                  <c:v>36088</c:v>
                </c:pt>
                <c:pt idx="709">
                  <c:v>36089</c:v>
                </c:pt>
                <c:pt idx="710">
                  <c:v>36090</c:v>
                </c:pt>
                <c:pt idx="711">
                  <c:v>36091</c:v>
                </c:pt>
                <c:pt idx="712">
                  <c:v>36094</c:v>
                </c:pt>
                <c:pt idx="713">
                  <c:v>36095</c:v>
                </c:pt>
                <c:pt idx="714">
                  <c:v>36096</c:v>
                </c:pt>
                <c:pt idx="715">
                  <c:v>36097</c:v>
                </c:pt>
                <c:pt idx="716">
                  <c:v>36098</c:v>
                </c:pt>
                <c:pt idx="717">
                  <c:v>36101</c:v>
                </c:pt>
                <c:pt idx="718">
                  <c:v>36102</c:v>
                </c:pt>
                <c:pt idx="719">
                  <c:v>36103</c:v>
                </c:pt>
                <c:pt idx="720">
                  <c:v>36104</c:v>
                </c:pt>
                <c:pt idx="721">
                  <c:v>36105</c:v>
                </c:pt>
                <c:pt idx="722">
                  <c:v>36108</c:v>
                </c:pt>
                <c:pt idx="723">
                  <c:v>36109</c:v>
                </c:pt>
                <c:pt idx="724">
                  <c:v>36110</c:v>
                </c:pt>
                <c:pt idx="725">
                  <c:v>36111</c:v>
                </c:pt>
                <c:pt idx="726">
                  <c:v>36112</c:v>
                </c:pt>
                <c:pt idx="727">
                  <c:v>36115</c:v>
                </c:pt>
                <c:pt idx="728">
                  <c:v>36116</c:v>
                </c:pt>
                <c:pt idx="729">
                  <c:v>36117</c:v>
                </c:pt>
                <c:pt idx="730">
                  <c:v>36118</c:v>
                </c:pt>
                <c:pt idx="731">
                  <c:v>36119</c:v>
                </c:pt>
                <c:pt idx="732">
                  <c:v>36122</c:v>
                </c:pt>
                <c:pt idx="733">
                  <c:v>36123</c:v>
                </c:pt>
                <c:pt idx="734">
                  <c:v>36124</c:v>
                </c:pt>
                <c:pt idx="735">
                  <c:v>36126</c:v>
                </c:pt>
                <c:pt idx="736">
                  <c:v>36129</c:v>
                </c:pt>
                <c:pt idx="737">
                  <c:v>36130</c:v>
                </c:pt>
                <c:pt idx="738">
                  <c:v>36131</c:v>
                </c:pt>
                <c:pt idx="739">
                  <c:v>36132</c:v>
                </c:pt>
                <c:pt idx="740">
                  <c:v>36133</c:v>
                </c:pt>
                <c:pt idx="741">
                  <c:v>36136</c:v>
                </c:pt>
                <c:pt idx="742">
                  <c:v>36137</c:v>
                </c:pt>
                <c:pt idx="743">
                  <c:v>36138</c:v>
                </c:pt>
                <c:pt idx="744">
                  <c:v>36139</c:v>
                </c:pt>
                <c:pt idx="745">
                  <c:v>36140</c:v>
                </c:pt>
                <c:pt idx="746">
                  <c:v>36143</c:v>
                </c:pt>
                <c:pt idx="747">
                  <c:v>36144</c:v>
                </c:pt>
                <c:pt idx="748">
                  <c:v>36145</c:v>
                </c:pt>
                <c:pt idx="749">
                  <c:v>36146</c:v>
                </c:pt>
                <c:pt idx="750">
                  <c:v>36147</c:v>
                </c:pt>
                <c:pt idx="751">
                  <c:v>36150</c:v>
                </c:pt>
                <c:pt idx="752">
                  <c:v>36151</c:v>
                </c:pt>
                <c:pt idx="753">
                  <c:v>36152</c:v>
                </c:pt>
                <c:pt idx="754">
                  <c:v>36153</c:v>
                </c:pt>
                <c:pt idx="755">
                  <c:v>36157</c:v>
                </c:pt>
                <c:pt idx="756">
                  <c:v>36158</c:v>
                </c:pt>
                <c:pt idx="757">
                  <c:v>36159</c:v>
                </c:pt>
                <c:pt idx="758">
                  <c:v>36160</c:v>
                </c:pt>
                <c:pt idx="759">
                  <c:v>36164</c:v>
                </c:pt>
                <c:pt idx="760">
                  <c:v>36165</c:v>
                </c:pt>
                <c:pt idx="761">
                  <c:v>36166</c:v>
                </c:pt>
                <c:pt idx="762">
                  <c:v>36167</c:v>
                </c:pt>
                <c:pt idx="763">
                  <c:v>36168</c:v>
                </c:pt>
                <c:pt idx="764">
                  <c:v>36171</c:v>
                </c:pt>
                <c:pt idx="765">
                  <c:v>36172</c:v>
                </c:pt>
                <c:pt idx="766">
                  <c:v>36173</c:v>
                </c:pt>
                <c:pt idx="767">
                  <c:v>36174</c:v>
                </c:pt>
                <c:pt idx="768">
                  <c:v>36175</c:v>
                </c:pt>
                <c:pt idx="769">
                  <c:v>36179</c:v>
                </c:pt>
                <c:pt idx="770">
                  <c:v>36180</c:v>
                </c:pt>
                <c:pt idx="771">
                  <c:v>36181</c:v>
                </c:pt>
                <c:pt idx="772">
                  <c:v>36182</c:v>
                </c:pt>
                <c:pt idx="773">
                  <c:v>36185</c:v>
                </c:pt>
                <c:pt idx="774">
                  <c:v>36186</c:v>
                </c:pt>
                <c:pt idx="775">
                  <c:v>36187</c:v>
                </c:pt>
                <c:pt idx="776">
                  <c:v>36188</c:v>
                </c:pt>
                <c:pt idx="777">
                  <c:v>36189</c:v>
                </c:pt>
                <c:pt idx="778">
                  <c:v>36192</c:v>
                </c:pt>
                <c:pt idx="779">
                  <c:v>36193</c:v>
                </c:pt>
                <c:pt idx="780">
                  <c:v>36194</c:v>
                </c:pt>
                <c:pt idx="781">
                  <c:v>36195</c:v>
                </c:pt>
                <c:pt idx="782">
                  <c:v>36196</c:v>
                </c:pt>
                <c:pt idx="783">
                  <c:v>36199</c:v>
                </c:pt>
                <c:pt idx="784">
                  <c:v>36200</c:v>
                </c:pt>
                <c:pt idx="785">
                  <c:v>36201</c:v>
                </c:pt>
                <c:pt idx="786">
                  <c:v>36202</c:v>
                </c:pt>
                <c:pt idx="787">
                  <c:v>36203</c:v>
                </c:pt>
                <c:pt idx="788">
                  <c:v>36207</c:v>
                </c:pt>
                <c:pt idx="789">
                  <c:v>36208</c:v>
                </c:pt>
                <c:pt idx="790">
                  <c:v>36209</c:v>
                </c:pt>
                <c:pt idx="791">
                  <c:v>36210</c:v>
                </c:pt>
                <c:pt idx="792">
                  <c:v>36213</c:v>
                </c:pt>
                <c:pt idx="793">
                  <c:v>36214</c:v>
                </c:pt>
                <c:pt idx="794">
                  <c:v>36215</c:v>
                </c:pt>
                <c:pt idx="795">
                  <c:v>36216</c:v>
                </c:pt>
                <c:pt idx="796">
                  <c:v>36217</c:v>
                </c:pt>
                <c:pt idx="797">
                  <c:v>36220</c:v>
                </c:pt>
                <c:pt idx="798">
                  <c:v>36221</c:v>
                </c:pt>
                <c:pt idx="799">
                  <c:v>36222</c:v>
                </c:pt>
                <c:pt idx="800">
                  <c:v>36223</c:v>
                </c:pt>
                <c:pt idx="801">
                  <c:v>36224</c:v>
                </c:pt>
                <c:pt idx="802">
                  <c:v>36227</c:v>
                </c:pt>
                <c:pt idx="803">
                  <c:v>36228</c:v>
                </c:pt>
                <c:pt idx="804">
                  <c:v>36229</c:v>
                </c:pt>
                <c:pt idx="805">
                  <c:v>36230</c:v>
                </c:pt>
                <c:pt idx="806">
                  <c:v>36231</c:v>
                </c:pt>
                <c:pt idx="807">
                  <c:v>36234</c:v>
                </c:pt>
                <c:pt idx="808">
                  <c:v>36235</c:v>
                </c:pt>
                <c:pt idx="809">
                  <c:v>36236</c:v>
                </c:pt>
                <c:pt idx="810">
                  <c:v>36237</c:v>
                </c:pt>
                <c:pt idx="811">
                  <c:v>36238</c:v>
                </c:pt>
                <c:pt idx="812">
                  <c:v>36241</c:v>
                </c:pt>
                <c:pt idx="813">
                  <c:v>36242</c:v>
                </c:pt>
                <c:pt idx="814">
                  <c:v>36243</c:v>
                </c:pt>
                <c:pt idx="815">
                  <c:v>36244</c:v>
                </c:pt>
                <c:pt idx="816">
                  <c:v>36245</c:v>
                </c:pt>
                <c:pt idx="817">
                  <c:v>36248</c:v>
                </c:pt>
                <c:pt idx="818">
                  <c:v>36249</c:v>
                </c:pt>
                <c:pt idx="819">
                  <c:v>36250</c:v>
                </c:pt>
                <c:pt idx="820">
                  <c:v>36251</c:v>
                </c:pt>
                <c:pt idx="821">
                  <c:v>36255</c:v>
                </c:pt>
                <c:pt idx="822">
                  <c:v>36256</c:v>
                </c:pt>
                <c:pt idx="823">
                  <c:v>36257</c:v>
                </c:pt>
                <c:pt idx="824">
                  <c:v>36258</c:v>
                </c:pt>
                <c:pt idx="825">
                  <c:v>36259</c:v>
                </c:pt>
                <c:pt idx="826">
                  <c:v>36262</c:v>
                </c:pt>
                <c:pt idx="827">
                  <c:v>36263</c:v>
                </c:pt>
                <c:pt idx="828">
                  <c:v>36264</c:v>
                </c:pt>
                <c:pt idx="829">
                  <c:v>36265</c:v>
                </c:pt>
                <c:pt idx="830">
                  <c:v>36266</c:v>
                </c:pt>
                <c:pt idx="831">
                  <c:v>36269</c:v>
                </c:pt>
                <c:pt idx="832">
                  <c:v>36270</c:v>
                </c:pt>
                <c:pt idx="833">
                  <c:v>36271</c:v>
                </c:pt>
                <c:pt idx="834">
                  <c:v>36272</c:v>
                </c:pt>
                <c:pt idx="835">
                  <c:v>36273</c:v>
                </c:pt>
                <c:pt idx="836">
                  <c:v>36276</c:v>
                </c:pt>
                <c:pt idx="837">
                  <c:v>36277</c:v>
                </c:pt>
                <c:pt idx="838">
                  <c:v>36278</c:v>
                </c:pt>
                <c:pt idx="839">
                  <c:v>36279</c:v>
                </c:pt>
                <c:pt idx="840">
                  <c:v>36280</c:v>
                </c:pt>
                <c:pt idx="841">
                  <c:v>36283</c:v>
                </c:pt>
                <c:pt idx="842">
                  <c:v>36284</c:v>
                </c:pt>
                <c:pt idx="843">
                  <c:v>36285</c:v>
                </c:pt>
                <c:pt idx="844">
                  <c:v>36286</c:v>
                </c:pt>
                <c:pt idx="845">
                  <c:v>36287</c:v>
                </c:pt>
                <c:pt idx="846">
                  <c:v>36290</c:v>
                </c:pt>
                <c:pt idx="847">
                  <c:v>36291</c:v>
                </c:pt>
                <c:pt idx="848">
                  <c:v>36292</c:v>
                </c:pt>
                <c:pt idx="849">
                  <c:v>36293</c:v>
                </c:pt>
                <c:pt idx="850">
                  <c:v>36294</c:v>
                </c:pt>
                <c:pt idx="851">
                  <c:v>36297</c:v>
                </c:pt>
                <c:pt idx="852">
                  <c:v>36298</c:v>
                </c:pt>
                <c:pt idx="853">
                  <c:v>36299</c:v>
                </c:pt>
                <c:pt idx="854">
                  <c:v>36300</c:v>
                </c:pt>
                <c:pt idx="855">
                  <c:v>36301</c:v>
                </c:pt>
                <c:pt idx="856">
                  <c:v>36304</c:v>
                </c:pt>
                <c:pt idx="857">
                  <c:v>36305</c:v>
                </c:pt>
                <c:pt idx="858">
                  <c:v>36306</c:v>
                </c:pt>
                <c:pt idx="859">
                  <c:v>36307</c:v>
                </c:pt>
                <c:pt idx="860">
                  <c:v>36308</c:v>
                </c:pt>
                <c:pt idx="861">
                  <c:v>36312</c:v>
                </c:pt>
                <c:pt idx="862">
                  <c:v>36313</c:v>
                </c:pt>
                <c:pt idx="863">
                  <c:v>36314</c:v>
                </c:pt>
                <c:pt idx="864">
                  <c:v>36315</c:v>
                </c:pt>
                <c:pt idx="865">
                  <c:v>36318</c:v>
                </c:pt>
                <c:pt idx="866">
                  <c:v>36319</c:v>
                </c:pt>
                <c:pt idx="867">
                  <c:v>36320</c:v>
                </c:pt>
                <c:pt idx="868">
                  <c:v>36321</c:v>
                </c:pt>
                <c:pt idx="869">
                  <c:v>36322</c:v>
                </c:pt>
                <c:pt idx="870">
                  <c:v>36325</c:v>
                </c:pt>
                <c:pt idx="871">
                  <c:v>36326</c:v>
                </c:pt>
                <c:pt idx="872">
                  <c:v>36327</c:v>
                </c:pt>
                <c:pt idx="873">
                  <c:v>36328</c:v>
                </c:pt>
                <c:pt idx="874">
                  <c:v>36329</c:v>
                </c:pt>
                <c:pt idx="875">
                  <c:v>36332</c:v>
                </c:pt>
                <c:pt idx="876">
                  <c:v>36333</c:v>
                </c:pt>
                <c:pt idx="877">
                  <c:v>36334</c:v>
                </c:pt>
                <c:pt idx="878">
                  <c:v>36335</c:v>
                </c:pt>
                <c:pt idx="879">
                  <c:v>36336</c:v>
                </c:pt>
                <c:pt idx="880">
                  <c:v>36339</c:v>
                </c:pt>
                <c:pt idx="881">
                  <c:v>36340</c:v>
                </c:pt>
                <c:pt idx="882">
                  <c:v>36341</c:v>
                </c:pt>
                <c:pt idx="883">
                  <c:v>36342</c:v>
                </c:pt>
                <c:pt idx="884">
                  <c:v>36343</c:v>
                </c:pt>
                <c:pt idx="885">
                  <c:v>36347</c:v>
                </c:pt>
                <c:pt idx="886">
                  <c:v>36348</c:v>
                </c:pt>
                <c:pt idx="887">
                  <c:v>36349</c:v>
                </c:pt>
                <c:pt idx="888">
                  <c:v>36350</c:v>
                </c:pt>
                <c:pt idx="889">
                  <c:v>36353</c:v>
                </c:pt>
                <c:pt idx="890">
                  <c:v>36354</c:v>
                </c:pt>
                <c:pt idx="891">
                  <c:v>36355</c:v>
                </c:pt>
                <c:pt idx="892">
                  <c:v>36356</c:v>
                </c:pt>
                <c:pt idx="893">
                  <c:v>36357</c:v>
                </c:pt>
                <c:pt idx="894">
                  <c:v>36360</c:v>
                </c:pt>
                <c:pt idx="895">
                  <c:v>36361</c:v>
                </c:pt>
                <c:pt idx="896">
                  <c:v>36362</c:v>
                </c:pt>
                <c:pt idx="897">
                  <c:v>36363</c:v>
                </c:pt>
                <c:pt idx="898">
                  <c:v>36364</c:v>
                </c:pt>
                <c:pt idx="899">
                  <c:v>36367</c:v>
                </c:pt>
                <c:pt idx="900">
                  <c:v>36368</c:v>
                </c:pt>
                <c:pt idx="901">
                  <c:v>36369</c:v>
                </c:pt>
                <c:pt idx="902">
                  <c:v>36370</c:v>
                </c:pt>
                <c:pt idx="903">
                  <c:v>36371</c:v>
                </c:pt>
                <c:pt idx="904">
                  <c:v>36374</c:v>
                </c:pt>
                <c:pt idx="905">
                  <c:v>36375</c:v>
                </c:pt>
                <c:pt idx="906">
                  <c:v>36376</c:v>
                </c:pt>
                <c:pt idx="907">
                  <c:v>36377</c:v>
                </c:pt>
                <c:pt idx="908">
                  <c:v>36378</c:v>
                </c:pt>
                <c:pt idx="909">
                  <c:v>36381</c:v>
                </c:pt>
                <c:pt idx="910">
                  <c:v>36382</c:v>
                </c:pt>
                <c:pt idx="911">
                  <c:v>36383</c:v>
                </c:pt>
                <c:pt idx="912">
                  <c:v>36384</c:v>
                </c:pt>
                <c:pt idx="913">
                  <c:v>36385</c:v>
                </c:pt>
                <c:pt idx="914">
                  <c:v>36388</c:v>
                </c:pt>
                <c:pt idx="915">
                  <c:v>36389</c:v>
                </c:pt>
                <c:pt idx="916">
                  <c:v>36390</c:v>
                </c:pt>
                <c:pt idx="917">
                  <c:v>36391</c:v>
                </c:pt>
                <c:pt idx="918">
                  <c:v>36392</c:v>
                </c:pt>
                <c:pt idx="919">
                  <c:v>36395</c:v>
                </c:pt>
                <c:pt idx="920">
                  <c:v>36396</c:v>
                </c:pt>
                <c:pt idx="921">
                  <c:v>36397</c:v>
                </c:pt>
                <c:pt idx="922">
                  <c:v>36398</c:v>
                </c:pt>
                <c:pt idx="923">
                  <c:v>36399</c:v>
                </c:pt>
                <c:pt idx="924">
                  <c:v>36402</c:v>
                </c:pt>
                <c:pt idx="925">
                  <c:v>36403</c:v>
                </c:pt>
                <c:pt idx="926">
                  <c:v>36404</c:v>
                </c:pt>
                <c:pt idx="927">
                  <c:v>36405</c:v>
                </c:pt>
                <c:pt idx="928">
                  <c:v>36406</c:v>
                </c:pt>
                <c:pt idx="929">
                  <c:v>36410</c:v>
                </c:pt>
                <c:pt idx="930">
                  <c:v>36411</c:v>
                </c:pt>
                <c:pt idx="931">
                  <c:v>36412</c:v>
                </c:pt>
                <c:pt idx="932">
                  <c:v>36413</c:v>
                </c:pt>
                <c:pt idx="933">
                  <c:v>36416</c:v>
                </c:pt>
                <c:pt idx="934">
                  <c:v>36417</c:v>
                </c:pt>
                <c:pt idx="935">
                  <c:v>36418</c:v>
                </c:pt>
                <c:pt idx="936">
                  <c:v>36419</c:v>
                </c:pt>
                <c:pt idx="937">
                  <c:v>36420</c:v>
                </c:pt>
                <c:pt idx="938">
                  <c:v>36423</c:v>
                </c:pt>
                <c:pt idx="939">
                  <c:v>36424</c:v>
                </c:pt>
                <c:pt idx="940">
                  <c:v>36425</c:v>
                </c:pt>
                <c:pt idx="941">
                  <c:v>36426</c:v>
                </c:pt>
                <c:pt idx="942">
                  <c:v>36427</c:v>
                </c:pt>
                <c:pt idx="943">
                  <c:v>36430</c:v>
                </c:pt>
                <c:pt idx="944">
                  <c:v>36431</c:v>
                </c:pt>
                <c:pt idx="945">
                  <c:v>36432</c:v>
                </c:pt>
                <c:pt idx="946">
                  <c:v>36433</c:v>
                </c:pt>
                <c:pt idx="947">
                  <c:v>36434</c:v>
                </c:pt>
                <c:pt idx="948">
                  <c:v>36437</c:v>
                </c:pt>
                <c:pt idx="949">
                  <c:v>36438</c:v>
                </c:pt>
                <c:pt idx="950">
                  <c:v>36439</c:v>
                </c:pt>
                <c:pt idx="951">
                  <c:v>36440</c:v>
                </c:pt>
                <c:pt idx="952">
                  <c:v>36441</c:v>
                </c:pt>
                <c:pt idx="953">
                  <c:v>36444</c:v>
                </c:pt>
                <c:pt idx="954">
                  <c:v>36445</c:v>
                </c:pt>
                <c:pt idx="955">
                  <c:v>36446</c:v>
                </c:pt>
                <c:pt idx="956">
                  <c:v>36447</c:v>
                </c:pt>
                <c:pt idx="957">
                  <c:v>36448</c:v>
                </c:pt>
                <c:pt idx="958">
                  <c:v>36451</c:v>
                </c:pt>
                <c:pt idx="959">
                  <c:v>36452</c:v>
                </c:pt>
                <c:pt idx="960">
                  <c:v>36453</c:v>
                </c:pt>
                <c:pt idx="961">
                  <c:v>36454</c:v>
                </c:pt>
                <c:pt idx="962">
                  <c:v>36455</c:v>
                </c:pt>
                <c:pt idx="963">
                  <c:v>36458</c:v>
                </c:pt>
                <c:pt idx="964">
                  <c:v>36459</c:v>
                </c:pt>
                <c:pt idx="965">
                  <c:v>36460</c:v>
                </c:pt>
                <c:pt idx="966">
                  <c:v>36461</c:v>
                </c:pt>
                <c:pt idx="967">
                  <c:v>36462</c:v>
                </c:pt>
                <c:pt idx="968">
                  <c:v>36465</c:v>
                </c:pt>
                <c:pt idx="969">
                  <c:v>36466</c:v>
                </c:pt>
                <c:pt idx="970">
                  <c:v>36467</c:v>
                </c:pt>
                <c:pt idx="971">
                  <c:v>36468</c:v>
                </c:pt>
                <c:pt idx="972">
                  <c:v>36469</c:v>
                </c:pt>
                <c:pt idx="973">
                  <c:v>36472</c:v>
                </c:pt>
                <c:pt idx="974">
                  <c:v>36473</c:v>
                </c:pt>
                <c:pt idx="975">
                  <c:v>36474</c:v>
                </c:pt>
                <c:pt idx="976">
                  <c:v>36475</c:v>
                </c:pt>
                <c:pt idx="977">
                  <c:v>36476</c:v>
                </c:pt>
                <c:pt idx="978">
                  <c:v>36479</c:v>
                </c:pt>
                <c:pt idx="979">
                  <c:v>36480</c:v>
                </c:pt>
                <c:pt idx="980">
                  <c:v>36481</c:v>
                </c:pt>
                <c:pt idx="981">
                  <c:v>36482</c:v>
                </c:pt>
                <c:pt idx="982">
                  <c:v>36483</c:v>
                </c:pt>
                <c:pt idx="983">
                  <c:v>36486</c:v>
                </c:pt>
                <c:pt idx="984">
                  <c:v>36487</c:v>
                </c:pt>
                <c:pt idx="985">
                  <c:v>36488</c:v>
                </c:pt>
                <c:pt idx="986">
                  <c:v>36490</c:v>
                </c:pt>
                <c:pt idx="987">
                  <c:v>36493</c:v>
                </c:pt>
                <c:pt idx="988">
                  <c:v>36494</c:v>
                </c:pt>
                <c:pt idx="989">
                  <c:v>36495</c:v>
                </c:pt>
                <c:pt idx="990">
                  <c:v>36496</c:v>
                </c:pt>
                <c:pt idx="991">
                  <c:v>36497</c:v>
                </c:pt>
                <c:pt idx="992">
                  <c:v>36500</c:v>
                </c:pt>
                <c:pt idx="993">
                  <c:v>36501</c:v>
                </c:pt>
                <c:pt idx="994">
                  <c:v>36502</c:v>
                </c:pt>
                <c:pt idx="995">
                  <c:v>36503</c:v>
                </c:pt>
                <c:pt idx="996">
                  <c:v>36504</c:v>
                </c:pt>
                <c:pt idx="997">
                  <c:v>36507</c:v>
                </c:pt>
                <c:pt idx="998">
                  <c:v>36508</c:v>
                </c:pt>
                <c:pt idx="999">
                  <c:v>36509</c:v>
                </c:pt>
                <c:pt idx="1000">
                  <c:v>36510</c:v>
                </c:pt>
                <c:pt idx="1001">
                  <c:v>36511</c:v>
                </c:pt>
                <c:pt idx="1002">
                  <c:v>36514</c:v>
                </c:pt>
                <c:pt idx="1003">
                  <c:v>36515</c:v>
                </c:pt>
                <c:pt idx="1004">
                  <c:v>36516</c:v>
                </c:pt>
                <c:pt idx="1005">
                  <c:v>36517</c:v>
                </c:pt>
                <c:pt idx="1006">
                  <c:v>36521</c:v>
                </c:pt>
                <c:pt idx="1007">
                  <c:v>36522</c:v>
                </c:pt>
                <c:pt idx="1008">
                  <c:v>36523</c:v>
                </c:pt>
                <c:pt idx="1009">
                  <c:v>36524</c:v>
                </c:pt>
                <c:pt idx="1010">
                  <c:v>36525</c:v>
                </c:pt>
                <c:pt idx="1011">
                  <c:v>36528</c:v>
                </c:pt>
                <c:pt idx="1012">
                  <c:v>36529</c:v>
                </c:pt>
                <c:pt idx="1013">
                  <c:v>36530</c:v>
                </c:pt>
                <c:pt idx="1014">
                  <c:v>36531</c:v>
                </c:pt>
                <c:pt idx="1015">
                  <c:v>36532</c:v>
                </c:pt>
                <c:pt idx="1016">
                  <c:v>36535</c:v>
                </c:pt>
                <c:pt idx="1017">
                  <c:v>36536</c:v>
                </c:pt>
                <c:pt idx="1018">
                  <c:v>36537</c:v>
                </c:pt>
                <c:pt idx="1019">
                  <c:v>36538</c:v>
                </c:pt>
                <c:pt idx="1020">
                  <c:v>36539</c:v>
                </c:pt>
                <c:pt idx="1021">
                  <c:v>36543</c:v>
                </c:pt>
                <c:pt idx="1022">
                  <c:v>36544</c:v>
                </c:pt>
                <c:pt idx="1023">
                  <c:v>36545</c:v>
                </c:pt>
                <c:pt idx="1024">
                  <c:v>36546</c:v>
                </c:pt>
                <c:pt idx="1025">
                  <c:v>36549</c:v>
                </c:pt>
                <c:pt idx="1026">
                  <c:v>36550</c:v>
                </c:pt>
                <c:pt idx="1027">
                  <c:v>36551</c:v>
                </c:pt>
                <c:pt idx="1028">
                  <c:v>36552</c:v>
                </c:pt>
                <c:pt idx="1029">
                  <c:v>36553</c:v>
                </c:pt>
                <c:pt idx="1030">
                  <c:v>36556</c:v>
                </c:pt>
                <c:pt idx="1031">
                  <c:v>36557</c:v>
                </c:pt>
                <c:pt idx="1032">
                  <c:v>36558</c:v>
                </c:pt>
                <c:pt idx="1033">
                  <c:v>36559</c:v>
                </c:pt>
                <c:pt idx="1034">
                  <c:v>36560</c:v>
                </c:pt>
                <c:pt idx="1035">
                  <c:v>36563</c:v>
                </c:pt>
                <c:pt idx="1036">
                  <c:v>36564</c:v>
                </c:pt>
                <c:pt idx="1037">
                  <c:v>36565</c:v>
                </c:pt>
                <c:pt idx="1038">
                  <c:v>36566</c:v>
                </c:pt>
                <c:pt idx="1039">
                  <c:v>36567</c:v>
                </c:pt>
                <c:pt idx="1040">
                  <c:v>36570</c:v>
                </c:pt>
                <c:pt idx="1041">
                  <c:v>36571</c:v>
                </c:pt>
                <c:pt idx="1042">
                  <c:v>36572</c:v>
                </c:pt>
                <c:pt idx="1043">
                  <c:v>36573</c:v>
                </c:pt>
                <c:pt idx="1044">
                  <c:v>36574</c:v>
                </c:pt>
                <c:pt idx="1045">
                  <c:v>36578</c:v>
                </c:pt>
                <c:pt idx="1046">
                  <c:v>36579</c:v>
                </c:pt>
                <c:pt idx="1047">
                  <c:v>36580</c:v>
                </c:pt>
                <c:pt idx="1048">
                  <c:v>36581</c:v>
                </c:pt>
                <c:pt idx="1049">
                  <c:v>36584</c:v>
                </c:pt>
                <c:pt idx="1050">
                  <c:v>36585</c:v>
                </c:pt>
                <c:pt idx="1051">
                  <c:v>36586</c:v>
                </c:pt>
                <c:pt idx="1052">
                  <c:v>36587</c:v>
                </c:pt>
                <c:pt idx="1053">
                  <c:v>36588</c:v>
                </c:pt>
                <c:pt idx="1054">
                  <c:v>36591</c:v>
                </c:pt>
                <c:pt idx="1055">
                  <c:v>36592</c:v>
                </c:pt>
                <c:pt idx="1056">
                  <c:v>36593</c:v>
                </c:pt>
                <c:pt idx="1057">
                  <c:v>36594</c:v>
                </c:pt>
                <c:pt idx="1058">
                  <c:v>36595</c:v>
                </c:pt>
                <c:pt idx="1059">
                  <c:v>36598</c:v>
                </c:pt>
                <c:pt idx="1060">
                  <c:v>36599</c:v>
                </c:pt>
                <c:pt idx="1061">
                  <c:v>36600</c:v>
                </c:pt>
                <c:pt idx="1062">
                  <c:v>36601</c:v>
                </c:pt>
                <c:pt idx="1063">
                  <c:v>36602</c:v>
                </c:pt>
                <c:pt idx="1064">
                  <c:v>36605</c:v>
                </c:pt>
                <c:pt idx="1065">
                  <c:v>36606</c:v>
                </c:pt>
                <c:pt idx="1066">
                  <c:v>36607</c:v>
                </c:pt>
                <c:pt idx="1067">
                  <c:v>36608</c:v>
                </c:pt>
                <c:pt idx="1068">
                  <c:v>36609</c:v>
                </c:pt>
                <c:pt idx="1069">
                  <c:v>36612</c:v>
                </c:pt>
                <c:pt idx="1070">
                  <c:v>36613</c:v>
                </c:pt>
                <c:pt idx="1071">
                  <c:v>36614</c:v>
                </c:pt>
                <c:pt idx="1072">
                  <c:v>36615</c:v>
                </c:pt>
                <c:pt idx="1073">
                  <c:v>36616</c:v>
                </c:pt>
                <c:pt idx="1074">
                  <c:v>36619</c:v>
                </c:pt>
                <c:pt idx="1075">
                  <c:v>36620</c:v>
                </c:pt>
                <c:pt idx="1076">
                  <c:v>36621</c:v>
                </c:pt>
                <c:pt idx="1077">
                  <c:v>36622</c:v>
                </c:pt>
                <c:pt idx="1078">
                  <c:v>36623</c:v>
                </c:pt>
                <c:pt idx="1079">
                  <c:v>36626</c:v>
                </c:pt>
                <c:pt idx="1080">
                  <c:v>36627</c:v>
                </c:pt>
                <c:pt idx="1081">
                  <c:v>36628</c:v>
                </c:pt>
                <c:pt idx="1082">
                  <c:v>36629</c:v>
                </c:pt>
                <c:pt idx="1083">
                  <c:v>36630</c:v>
                </c:pt>
                <c:pt idx="1084">
                  <c:v>36633</c:v>
                </c:pt>
                <c:pt idx="1085">
                  <c:v>36634</c:v>
                </c:pt>
                <c:pt idx="1086">
                  <c:v>36635</c:v>
                </c:pt>
                <c:pt idx="1087">
                  <c:v>36636</c:v>
                </c:pt>
                <c:pt idx="1088">
                  <c:v>36640</c:v>
                </c:pt>
                <c:pt idx="1089">
                  <c:v>36641</c:v>
                </c:pt>
                <c:pt idx="1090">
                  <c:v>36642</c:v>
                </c:pt>
                <c:pt idx="1091">
                  <c:v>36643</c:v>
                </c:pt>
                <c:pt idx="1092">
                  <c:v>36644</c:v>
                </c:pt>
                <c:pt idx="1093">
                  <c:v>36647</c:v>
                </c:pt>
                <c:pt idx="1094">
                  <c:v>36648</c:v>
                </c:pt>
                <c:pt idx="1095">
                  <c:v>36649</c:v>
                </c:pt>
                <c:pt idx="1096">
                  <c:v>36650</c:v>
                </c:pt>
                <c:pt idx="1097">
                  <c:v>36651</c:v>
                </c:pt>
                <c:pt idx="1098">
                  <c:v>36654</c:v>
                </c:pt>
                <c:pt idx="1099">
                  <c:v>36655</c:v>
                </c:pt>
                <c:pt idx="1100">
                  <c:v>36656</c:v>
                </c:pt>
                <c:pt idx="1101">
                  <c:v>36657</c:v>
                </c:pt>
                <c:pt idx="1102">
                  <c:v>36658</c:v>
                </c:pt>
                <c:pt idx="1103">
                  <c:v>36661</c:v>
                </c:pt>
                <c:pt idx="1104">
                  <c:v>36662</c:v>
                </c:pt>
                <c:pt idx="1105">
                  <c:v>36663</c:v>
                </c:pt>
                <c:pt idx="1106">
                  <c:v>36664</c:v>
                </c:pt>
                <c:pt idx="1107">
                  <c:v>36665</c:v>
                </c:pt>
                <c:pt idx="1108">
                  <c:v>36668</c:v>
                </c:pt>
                <c:pt idx="1109">
                  <c:v>36669</c:v>
                </c:pt>
                <c:pt idx="1110">
                  <c:v>36670</c:v>
                </c:pt>
                <c:pt idx="1111">
                  <c:v>36671</c:v>
                </c:pt>
                <c:pt idx="1112">
                  <c:v>36672</c:v>
                </c:pt>
                <c:pt idx="1113">
                  <c:v>36676</c:v>
                </c:pt>
                <c:pt idx="1114">
                  <c:v>36677</c:v>
                </c:pt>
                <c:pt idx="1115">
                  <c:v>36678</c:v>
                </c:pt>
                <c:pt idx="1116">
                  <c:v>36679</c:v>
                </c:pt>
                <c:pt idx="1117">
                  <c:v>36682</c:v>
                </c:pt>
                <c:pt idx="1118">
                  <c:v>36683</c:v>
                </c:pt>
                <c:pt idx="1119">
                  <c:v>36684</c:v>
                </c:pt>
                <c:pt idx="1120">
                  <c:v>36685</c:v>
                </c:pt>
                <c:pt idx="1121">
                  <c:v>36686</c:v>
                </c:pt>
                <c:pt idx="1122">
                  <c:v>36689</c:v>
                </c:pt>
                <c:pt idx="1123">
                  <c:v>36690</c:v>
                </c:pt>
                <c:pt idx="1124">
                  <c:v>36691</c:v>
                </c:pt>
                <c:pt idx="1125">
                  <c:v>36692</c:v>
                </c:pt>
                <c:pt idx="1126">
                  <c:v>36693</c:v>
                </c:pt>
                <c:pt idx="1127">
                  <c:v>36696</c:v>
                </c:pt>
                <c:pt idx="1128">
                  <c:v>36697</c:v>
                </c:pt>
                <c:pt idx="1129">
                  <c:v>36698</c:v>
                </c:pt>
                <c:pt idx="1130">
                  <c:v>36699</c:v>
                </c:pt>
                <c:pt idx="1131">
                  <c:v>36700</c:v>
                </c:pt>
                <c:pt idx="1132">
                  <c:v>36703</c:v>
                </c:pt>
                <c:pt idx="1133">
                  <c:v>36704</c:v>
                </c:pt>
                <c:pt idx="1134">
                  <c:v>36705</c:v>
                </c:pt>
                <c:pt idx="1135">
                  <c:v>36706</c:v>
                </c:pt>
                <c:pt idx="1136">
                  <c:v>36707</c:v>
                </c:pt>
                <c:pt idx="1137">
                  <c:v>36710</c:v>
                </c:pt>
                <c:pt idx="1138">
                  <c:v>36712</c:v>
                </c:pt>
                <c:pt idx="1139">
                  <c:v>36713</c:v>
                </c:pt>
                <c:pt idx="1140">
                  <c:v>36714</c:v>
                </c:pt>
                <c:pt idx="1141">
                  <c:v>36717</c:v>
                </c:pt>
                <c:pt idx="1142">
                  <c:v>36718</c:v>
                </c:pt>
                <c:pt idx="1143">
                  <c:v>36719</c:v>
                </c:pt>
                <c:pt idx="1144">
                  <c:v>36720</c:v>
                </c:pt>
                <c:pt idx="1145">
                  <c:v>36721</c:v>
                </c:pt>
                <c:pt idx="1146">
                  <c:v>36724</c:v>
                </c:pt>
                <c:pt idx="1147">
                  <c:v>36725</c:v>
                </c:pt>
                <c:pt idx="1148">
                  <c:v>36726</c:v>
                </c:pt>
                <c:pt idx="1149">
                  <c:v>36727</c:v>
                </c:pt>
                <c:pt idx="1150">
                  <c:v>36728</c:v>
                </c:pt>
                <c:pt idx="1151">
                  <c:v>36731</c:v>
                </c:pt>
                <c:pt idx="1152">
                  <c:v>36732</c:v>
                </c:pt>
                <c:pt idx="1153">
                  <c:v>36733</c:v>
                </c:pt>
                <c:pt idx="1154">
                  <c:v>36734</c:v>
                </c:pt>
                <c:pt idx="1155">
                  <c:v>36735</c:v>
                </c:pt>
                <c:pt idx="1156">
                  <c:v>36738</c:v>
                </c:pt>
                <c:pt idx="1157">
                  <c:v>36739</c:v>
                </c:pt>
                <c:pt idx="1158">
                  <c:v>36740</c:v>
                </c:pt>
                <c:pt idx="1159">
                  <c:v>36741</c:v>
                </c:pt>
                <c:pt idx="1160">
                  <c:v>36742</c:v>
                </c:pt>
                <c:pt idx="1161">
                  <c:v>36745</c:v>
                </c:pt>
                <c:pt idx="1162">
                  <c:v>36746</c:v>
                </c:pt>
                <c:pt idx="1163">
                  <c:v>36747</c:v>
                </c:pt>
                <c:pt idx="1164">
                  <c:v>36748</c:v>
                </c:pt>
                <c:pt idx="1165">
                  <c:v>36749</c:v>
                </c:pt>
                <c:pt idx="1166">
                  <c:v>36752</c:v>
                </c:pt>
                <c:pt idx="1167">
                  <c:v>36753</c:v>
                </c:pt>
                <c:pt idx="1168">
                  <c:v>36754</c:v>
                </c:pt>
                <c:pt idx="1169">
                  <c:v>36755</c:v>
                </c:pt>
                <c:pt idx="1170">
                  <c:v>36756</c:v>
                </c:pt>
                <c:pt idx="1171">
                  <c:v>36759</c:v>
                </c:pt>
                <c:pt idx="1172">
                  <c:v>36760</c:v>
                </c:pt>
                <c:pt idx="1173">
                  <c:v>36761</c:v>
                </c:pt>
                <c:pt idx="1174">
                  <c:v>36762</c:v>
                </c:pt>
                <c:pt idx="1175">
                  <c:v>36763</c:v>
                </c:pt>
                <c:pt idx="1176">
                  <c:v>36766</c:v>
                </c:pt>
                <c:pt idx="1177">
                  <c:v>36767</c:v>
                </c:pt>
                <c:pt idx="1178">
                  <c:v>36768</c:v>
                </c:pt>
                <c:pt idx="1179">
                  <c:v>36769</c:v>
                </c:pt>
                <c:pt idx="1180">
                  <c:v>36770</c:v>
                </c:pt>
                <c:pt idx="1181">
                  <c:v>36774</c:v>
                </c:pt>
                <c:pt idx="1182">
                  <c:v>36775</c:v>
                </c:pt>
                <c:pt idx="1183">
                  <c:v>36776</c:v>
                </c:pt>
                <c:pt idx="1184">
                  <c:v>36777</c:v>
                </c:pt>
                <c:pt idx="1185">
                  <c:v>36780</c:v>
                </c:pt>
                <c:pt idx="1186">
                  <c:v>36781</c:v>
                </c:pt>
                <c:pt idx="1187">
                  <c:v>36782</c:v>
                </c:pt>
                <c:pt idx="1188">
                  <c:v>36783</c:v>
                </c:pt>
                <c:pt idx="1189">
                  <c:v>36784</c:v>
                </c:pt>
                <c:pt idx="1190">
                  <c:v>36787</c:v>
                </c:pt>
                <c:pt idx="1191">
                  <c:v>36788</c:v>
                </c:pt>
                <c:pt idx="1192">
                  <c:v>36789</c:v>
                </c:pt>
                <c:pt idx="1193">
                  <c:v>36790</c:v>
                </c:pt>
                <c:pt idx="1194">
                  <c:v>36791</c:v>
                </c:pt>
                <c:pt idx="1195">
                  <c:v>36794</c:v>
                </c:pt>
                <c:pt idx="1196">
                  <c:v>36795</c:v>
                </c:pt>
                <c:pt idx="1197">
                  <c:v>36796</c:v>
                </c:pt>
                <c:pt idx="1198">
                  <c:v>36797</c:v>
                </c:pt>
                <c:pt idx="1199">
                  <c:v>36798</c:v>
                </c:pt>
                <c:pt idx="1200">
                  <c:v>36801</c:v>
                </c:pt>
                <c:pt idx="1201">
                  <c:v>36802</c:v>
                </c:pt>
                <c:pt idx="1202">
                  <c:v>36803</c:v>
                </c:pt>
                <c:pt idx="1203">
                  <c:v>36804</c:v>
                </c:pt>
                <c:pt idx="1204">
                  <c:v>36805</c:v>
                </c:pt>
                <c:pt idx="1205">
                  <c:v>36808</c:v>
                </c:pt>
                <c:pt idx="1206">
                  <c:v>36809</c:v>
                </c:pt>
                <c:pt idx="1207">
                  <c:v>36810</c:v>
                </c:pt>
                <c:pt idx="1208">
                  <c:v>36811</c:v>
                </c:pt>
                <c:pt idx="1209">
                  <c:v>36812</c:v>
                </c:pt>
                <c:pt idx="1210">
                  <c:v>36815</c:v>
                </c:pt>
                <c:pt idx="1211">
                  <c:v>36816</c:v>
                </c:pt>
                <c:pt idx="1212">
                  <c:v>36817</c:v>
                </c:pt>
                <c:pt idx="1213">
                  <c:v>36818</c:v>
                </c:pt>
                <c:pt idx="1214">
                  <c:v>36819</c:v>
                </c:pt>
                <c:pt idx="1215">
                  <c:v>36822</c:v>
                </c:pt>
                <c:pt idx="1216">
                  <c:v>36823</c:v>
                </c:pt>
                <c:pt idx="1217">
                  <c:v>36824</c:v>
                </c:pt>
                <c:pt idx="1218">
                  <c:v>36825</c:v>
                </c:pt>
                <c:pt idx="1219">
                  <c:v>36826</c:v>
                </c:pt>
                <c:pt idx="1220">
                  <c:v>36829</c:v>
                </c:pt>
                <c:pt idx="1221">
                  <c:v>36830</c:v>
                </c:pt>
                <c:pt idx="1222">
                  <c:v>36831</c:v>
                </c:pt>
                <c:pt idx="1223">
                  <c:v>36832</c:v>
                </c:pt>
                <c:pt idx="1224">
                  <c:v>36833</c:v>
                </c:pt>
                <c:pt idx="1225">
                  <c:v>36836</c:v>
                </c:pt>
                <c:pt idx="1226">
                  <c:v>36837</c:v>
                </c:pt>
                <c:pt idx="1227">
                  <c:v>36838</c:v>
                </c:pt>
                <c:pt idx="1228">
                  <c:v>36839</c:v>
                </c:pt>
                <c:pt idx="1229">
                  <c:v>36840</c:v>
                </c:pt>
                <c:pt idx="1230">
                  <c:v>36843</c:v>
                </c:pt>
                <c:pt idx="1231">
                  <c:v>36844</c:v>
                </c:pt>
                <c:pt idx="1232">
                  <c:v>36845</c:v>
                </c:pt>
                <c:pt idx="1233">
                  <c:v>36846</c:v>
                </c:pt>
                <c:pt idx="1234">
                  <c:v>36847</c:v>
                </c:pt>
                <c:pt idx="1235">
                  <c:v>36850</c:v>
                </c:pt>
                <c:pt idx="1236">
                  <c:v>36851</c:v>
                </c:pt>
                <c:pt idx="1237">
                  <c:v>36852</c:v>
                </c:pt>
                <c:pt idx="1238">
                  <c:v>36854</c:v>
                </c:pt>
                <c:pt idx="1239">
                  <c:v>36857</c:v>
                </c:pt>
                <c:pt idx="1240">
                  <c:v>36858</c:v>
                </c:pt>
                <c:pt idx="1241">
                  <c:v>36859</c:v>
                </c:pt>
                <c:pt idx="1242">
                  <c:v>36860</c:v>
                </c:pt>
                <c:pt idx="1243">
                  <c:v>36861</c:v>
                </c:pt>
                <c:pt idx="1244">
                  <c:v>36864</c:v>
                </c:pt>
                <c:pt idx="1245">
                  <c:v>36865</c:v>
                </c:pt>
                <c:pt idx="1246">
                  <c:v>36866</c:v>
                </c:pt>
                <c:pt idx="1247">
                  <c:v>36867</c:v>
                </c:pt>
                <c:pt idx="1248">
                  <c:v>36868</c:v>
                </c:pt>
                <c:pt idx="1249">
                  <c:v>36871</c:v>
                </c:pt>
                <c:pt idx="1250">
                  <c:v>36872</c:v>
                </c:pt>
                <c:pt idx="1251">
                  <c:v>36873</c:v>
                </c:pt>
                <c:pt idx="1252">
                  <c:v>36874</c:v>
                </c:pt>
                <c:pt idx="1253">
                  <c:v>36875</c:v>
                </c:pt>
                <c:pt idx="1254">
                  <c:v>36878</c:v>
                </c:pt>
                <c:pt idx="1255">
                  <c:v>36879</c:v>
                </c:pt>
                <c:pt idx="1256">
                  <c:v>36880</c:v>
                </c:pt>
                <c:pt idx="1257">
                  <c:v>36881</c:v>
                </c:pt>
                <c:pt idx="1258">
                  <c:v>36882</c:v>
                </c:pt>
                <c:pt idx="1259">
                  <c:v>36886</c:v>
                </c:pt>
                <c:pt idx="1260">
                  <c:v>36887</c:v>
                </c:pt>
                <c:pt idx="1261">
                  <c:v>36888</c:v>
                </c:pt>
                <c:pt idx="1262">
                  <c:v>36889</c:v>
                </c:pt>
                <c:pt idx="1263">
                  <c:v>36893</c:v>
                </c:pt>
                <c:pt idx="1264">
                  <c:v>36894</c:v>
                </c:pt>
                <c:pt idx="1265">
                  <c:v>36895</c:v>
                </c:pt>
                <c:pt idx="1266">
                  <c:v>36896</c:v>
                </c:pt>
                <c:pt idx="1267">
                  <c:v>36899</c:v>
                </c:pt>
                <c:pt idx="1268">
                  <c:v>36900</c:v>
                </c:pt>
                <c:pt idx="1269">
                  <c:v>36901</c:v>
                </c:pt>
                <c:pt idx="1270">
                  <c:v>36902</c:v>
                </c:pt>
                <c:pt idx="1271">
                  <c:v>36903</c:v>
                </c:pt>
                <c:pt idx="1272">
                  <c:v>36907</c:v>
                </c:pt>
                <c:pt idx="1273">
                  <c:v>36908</c:v>
                </c:pt>
                <c:pt idx="1274">
                  <c:v>36909</c:v>
                </c:pt>
                <c:pt idx="1275">
                  <c:v>36910</c:v>
                </c:pt>
                <c:pt idx="1276">
                  <c:v>36913</c:v>
                </c:pt>
                <c:pt idx="1277">
                  <c:v>36914</c:v>
                </c:pt>
                <c:pt idx="1278">
                  <c:v>36915</c:v>
                </c:pt>
                <c:pt idx="1279">
                  <c:v>36916</c:v>
                </c:pt>
                <c:pt idx="1280">
                  <c:v>36917</c:v>
                </c:pt>
                <c:pt idx="1281">
                  <c:v>36920</c:v>
                </c:pt>
                <c:pt idx="1282">
                  <c:v>36921</c:v>
                </c:pt>
                <c:pt idx="1283">
                  <c:v>36922</c:v>
                </c:pt>
                <c:pt idx="1284">
                  <c:v>36923</c:v>
                </c:pt>
                <c:pt idx="1285">
                  <c:v>36924</c:v>
                </c:pt>
                <c:pt idx="1286">
                  <c:v>36927</c:v>
                </c:pt>
                <c:pt idx="1287">
                  <c:v>36928</c:v>
                </c:pt>
                <c:pt idx="1288">
                  <c:v>36929</c:v>
                </c:pt>
                <c:pt idx="1289">
                  <c:v>36930</c:v>
                </c:pt>
                <c:pt idx="1290">
                  <c:v>36931</c:v>
                </c:pt>
                <c:pt idx="1291">
                  <c:v>36934</c:v>
                </c:pt>
                <c:pt idx="1292">
                  <c:v>36935</c:v>
                </c:pt>
                <c:pt idx="1293">
                  <c:v>36936</c:v>
                </c:pt>
                <c:pt idx="1294">
                  <c:v>36937</c:v>
                </c:pt>
                <c:pt idx="1295">
                  <c:v>36938</c:v>
                </c:pt>
                <c:pt idx="1296">
                  <c:v>36942</c:v>
                </c:pt>
                <c:pt idx="1297">
                  <c:v>36943</c:v>
                </c:pt>
                <c:pt idx="1298">
                  <c:v>36944</c:v>
                </c:pt>
                <c:pt idx="1299">
                  <c:v>36945</c:v>
                </c:pt>
                <c:pt idx="1300">
                  <c:v>36948</c:v>
                </c:pt>
                <c:pt idx="1301">
                  <c:v>36949</c:v>
                </c:pt>
                <c:pt idx="1302">
                  <c:v>36950</c:v>
                </c:pt>
                <c:pt idx="1303">
                  <c:v>36951</c:v>
                </c:pt>
                <c:pt idx="1304">
                  <c:v>36952</c:v>
                </c:pt>
                <c:pt idx="1305">
                  <c:v>36955</c:v>
                </c:pt>
                <c:pt idx="1306">
                  <c:v>36956</c:v>
                </c:pt>
                <c:pt idx="1307">
                  <c:v>36957</c:v>
                </c:pt>
                <c:pt idx="1308">
                  <c:v>36958</c:v>
                </c:pt>
                <c:pt idx="1309">
                  <c:v>36959</c:v>
                </c:pt>
                <c:pt idx="1310">
                  <c:v>36962</c:v>
                </c:pt>
                <c:pt idx="1311">
                  <c:v>36963</c:v>
                </c:pt>
                <c:pt idx="1312">
                  <c:v>36964</c:v>
                </c:pt>
                <c:pt idx="1313">
                  <c:v>36965</c:v>
                </c:pt>
                <c:pt idx="1314">
                  <c:v>36966</c:v>
                </c:pt>
                <c:pt idx="1315">
                  <c:v>36969</c:v>
                </c:pt>
                <c:pt idx="1316">
                  <c:v>36970</c:v>
                </c:pt>
                <c:pt idx="1317">
                  <c:v>36971</c:v>
                </c:pt>
                <c:pt idx="1318">
                  <c:v>36972</c:v>
                </c:pt>
                <c:pt idx="1319">
                  <c:v>36973</c:v>
                </c:pt>
                <c:pt idx="1320">
                  <c:v>36976</c:v>
                </c:pt>
                <c:pt idx="1321">
                  <c:v>36977</c:v>
                </c:pt>
                <c:pt idx="1322">
                  <c:v>36978</c:v>
                </c:pt>
                <c:pt idx="1323">
                  <c:v>36979</c:v>
                </c:pt>
                <c:pt idx="1324">
                  <c:v>36980</c:v>
                </c:pt>
                <c:pt idx="1325">
                  <c:v>36983</c:v>
                </c:pt>
                <c:pt idx="1326">
                  <c:v>36984</c:v>
                </c:pt>
                <c:pt idx="1327">
                  <c:v>36985</c:v>
                </c:pt>
                <c:pt idx="1328">
                  <c:v>36986</c:v>
                </c:pt>
                <c:pt idx="1329">
                  <c:v>36987</c:v>
                </c:pt>
                <c:pt idx="1330">
                  <c:v>36990</c:v>
                </c:pt>
                <c:pt idx="1331">
                  <c:v>36991</c:v>
                </c:pt>
                <c:pt idx="1332">
                  <c:v>36992</c:v>
                </c:pt>
                <c:pt idx="1333">
                  <c:v>36993</c:v>
                </c:pt>
                <c:pt idx="1334">
                  <c:v>36997</c:v>
                </c:pt>
                <c:pt idx="1335">
                  <c:v>36998</c:v>
                </c:pt>
                <c:pt idx="1336">
                  <c:v>36999</c:v>
                </c:pt>
                <c:pt idx="1337">
                  <c:v>37000</c:v>
                </c:pt>
                <c:pt idx="1338">
                  <c:v>37001</c:v>
                </c:pt>
                <c:pt idx="1339">
                  <c:v>37004</c:v>
                </c:pt>
                <c:pt idx="1340">
                  <c:v>37005</c:v>
                </c:pt>
                <c:pt idx="1341">
                  <c:v>37006</c:v>
                </c:pt>
                <c:pt idx="1342">
                  <c:v>37007</c:v>
                </c:pt>
                <c:pt idx="1343">
                  <c:v>37008</c:v>
                </c:pt>
                <c:pt idx="1344">
                  <c:v>37011</c:v>
                </c:pt>
                <c:pt idx="1345">
                  <c:v>37012</c:v>
                </c:pt>
                <c:pt idx="1346">
                  <c:v>37013</c:v>
                </c:pt>
                <c:pt idx="1347">
                  <c:v>37014</c:v>
                </c:pt>
                <c:pt idx="1348">
                  <c:v>37015</c:v>
                </c:pt>
                <c:pt idx="1349">
                  <c:v>37018</c:v>
                </c:pt>
                <c:pt idx="1350">
                  <c:v>37019</c:v>
                </c:pt>
                <c:pt idx="1351">
                  <c:v>37020</c:v>
                </c:pt>
                <c:pt idx="1352">
                  <c:v>37021</c:v>
                </c:pt>
                <c:pt idx="1353">
                  <c:v>37022</c:v>
                </c:pt>
                <c:pt idx="1354">
                  <c:v>37025</c:v>
                </c:pt>
                <c:pt idx="1355">
                  <c:v>37026</c:v>
                </c:pt>
                <c:pt idx="1356">
                  <c:v>37027</c:v>
                </c:pt>
                <c:pt idx="1357">
                  <c:v>37028</c:v>
                </c:pt>
                <c:pt idx="1358">
                  <c:v>37029</c:v>
                </c:pt>
                <c:pt idx="1359">
                  <c:v>37032</c:v>
                </c:pt>
                <c:pt idx="1360">
                  <c:v>37033</c:v>
                </c:pt>
                <c:pt idx="1361">
                  <c:v>37034</c:v>
                </c:pt>
                <c:pt idx="1362">
                  <c:v>37035</c:v>
                </c:pt>
                <c:pt idx="1363">
                  <c:v>37036</c:v>
                </c:pt>
                <c:pt idx="1364">
                  <c:v>37040</c:v>
                </c:pt>
                <c:pt idx="1365">
                  <c:v>37041</c:v>
                </c:pt>
                <c:pt idx="1366">
                  <c:v>37042</c:v>
                </c:pt>
                <c:pt idx="1367">
                  <c:v>37043</c:v>
                </c:pt>
                <c:pt idx="1368">
                  <c:v>37046</c:v>
                </c:pt>
                <c:pt idx="1369">
                  <c:v>37047</c:v>
                </c:pt>
                <c:pt idx="1370">
                  <c:v>37048</c:v>
                </c:pt>
                <c:pt idx="1371">
                  <c:v>37049</c:v>
                </c:pt>
                <c:pt idx="1372">
                  <c:v>37050</c:v>
                </c:pt>
                <c:pt idx="1373">
                  <c:v>37053</c:v>
                </c:pt>
                <c:pt idx="1374">
                  <c:v>37054</c:v>
                </c:pt>
                <c:pt idx="1375">
                  <c:v>37055</c:v>
                </c:pt>
                <c:pt idx="1376">
                  <c:v>37056</c:v>
                </c:pt>
                <c:pt idx="1377">
                  <c:v>37057</c:v>
                </c:pt>
                <c:pt idx="1378">
                  <c:v>37060</c:v>
                </c:pt>
                <c:pt idx="1379">
                  <c:v>37061</c:v>
                </c:pt>
                <c:pt idx="1380">
                  <c:v>37062</c:v>
                </c:pt>
                <c:pt idx="1381">
                  <c:v>37063</c:v>
                </c:pt>
                <c:pt idx="1382">
                  <c:v>37064</c:v>
                </c:pt>
                <c:pt idx="1383">
                  <c:v>37067</c:v>
                </c:pt>
                <c:pt idx="1384">
                  <c:v>37068</c:v>
                </c:pt>
                <c:pt idx="1385">
                  <c:v>37069</c:v>
                </c:pt>
                <c:pt idx="1386">
                  <c:v>37070</c:v>
                </c:pt>
                <c:pt idx="1387">
                  <c:v>37071</c:v>
                </c:pt>
                <c:pt idx="1388">
                  <c:v>37074</c:v>
                </c:pt>
                <c:pt idx="1389">
                  <c:v>37075</c:v>
                </c:pt>
                <c:pt idx="1390">
                  <c:v>37077</c:v>
                </c:pt>
                <c:pt idx="1391">
                  <c:v>37078</c:v>
                </c:pt>
                <c:pt idx="1392">
                  <c:v>37081</c:v>
                </c:pt>
                <c:pt idx="1393">
                  <c:v>37082</c:v>
                </c:pt>
                <c:pt idx="1394">
                  <c:v>37083</c:v>
                </c:pt>
                <c:pt idx="1395">
                  <c:v>37084</c:v>
                </c:pt>
                <c:pt idx="1396">
                  <c:v>37085</c:v>
                </c:pt>
                <c:pt idx="1397">
                  <c:v>37088</c:v>
                </c:pt>
                <c:pt idx="1398">
                  <c:v>37089</c:v>
                </c:pt>
                <c:pt idx="1399">
                  <c:v>37090</c:v>
                </c:pt>
                <c:pt idx="1400">
                  <c:v>37091</c:v>
                </c:pt>
                <c:pt idx="1401">
                  <c:v>37092</c:v>
                </c:pt>
                <c:pt idx="1402">
                  <c:v>37095</c:v>
                </c:pt>
                <c:pt idx="1403">
                  <c:v>37096</c:v>
                </c:pt>
                <c:pt idx="1404">
                  <c:v>37097</c:v>
                </c:pt>
                <c:pt idx="1405">
                  <c:v>37098</c:v>
                </c:pt>
                <c:pt idx="1406">
                  <c:v>37099</c:v>
                </c:pt>
                <c:pt idx="1407">
                  <c:v>37102</c:v>
                </c:pt>
                <c:pt idx="1408">
                  <c:v>37103</c:v>
                </c:pt>
                <c:pt idx="1409">
                  <c:v>37104</c:v>
                </c:pt>
                <c:pt idx="1410">
                  <c:v>37105</c:v>
                </c:pt>
                <c:pt idx="1411">
                  <c:v>37106</c:v>
                </c:pt>
                <c:pt idx="1412">
                  <c:v>37109</c:v>
                </c:pt>
                <c:pt idx="1413">
                  <c:v>37110</c:v>
                </c:pt>
                <c:pt idx="1414">
                  <c:v>37111</c:v>
                </c:pt>
                <c:pt idx="1415">
                  <c:v>37112</c:v>
                </c:pt>
                <c:pt idx="1416">
                  <c:v>37113</c:v>
                </c:pt>
                <c:pt idx="1417">
                  <c:v>37116</c:v>
                </c:pt>
                <c:pt idx="1418">
                  <c:v>37117</c:v>
                </c:pt>
                <c:pt idx="1419">
                  <c:v>37118</c:v>
                </c:pt>
                <c:pt idx="1420">
                  <c:v>37119</c:v>
                </c:pt>
                <c:pt idx="1421">
                  <c:v>37120</c:v>
                </c:pt>
                <c:pt idx="1422">
                  <c:v>37123</c:v>
                </c:pt>
                <c:pt idx="1423">
                  <c:v>37124</c:v>
                </c:pt>
                <c:pt idx="1424">
                  <c:v>37125</c:v>
                </c:pt>
                <c:pt idx="1425">
                  <c:v>37126</c:v>
                </c:pt>
                <c:pt idx="1426">
                  <c:v>37127</c:v>
                </c:pt>
                <c:pt idx="1427">
                  <c:v>37130</c:v>
                </c:pt>
                <c:pt idx="1428">
                  <c:v>37131</c:v>
                </c:pt>
                <c:pt idx="1429">
                  <c:v>37132</c:v>
                </c:pt>
                <c:pt idx="1430">
                  <c:v>37133</c:v>
                </c:pt>
                <c:pt idx="1431">
                  <c:v>37134</c:v>
                </c:pt>
                <c:pt idx="1432">
                  <c:v>37138</c:v>
                </c:pt>
                <c:pt idx="1433">
                  <c:v>37139</c:v>
                </c:pt>
                <c:pt idx="1434">
                  <c:v>37140</c:v>
                </c:pt>
                <c:pt idx="1435">
                  <c:v>37141</c:v>
                </c:pt>
                <c:pt idx="1436">
                  <c:v>37144</c:v>
                </c:pt>
                <c:pt idx="1437">
                  <c:v>37151</c:v>
                </c:pt>
                <c:pt idx="1438">
                  <c:v>37152</c:v>
                </c:pt>
                <c:pt idx="1439">
                  <c:v>37153</c:v>
                </c:pt>
                <c:pt idx="1440">
                  <c:v>37154</c:v>
                </c:pt>
                <c:pt idx="1441">
                  <c:v>37155</c:v>
                </c:pt>
                <c:pt idx="1442">
                  <c:v>37158</c:v>
                </c:pt>
                <c:pt idx="1443">
                  <c:v>37159</c:v>
                </c:pt>
                <c:pt idx="1444">
                  <c:v>37160</c:v>
                </c:pt>
                <c:pt idx="1445">
                  <c:v>37161</c:v>
                </c:pt>
                <c:pt idx="1446">
                  <c:v>37162</c:v>
                </c:pt>
                <c:pt idx="1447">
                  <c:v>37165</c:v>
                </c:pt>
                <c:pt idx="1448">
                  <c:v>37166</c:v>
                </c:pt>
                <c:pt idx="1449">
                  <c:v>37167</c:v>
                </c:pt>
                <c:pt idx="1450">
                  <c:v>37168</c:v>
                </c:pt>
                <c:pt idx="1451">
                  <c:v>37169</c:v>
                </c:pt>
                <c:pt idx="1452">
                  <c:v>37172</c:v>
                </c:pt>
                <c:pt idx="1453">
                  <c:v>37173</c:v>
                </c:pt>
                <c:pt idx="1454">
                  <c:v>37174</c:v>
                </c:pt>
                <c:pt idx="1455">
                  <c:v>37175</c:v>
                </c:pt>
                <c:pt idx="1456">
                  <c:v>37176</c:v>
                </c:pt>
                <c:pt idx="1457">
                  <c:v>37179</c:v>
                </c:pt>
                <c:pt idx="1458">
                  <c:v>37180</c:v>
                </c:pt>
                <c:pt idx="1459">
                  <c:v>37181</c:v>
                </c:pt>
                <c:pt idx="1460">
                  <c:v>37182</c:v>
                </c:pt>
                <c:pt idx="1461">
                  <c:v>37183</c:v>
                </c:pt>
                <c:pt idx="1462">
                  <c:v>37186</c:v>
                </c:pt>
                <c:pt idx="1463">
                  <c:v>37187</c:v>
                </c:pt>
                <c:pt idx="1464">
                  <c:v>37188</c:v>
                </c:pt>
                <c:pt idx="1465">
                  <c:v>37189</c:v>
                </c:pt>
                <c:pt idx="1466">
                  <c:v>37190</c:v>
                </c:pt>
                <c:pt idx="1467">
                  <c:v>37193</c:v>
                </c:pt>
                <c:pt idx="1468">
                  <c:v>37194</c:v>
                </c:pt>
                <c:pt idx="1469">
                  <c:v>37195</c:v>
                </c:pt>
                <c:pt idx="1470">
                  <c:v>37196</c:v>
                </c:pt>
                <c:pt idx="1471">
                  <c:v>37197</c:v>
                </c:pt>
                <c:pt idx="1472">
                  <c:v>37200</c:v>
                </c:pt>
                <c:pt idx="1473">
                  <c:v>37201</c:v>
                </c:pt>
                <c:pt idx="1474">
                  <c:v>37202</c:v>
                </c:pt>
                <c:pt idx="1475">
                  <c:v>37203</c:v>
                </c:pt>
                <c:pt idx="1476">
                  <c:v>37204</c:v>
                </c:pt>
                <c:pt idx="1477">
                  <c:v>37207</c:v>
                </c:pt>
                <c:pt idx="1478">
                  <c:v>37208</c:v>
                </c:pt>
                <c:pt idx="1479">
                  <c:v>37209</c:v>
                </c:pt>
                <c:pt idx="1480">
                  <c:v>37210</c:v>
                </c:pt>
                <c:pt idx="1481">
                  <c:v>37211</c:v>
                </c:pt>
                <c:pt idx="1482">
                  <c:v>37214</c:v>
                </c:pt>
                <c:pt idx="1483">
                  <c:v>37215</c:v>
                </c:pt>
                <c:pt idx="1484">
                  <c:v>37216</c:v>
                </c:pt>
                <c:pt idx="1485">
                  <c:v>37218</c:v>
                </c:pt>
                <c:pt idx="1486">
                  <c:v>37221</c:v>
                </c:pt>
                <c:pt idx="1487">
                  <c:v>37222</c:v>
                </c:pt>
                <c:pt idx="1488">
                  <c:v>37223</c:v>
                </c:pt>
                <c:pt idx="1489">
                  <c:v>37224</c:v>
                </c:pt>
                <c:pt idx="1490">
                  <c:v>37225</c:v>
                </c:pt>
                <c:pt idx="1491">
                  <c:v>37228</c:v>
                </c:pt>
                <c:pt idx="1492">
                  <c:v>37229</c:v>
                </c:pt>
                <c:pt idx="1493">
                  <c:v>37230</c:v>
                </c:pt>
                <c:pt idx="1494">
                  <c:v>37231</c:v>
                </c:pt>
                <c:pt idx="1495">
                  <c:v>37232</c:v>
                </c:pt>
                <c:pt idx="1496">
                  <c:v>37235</c:v>
                </c:pt>
                <c:pt idx="1497">
                  <c:v>37236</c:v>
                </c:pt>
                <c:pt idx="1498">
                  <c:v>37237</c:v>
                </c:pt>
                <c:pt idx="1499">
                  <c:v>37238</c:v>
                </c:pt>
                <c:pt idx="1500">
                  <c:v>37239</c:v>
                </c:pt>
                <c:pt idx="1501">
                  <c:v>37242</c:v>
                </c:pt>
                <c:pt idx="1502">
                  <c:v>37243</c:v>
                </c:pt>
                <c:pt idx="1503">
                  <c:v>37244</c:v>
                </c:pt>
                <c:pt idx="1504">
                  <c:v>37245</c:v>
                </c:pt>
                <c:pt idx="1505">
                  <c:v>37246</c:v>
                </c:pt>
                <c:pt idx="1506">
                  <c:v>37249</c:v>
                </c:pt>
                <c:pt idx="1507">
                  <c:v>37251</c:v>
                </c:pt>
                <c:pt idx="1508">
                  <c:v>37252</c:v>
                </c:pt>
                <c:pt idx="1509">
                  <c:v>37253</c:v>
                </c:pt>
                <c:pt idx="1510">
                  <c:v>37256</c:v>
                </c:pt>
                <c:pt idx="1511">
                  <c:v>37258</c:v>
                </c:pt>
                <c:pt idx="1512">
                  <c:v>37259</c:v>
                </c:pt>
                <c:pt idx="1513">
                  <c:v>37260</c:v>
                </c:pt>
                <c:pt idx="1514">
                  <c:v>37263</c:v>
                </c:pt>
                <c:pt idx="1515">
                  <c:v>37264</c:v>
                </c:pt>
                <c:pt idx="1516">
                  <c:v>37265</c:v>
                </c:pt>
                <c:pt idx="1517">
                  <c:v>37266</c:v>
                </c:pt>
                <c:pt idx="1518">
                  <c:v>37267</c:v>
                </c:pt>
                <c:pt idx="1519">
                  <c:v>37270</c:v>
                </c:pt>
                <c:pt idx="1520">
                  <c:v>37271</c:v>
                </c:pt>
                <c:pt idx="1521">
                  <c:v>37272</c:v>
                </c:pt>
                <c:pt idx="1522">
                  <c:v>37273</c:v>
                </c:pt>
                <c:pt idx="1523">
                  <c:v>37274</c:v>
                </c:pt>
                <c:pt idx="1524">
                  <c:v>37278</c:v>
                </c:pt>
                <c:pt idx="1525">
                  <c:v>37279</c:v>
                </c:pt>
                <c:pt idx="1526">
                  <c:v>37280</c:v>
                </c:pt>
                <c:pt idx="1527">
                  <c:v>37281</c:v>
                </c:pt>
                <c:pt idx="1528">
                  <c:v>37284</c:v>
                </c:pt>
                <c:pt idx="1529">
                  <c:v>37285</c:v>
                </c:pt>
                <c:pt idx="1530">
                  <c:v>37286</c:v>
                </c:pt>
                <c:pt idx="1531">
                  <c:v>37287</c:v>
                </c:pt>
                <c:pt idx="1532">
                  <c:v>37288</c:v>
                </c:pt>
                <c:pt idx="1533">
                  <c:v>37291</c:v>
                </c:pt>
                <c:pt idx="1534">
                  <c:v>37292</c:v>
                </c:pt>
                <c:pt idx="1535">
                  <c:v>37293</c:v>
                </c:pt>
                <c:pt idx="1536">
                  <c:v>37294</c:v>
                </c:pt>
                <c:pt idx="1537">
                  <c:v>37295</c:v>
                </c:pt>
                <c:pt idx="1538">
                  <c:v>37298</c:v>
                </c:pt>
                <c:pt idx="1539">
                  <c:v>37299</c:v>
                </c:pt>
                <c:pt idx="1540">
                  <c:v>37300</c:v>
                </c:pt>
                <c:pt idx="1541">
                  <c:v>37301</c:v>
                </c:pt>
                <c:pt idx="1542">
                  <c:v>37302</c:v>
                </c:pt>
                <c:pt idx="1543">
                  <c:v>37306</c:v>
                </c:pt>
                <c:pt idx="1544">
                  <c:v>37307</c:v>
                </c:pt>
                <c:pt idx="1545">
                  <c:v>37308</c:v>
                </c:pt>
                <c:pt idx="1546">
                  <c:v>37309</c:v>
                </c:pt>
                <c:pt idx="1547">
                  <c:v>37312</c:v>
                </c:pt>
                <c:pt idx="1548">
                  <c:v>37313</c:v>
                </c:pt>
                <c:pt idx="1549">
                  <c:v>37314</c:v>
                </c:pt>
                <c:pt idx="1550">
                  <c:v>37315</c:v>
                </c:pt>
                <c:pt idx="1551">
                  <c:v>37316</c:v>
                </c:pt>
                <c:pt idx="1552">
                  <c:v>37319</c:v>
                </c:pt>
                <c:pt idx="1553">
                  <c:v>37320</c:v>
                </c:pt>
                <c:pt idx="1554">
                  <c:v>37321</c:v>
                </c:pt>
                <c:pt idx="1555">
                  <c:v>37322</c:v>
                </c:pt>
                <c:pt idx="1556">
                  <c:v>37323</c:v>
                </c:pt>
                <c:pt idx="1557">
                  <c:v>37326</c:v>
                </c:pt>
                <c:pt idx="1558">
                  <c:v>37327</c:v>
                </c:pt>
                <c:pt idx="1559">
                  <c:v>37328</c:v>
                </c:pt>
                <c:pt idx="1560">
                  <c:v>37329</c:v>
                </c:pt>
                <c:pt idx="1561">
                  <c:v>37330</c:v>
                </c:pt>
                <c:pt idx="1562">
                  <c:v>37333</c:v>
                </c:pt>
                <c:pt idx="1563">
                  <c:v>37334</c:v>
                </c:pt>
                <c:pt idx="1564">
                  <c:v>37335</c:v>
                </c:pt>
                <c:pt idx="1565">
                  <c:v>37336</c:v>
                </c:pt>
                <c:pt idx="1566">
                  <c:v>37337</c:v>
                </c:pt>
                <c:pt idx="1567">
                  <c:v>37340</c:v>
                </c:pt>
                <c:pt idx="1568">
                  <c:v>37341</c:v>
                </c:pt>
                <c:pt idx="1569">
                  <c:v>37342</c:v>
                </c:pt>
                <c:pt idx="1570">
                  <c:v>37343</c:v>
                </c:pt>
                <c:pt idx="1571">
                  <c:v>37347</c:v>
                </c:pt>
                <c:pt idx="1572">
                  <c:v>37348</c:v>
                </c:pt>
                <c:pt idx="1573">
                  <c:v>37349</c:v>
                </c:pt>
                <c:pt idx="1574">
                  <c:v>37350</c:v>
                </c:pt>
                <c:pt idx="1575">
                  <c:v>37351</c:v>
                </c:pt>
                <c:pt idx="1576">
                  <c:v>37354</c:v>
                </c:pt>
                <c:pt idx="1577">
                  <c:v>37355</c:v>
                </c:pt>
                <c:pt idx="1578">
                  <c:v>37356</c:v>
                </c:pt>
                <c:pt idx="1579">
                  <c:v>37357</c:v>
                </c:pt>
                <c:pt idx="1580">
                  <c:v>37358</c:v>
                </c:pt>
                <c:pt idx="1581">
                  <c:v>37361</c:v>
                </c:pt>
                <c:pt idx="1582">
                  <c:v>37362</c:v>
                </c:pt>
                <c:pt idx="1583">
                  <c:v>37363</c:v>
                </c:pt>
                <c:pt idx="1584">
                  <c:v>37364</c:v>
                </c:pt>
                <c:pt idx="1585">
                  <c:v>37365</c:v>
                </c:pt>
                <c:pt idx="1586">
                  <c:v>37368</c:v>
                </c:pt>
                <c:pt idx="1587">
                  <c:v>37369</c:v>
                </c:pt>
                <c:pt idx="1588">
                  <c:v>37370</c:v>
                </c:pt>
                <c:pt idx="1589">
                  <c:v>37371</c:v>
                </c:pt>
                <c:pt idx="1590">
                  <c:v>37372</c:v>
                </c:pt>
                <c:pt idx="1591">
                  <c:v>37375</c:v>
                </c:pt>
                <c:pt idx="1592">
                  <c:v>37376</c:v>
                </c:pt>
                <c:pt idx="1593">
                  <c:v>37377</c:v>
                </c:pt>
                <c:pt idx="1594">
                  <c:v>37378</c:v>
                </c:pt>
                <c:pt idx="1595">
                  <c:v>37379</c:v>
                </c:pt>
                <c:pt idx="1596">
                  <c:v>37382</c:v>
                </c:pt>
                <c:pt idx="1597">
                  <c:v>37383</c:v>
                </c:pt>
                <c:pt idx="1598">
                  <c:v>37384</c:v>
                </c:pt>
                <c:pt idx="1599">
                  <c:v>37385</c:v>
                </c:pt>
                <c:pt idx="1600">
                  <c:v>37386</c:v>
                </c:pt>
                <c:pt idx="1601">
                  <c:v>37389</c:v>
                </c:pt>
                <c:pt idx="1602">
                  <c:v>37390</c:v>
                </c:pt>
                <c:pt idx="1603">
                  <c:v>37391</c:v>
                </c:pt>
                <c:pt idx="1604">
                  <c:v>37392</c:v>
                </c:pt>
                <c:pt idx="1605">
                  <c:v>37393</c:v>
                </c:pt>
                <c:pt idx="1606">
                  <c:v>37396</c:v>
                </c:pt>
                <c:pt idx="1607">
                  <c:v>37397</c:v>
                </c:pt>
                <c:pt idx="1608">
                  <c:v>37398</c:v>
                </c:pt>
                <c:pt idx="1609">
                  <c:v>37399</c:v>
                </c:pt>
                <c:pt idx="1610">
                  <c:v>37400</c:v>
                </c:pt>
                <c:pt idx="1611">
                  <c:v>37404</c:v>
                </c:pt>
                <c:pt idx="1612">
                  <c:v>37405</c:v>
                </c:pt>
                <c:pt idx="1613">
                  <c:v>37406</c:v>
                </c:pt>
                <c:pt idx="1614">
                  <c:v>37407</c:v>
                </c:pt>
                <c:pt idx="1615">
                  <c:v>37410</c:v>
                </c:pt>
                <c:pt idx="1616">
                  <c:v>37411</c:v>
                </c:pt>
                <c:pt idx="1617">
                  <c:v>37412</c:v>
                </c:pt>
                <c:pt idx="1618">
                  <c:v>37413</c:v>
                </c:pt>
                <c:pt idx="1619">
                  <c:v>37414</c:v>
                </c:pt>
                <c:pt idx="1620">
                  <c:v>37417</c:v>
                </c:pt>
                <c:pt idx="1621">
                  <c:v>37418</c:v>
                </c:pt>
                <c:pt idx="1622">
                  <c:v>37419</c:v>
                </c:pt>
                <c:pt idx="1623">
                  <c:v>37420</c:v>
                </c:pt>
                <c:pt idx="1624">
                  <c:v>37421</c:v>
                </c:pt>
                <c:pt idx="1625">
                  <c:v>37424</c:v>
                </c:pt>
                <c:pt idx="1626">
                  <c:v>37425</c:v>
                </c:pt>
                <c:pt idx="1627">
                  <c:v>37426</c:v>
                </c:pt>
                <c:pt idx="1628">
                  <c:v>37427</c:v>
                </c:pt>
                <c:pt idx="1629">
                  <c:v>37428</c:v>
                </c:pt>
                <c:pt idx="1630">
                  <c:v>37431</c:v>
                </c:pt>
                <c:pt idx="1631">
                  <c:v>37432</c:v>
                </c:pt>
                <c:pt idx="1632">
                  <c:v>37433</c:v>
                </c:pt>
                <c:pt idx="1633">
                  <c:v>37434</c:v>
                </c:pt>
                <c:pt idx="1634">
                  <c:v>37435</c:v>
                </c:pt>
                <c:pt idx="1635">
                  <c:v>37438</c:v>
                </c:pt>
                <c:pt idx="1636">
                  <c:v>37439</c:v>
                </c:pt>
                <c:pt idx="1637">
                  <c:v>37440</c:v>
                </c:pt>
                <c:pt idx="1638">
                  <c:v>37442</c:v>
                </c:pt>
                <c:pt idx="1639">
                  <c:v>37445</c:v>
                </c:pt>
                <c:pt idx="1640">
                  <c:v>37446</c:v>
                </c:pt>
                <c:pt idx="1641">
                  <c:v>37447</c:v>
                </c:pt>
                <c:pt idx="1642">
                  <c:v>37448</c:v>
                </c:pt>
                <c:pt idx="1643">
                  <c:v>37449</c:v>
                </c:pt>
                <c:pt idx="1644">
                  <c:v>37452</c:v>
                </c:pt>
                <c:pt idx="1645">
                  <c:v>37453</c:v>
                </c:pt>
                <c:pt idx="1646">
                  <c:v>37454</c:v>
                </c:pt>
                <c:pt idx="1647">
                  <c:v>37455</c:v>
                </c:pt>
                <c:pt idx="1648">
                  <c:v>37456</c:v>
                </c:pt>
                <c:pt idx="1649">
                  <c:v>37459</c:v>
                </c:pt>
                <c:pt idx="1650">
                  <c:v>37460</c:v>
                </c:pt>
                <c:pt idx="1651">
                  <c:v>37461</c:v>
                </c:pt>
                <c:pt idx="1652">
                  <c:v>37462</c:v>
                </c:pt>
                <c:pt idx="1653">
                  <c:v>37463</c:v>
                </c:pt>
                <c:pt idx="1654">
                  <c:v>37466</c:v>
                </c:pt>
                <c:pt idx="1655">
                  <c:v>37467</c:v>
                </c:pt>
                <c:pt idx="1656">
                  <c:v>37468</c:v>
                </c:pt>
                <c:pt idx="1657">
                  <c:v>37469</c:v>
                </c:pt>
                <c:pt idx="1658">
                  <c:v>37470</c:v>
                </c:pt>
                <c:pt idx="1659">
                  <c:v>37473</c:v>
                </c:pt>
                <c:pt idx="1660">
                  <c:v>37474</c:v>
                </c:pt>
                <c:pt idx="1661">
                  <c:v>37475</c:v>
                </c:pt>
                <c:pt idx="1662">
                  <c:v>37476</c:v>
                </c:pt>
                <c:pt idx="1663">
                  <c:v>37477</c:v>
                </c:pt>
                <c:pt idx="1664">
                  <c:v>37480</c:v>
                </c:pt>
                <c:pt idx="1665">
                  <c:v>37481</c:v>
                </c:pt>
                <c:pt idx="1666">
                  <c:v>37482</c:v>
                </c:pt>
                <c:pt idx="1667">
                  <c:v>37483</c:v>
                </c:pt>
                <c:pt idx="1668">
                  <c:v>37484</c:v>
                </c:pt>
                <c:pt idx="1669">
                  <c:v>37487</c:v>
                </c:pt>
                <c:pt idx="1670">
                  <c:v>37488</c:v>
                </c:pt>
                <c:pt idx="1671">
                  <c:v>37489</c:v>
                </c:pt>
                <c:pt idx="1672">
                  <c:v>37490</c:v>
                </c:pt>
                <c:pt idx="1673">
                  <c:v>37491</c:v>
                </c:pt>
                <c:pt idx="1674">
                  <c:v>37494</c:v>
                </c:pt>
                <c:pt idx="1675">
                  <c:v>37495</c:v>
                </c:pt>
                <c:pt idx="1676">
                  <c:v>37496</c:v>
                </c:pt>
                <c:pt idx="1677">
                  <c:v>37497</c:v>
                </c:pt>
                <c:pt idx="1678">
                  <c:v>37498</c:v>
                </c:pt>
                <c:pt idx="1679">
                  <c:v>37502</c:v>
                </c:pt>
                <c:pt idx="1680">
                  <c:v>37503</c:v>
                </c:pt>
                <c:pt idx="1681">
                  <c:v>37504</c:v>
                </c:pt>
                <c:pt idx="1682">
                  <c:v>37505</c:v>
                </c:pt>
                <c:pt idx="1683">
                  <c:v>37508</c:v>
                </c:pt>
                <c:pt idx="1684">
                  <c:v>37509</c:v>
                </c:pt>
                <c:pt idx="1685">
                  <c:v>37510</c:v>
                </c:pt>
                <c:pt idx="1686">
                  <c:v>37511</c:v>
                </c:pt>
                <c:pt idx="1687">
                  <c:v>37512</c:v>
                </c:pt>
                <c:pt idx="1688">
                  <c:v>37515</c:v>
                </c:pt>
                <c:pt idx="1689">
                  <c:v>37516</c:v>
                </c:pt>
                <c:pt idx="1690">
                  <c:v>37517</c:v>
                </c:pt>
                <c:pt idx="1691">
                  <c:v>37518</c:v>
                </c:pt>
                <c:pt idx="1692">
                  <c:v>37519</c:v>
                </c:pt>
                <c:pt idx="1693">
                  <c:v>37522</c:v>
                </c:pt>
                <c:pt idx="1694">
                  <c:v>37523</c:v>
                </c:pt>
                <c:pt idx="1695">
                  <c:v>37524</c:v>
                </c:pt>
                <c:pt idx="1696">
                  <c:v>37525</c:v>
                </c:pt>
                <c:pt idx="1697">
                  <c:v>37526</c:v>
                </c:pt>
                <c:pt idx="1698">
                  <c:v>37529</c:v>
                </c:pt>
                <c:pt idx="1699">
                  <c:v>37530</c:v>
                </c:pt>
                <c:pt idx="1700">
                  <c:v>37531</c:v>
                </c:pt>
                <c:pt idx="1701">
                  <c:v>37532</c:v>
                </c:pt>
                <c:pt idx="1702">
                  <c:v>37533</c:v>
                </c:pt>
                <c:pt idx="1703">
                  <c:v>37536</c:v>
                </c:pt>
                <c:pt idx="1704">
                  <c:v>37537</c:v>
                </c:pt>
                <c:pt idx="1705">
                  <c:v>37538</c:v>
                </c:pt>
                <c:pt idx="1706">
                  <c:v>37539</c:v>
                </c:pt>
                <c:pt idx="1707">
                  <c:v>37540</c:v>
                </c:pt>
                <c:pt idx="1708">
                  <c:v>37543</c:v>
                </c:pt>
                <c:pt idx="1709">
                  <c:v>37544</c:v>
                </c:pt>
                <c:pt idx="1710">
                  <c:v>37545</c:v>
                </c:pt>
                <c:pt idx="1711">
                  <c:v>37546</c:v>
                </c:pt>
                <c:pt idx="1712">
                  <c:v>37547</c:v>
                </c:pt>
                <c:pt idx="1713">
                  <c:v>37550</c:v>
                </c:pt>
                <c:pt idx="1714">
                  <c:v>37551</c:v>
                </c:pt>
                <c:pt idx="1715">
                  <c:v>37552</c:v>
                </c:pt>
                <c:pt idx="1716">
                  <c:v>37553</c:v>
                </c:pt>
                <c:pt idx="1717">
                  <c:v>37554</c:v>
                </c:pt>
                <c:pt idx="1718">
                  <c:v>37557</c:v>
                </c:pt>
                <c:pt idx="1719">
                  <c:v>37558</c:v>
                </c:pt>
                <c:pt idx="1720">
                  <c:v>37559</c:v>
                </c:pt>
                <c:pt idx="1721">
                  <c:v>37560</c:v>
                </c:pt>
                <c:pt idx="1722">
                  <c:v>37561</c:v>
                </c:pt>
                <c:pt idx="1723">
                  <c:v>37564</c:v>
                </c:pt>
                <c:pt idx="1724">
                  <c:v>37565</c:v>
                </c:pt>
                <c:pt idx="1725">
                  <c:v>37566</c:v>
                </c:pt>
                <c:pt idx="1726">
                  <c:v>37567</c:v>
                </c:pt>
                <c:pt idx="1727">
                  <c:v>37568</c:v>
                </c:pt>
                <c:pt idx="1728">
                  <c:v>37571</c:v>
                </c:pt>
                <c:pt idx="1729">
                  <c:v>37572</c:v>
                </c:pt>
                <c:pt idx="1730">
                  <c:v>37573</c:v>
                </c:pt>
                <c:pt idx="1731">
                  <c:v>37574</c:v>
                </c:pt>
                <c:pt idx="1732">
                  <c:v>37575</c:v>
                </c:pt>
                <c:pt idx="1733">
                  <c:v>37578</c:v>
                </c:pt>
                <c:pt idx="1734">
                  <c:v>37579</c:v>
                </c:pt>
                <c:pt idx="1735">
                  <c:v>37580</c:v>
                </c:pt>
                <c:pt idx="1736">
                  <c:v>37581</c:v>
                </c:pt>
                <c:pt idx="1737">
                  <c:v>37582</c:v>
                </c:pt>
                <c:pt idx="1738">
                  <c:v>37585</c:v>
                </c:pt>
                <c:pt idx="1739">
                  <c:v>37586</c:v>
                </c:pt>
                <c:pt idx="1740">
                  <c:v>37587</c:v>
                </c:pt>
                <c:pt idx="1741">
                  <c:v>37589</c:v>
                </c:pt>
                <c:pt idx="1742">
                  <c:v>37592</c:v>
                </c:pt>
                <c:pt idx="1743">
                  <c:v>37593</c:v>
                </c:pt>
                <c:pt idx="1744">
                  <c:v>37594</c:v>
                </c:pt>
                <c:pt idx="1745">
                  <c:v>37595</c:v>
                </c:pt>
                <c:pt idx="1746">
                  <c:v>37596</c:v>
                </c:pt>
                <c:pt idx="1747">
                  <c:v>37599</c:v>
                </c:pt>
                <c:pt idx="1748">
                  <c:v>37600</c:v>
                </c:pt>
                <c:pt idx="1749">
                  <c:v>37601</c:v>
                </c:pt>
                <c:pt idx="1750">
                  <c:v>37602</c:v>
                </c:pt>
                <c:pt idx="1751">
                  <c:v>37603</c:v>
                </c:pt>
                <c:pt idx="1752">
                  <c:v>37606</c:v>
                </c:pt>
                <c:pt idx="1753">
                  <c:v>37607</c:v>
                </c:pt>
                <c:pt idx="1754">
                  <c:v>37608</c:v>
                </c:pt>
                <c:pt idx="1755">
                  <c:v>37609</c:v>
                </c:pt>
                <c:pt idx="1756">
                  <c:v>37610</c:v>
                </c:pt>
                <c:pt idx="1757">
                  <c:v>37613</c:v>
                </c:pt>
                <c:pt idx="1758">
                  <c:v>37614</c:v>
                </c:pt>
                <c:pt idx="1759">
                  <c:v>37616</c:v>
                </c:pt>
                <c:pt idx="1760">
                  <c:v>37617</c:v>
                </c:pt>
                <c:pt idx="1761">
                  <c:v>37620</c:v>
                </c:pt>
                <c:pt idx="1762">
                  <c:v>37621</c:v>
                </c:pt>
                <c:pt idx="1763">
                  <c:v>37623</c:v>
                </c:pt>
                <c:pt idx="1764">
                  <c:v>37624</c:v>
                </c:pt>
                <c:pt idx="1765">
                  <c:v>37627</c:v>
                </c:pt>
                <c:pt idx="1766">
                  <c:v>37628</c:v>
                </c:pt>
                <c:pt idx="1767">
                  <c:v>37629</c:v>
                </c:pt>
                <c:pt idx="1768">
                  <c:v>37630</c:v>
                </c:pt>
                <c:pt idx="1769">
                  <c:v>37631</c:v>
                </c:pt>
                <c:pt idx="1770">
                  <c:v>37634</c:v>
                </c:pt>
                <c:pt idx="1771">
                  <c:v>37635</c:v>
                </c:pt>
                <c:pt idx="1772">
                  <c:v>37636</c:v>
                </c:pt>
                <c:pt idx="1773">
                  <c:v>37637</c:v>
                </c:pt>
                <c:pt idx="1774">
                  <c:v>37638</c:v>
                </c:pt>
                <c:pt idx="1775">
                  <c:v>37642</c:v>
                </c:pt>
                <c:pt idx="1776">
                  <c:v>37643</c:v>
                </c:pt>
                <c:pt idx="1777">
                  <c:v>37644</c:v>
                </c:pt>
                <c:pt idx="1778">
                  <c:v>37645</c:v>
                </c:pt>
                <c:pt idx="1779">
                  <c:v>37648</c:v>
                </c:pt>
                <c:pt idx="1780">
                  <c:v>37649</c:v>
                </c:pt>
                <c:pt idx="1781">
                  <c:v>37650</c:v>
                </c:pt>
                <c:pt idx="1782">
                  <c:v>37651</c:v>
                </c:pt>
                <c:pt idx="1783">
                  <c:v>37652</c:v>
                </c:pt>
                <c:pt idx="1784">
                  <c:v>37655</c:v>
                </c:pt>
                <c:pt idx="1785">
                  <c:v>37656</c:v>
                </c:pt>
                <c:pt idx="1786">
                  <c:v>37657</c:v>
                </c:pt>
                <c:pt idx="1787">
                  <c:v>37658</c:v>
                </c:pt>
                <c:pt idx="1788">
                  <c:v>37659</c:v>
                </c:pt>
                <c:pt idx="1789">
                  <c:v>37662</c:v>
                </c:pt>
                <c:pt idx="1790">
                  <c:v>37663</c:v>
                </c:pt>
                <c:pt idx="1791">
                  <c:v>37664</c:v>
                </c:pt>
                <c:pt idx="1792">
                  <c:v>37665</c:v>
                </c:pt>
                <c:pt idx="1793">
                  <c:v>37666</c:v>
                </c:pt>
                <c:pt idx="1794">
                  <c:v>37670</c:v>
                </c:pt>
                <c:pt idx="1795">
                  <c:v>37671</c:v>
                </c:pt>
                <c:pt idx="1796">
                  <c:v>37672</c:v>
                </c:pt>
                <c:pt idx="1797">
                  <c:v>37673</c:v>
                </c:pt>
                <c:pt idx="1798">
                  <c:v>37676</c:v>
                </c:pt>
                <c:pt idx="1799">
                  <c:v>37677</c:v>
                </c:pt>
                <c:pt idx="1800">
                  <c:v>37678</c:v>
                </c:pt>
                <c:pt idx="1801">
                  <c:v>37679</c:v>
                </c:pt>
                <c:pt idx="1802">
                  <c:v>37680</c:v>
                </c:pt>
                <c:pt idx="1803">
                  <c:v>37683</c:v>
                </c:pt>
                <c:pt idx="1804">
                  <c:v>37684</c:v>
                </c:pt>
                <c:pt idx="1805">
                  <c:v>37685</c:v>
                </c:pt>
                <c:pt idx="1806">
                  <c:v>37686</c:v>
                </c:pt>
                <c:pt idx="1807">
                  <c:v>37687</c:v>
                </c:pt>
                <c:pt idx="1808">
                  <c:v>37690</c:v>
                </c:pt>
                <c:pt idx="1809">
                  <c:v>37691</c:v>
                </c:pt>
                <c:pt idx="1810">
                  <c:v>37692</c:v>
                </c:pt>
                <c:pt idx="1811">
                  <c:v>37693</c:v>
                </c:pt>
                <c:pt idx="1812">
                  <c:v>37694</c:v>
                </c:pt>
                <c:pt idx="1813">
                  <c:v>37697</c:v>
                </c:pt>
                <c:pt idx="1814">
                  <c:v>37698</c:v>
                </c:pt>
                <c:pt idx="1815">
                  <c:v>37699</c:v>
                </c:pt>
                <c:pt idx="1816">
                  <c:v>37700</c:v>
                </c:pt>
                <c:pt idx="1817">
                  <c:v>37701</c:v>
                </c:pt>
                <c:pt idx="1818">
                  <c:v>37704</c:v>
                </c:pt>
                <c:pt idx="1819">
                  <c:v>37705</c:v>
                </c:pt>
                <c:pt idx="1820">
                  <c:v>37706</c:v>
                </c:pt>
                <c:pt idx="1821">
                  <c:v>37707</c:v>
                </c:pt>
                <c:pt idx="1822">
                  <c:v>37708</c:v>
                </c:pt>
                <c:pt idx="1823">
                  <c:v>37711</c:v>
                </c:pt>
                <c:pt idx="1824">
                  <c:v>37712</c:v>
                </c:pt>
                <c:pt idx="1825">
                  <c:v>37713</c:v>
                </c:pt>
                <c:pt idx="1826">
                  <c:v>37714</c:v>
                </c:pt>
                <c:pt idx="1827">
                  <c:v>37715</c:v>
                </c:pt>
                <c:pt idx="1828">
                  <c:v>37718</c:v>
                </c:pt>
                <c:pt idx="1829">
                  <c:v>37719</c:v>
                </c:pt>
                <c:pt idx="1830">
                  <c:v>37720</c:v>
                </c:pt>
                <c:pt idx="1831">
                  <c:v>37721</c:v>
                </c:pt>
                <c:pt idx="1832">
                  <c:v>37722</c:v>
                </c:pt>
                <c:pt idx="1833">
                  <c:v>37725</c:v>
                </c:pt>
                <c:pt idx="1834">
                  <c:v>37726</c:v>
                </c:pt>
                <c:pt idx="1835">
                  <c:v>37727</c:v>
                </c:pt>
                <c:pt idx="1836">
                  <c:v>37728</c:v>
                </c:pt>
                <c:pt idx="1837">
                  <c:v>37732</c:v>
                </c:pt>
                <c:pt idx="1838">
                  <c:v>37733</c:v>
                </c:pt>
                <c:pt idx="1839">
                  <c:v>37734</c:v>
                </c:pt>
                <c:pt idx="1840">
                  <c:v>37735</c:v>
                </c:pt>
                <c:pt idx="1841">
                  <c:v>37736</c:v>
                </c:pt>
                <c:pt idx="1842">
                  <c:v>37739</c:v>
                </c:pt>
                <c:pt idx="1843">
                  <c:v>37740</c:v>
                </c:pt>
                <c:pt idx="1844">
                  <c:v>37741</c:v>
                </c:pt>
                <c:pt idx="1845">
                  <c:v>37742</c:v>
                </c:pt>
                <c:pt idx="1846">
                  <c:v>37743</c:v>
                </c:pt>
                <c:pt idx="1847">
                  <c:v>37746</c:v>
                </c:pt>
                <c:pt idx="1848">
                  <c:v>37747</c:v>
                </c:pt>
                <c:pt idx="1849">
                  <c:v>37748</c:v>
                </c:pt>
                <c:pt idx="1850">
                  <c:v>37749</c:v>
                </c:pt>
                <c:pt idx="1851">
                  <c:v>37750</c:v>
                </c:pt>
                <c:pt idx="1852">
                  <c:v>37753</c:v>
                </c:pt>
                <c:pt idx="1853">
                  <c:v>37754</c:v>
                </c:pt>
                <c:pt idx="1854">
                  <c:v>37755</c:v>
                </c:pt>
                <c:pt idx="1855">
                  <c:v>37756</c:v>
                </c:pt>
                <c:pt idx="1856">
                  <c:v>37757</c:v>
                </c:pt>
                <c:pt idx="1857">
                  <c:v>37760</c:v>
                </c:pt>
                <c:pt idx="1858">
                  <c:v>37761</c:v>
                </c:pt>
                <c:pt idx="1859">
                  <c:v>37762</c:v>
                </c:pt>
                <c:pt idx="1860">
                  <c:v>37763</c:v>
                </c:pt>
                <c:pt idx="1861">
                  <c:v>37764</c:v>
                </c:pt>
                <c:pt idx="1862">
                  <c:v>37768</c:v>
                </c:pt>
                <c:pt idx="1863">
                  <c:v>37769</c:v>
                </c:pt>
                <c:pt idx="1864">
                  <c:v>37770</c:v>
                </c:pt>
                <c:pt idx="1865">
                  <c:v>37771</c:v>
                </c:pt>
                <c:pt idx="1866">
                  <c:v>37774</c:v>
                </c:pt>
                <c:pt idx="1867">
                  <c:v>37775</c:v>
                </c:pt>
                <c:pt idx="1868">
                  <c:v>37776</c:v>
                </c:pt>
                <c:pt idx="1869">
                  <c:v>37777</c:v>
                </c:pt>
                <c:pt idx="1870">
                  <c:v>37778</c:v>
                </c:pt>
                <c:pt idx="1871">
                  <c:v>37781</c:v>
                </c:pt>
                <c:pt idx="1872">
                  <c:v>37782</c:v>
                </c:pt>
                <c:pt idx="1873">
                  <c:v>37783</c:v>
                </c:pt>
                <c:pt idx="1874">
                  <c:v>37784</c:v>
                </c:pt>
                <c:pt idx="1875">
                  <c:v>37785</c:v>
                </c:pt>
                <c:pt idx="1876">
                  <c:v>37788</c:v>
                </c:pt>
                <c:pt idx="1877">
                  <c:v>37789</c:v>
                </c:pt>
                <c:pt idx="1878">
                  <c:v>37790</c:v>
                </c:pt>
                <c:pt idx="1879">
                  <c:v>37791</c:v>
                </c:pt>
                <c:pt idx="1880">
                  <c:v>37792</c:v>
                </c:pt>
                <c:pt idx="1881">
                  <c:v>37795</c:v>
                </c:pt>
                <c:pt idx="1882">
                  <c:v>37796</c:v>
                </c:pt>
                <c:pt idx="1883">
                  <c:v>37797</c:v>
                </c:pt>
                <c:pt idx="1884">
                  <c:v>37798</c:v>
                </c:pt>
                <c:pt idx="1885">
                  <c:v>37799</c:v>
                </c:pt>
                <c:pt idx="1886">
                  <c:v>37802</c:v>
                </c:pt>
                <c:pt idx="1887">
                  <c:v>37803</c:v>
                </c:pt>
                <c:pt idx="1888">
                  <c:v>37804</c:v>
                </c:pt>
                <c:pt idx="1889">
                  <c:v>37805</c:v>
                </c:pt>
                <c:pt idx="1890">
                  <c:v>37809</c:v>
                </c:pt>
                <c:pt idx="1891">
                  <c:v>37810</c:v>
                </c:pt>
                <c:pt idx="1892">
                  <c:v>37811</c:v>
                </c:pt>
                <c:pt idx="1893">
                  <c:v>37812</c:v>
                </c:pt>
                <c:pt idx="1894">
                  <c:v>37813</c:v>
                </c:pt>
                <c:pt idx="1895">
                  <c:v>37816</c:v>
                </c:pt>
                <c:pt idx="1896">
                  <c:v>37817</c:v>
                </c:pt>
                <c:pt idx="1897">
                  <c:v>37818</c:v>
                </c:pt>
                <c:pt idx="1898">
                  <c:v>37819</c:v>
                </c:pt>
                <c:pt idx="1899">
                  <c:v>37820</c:v>
                </c:pt>
                <c:pt idx="1900">
                  <c:v>37823</c:v>
                </c:pt>
                <c:pt idx="1901">
                  <c:v>37824</c:v>
                </c:pt>
                <c:pt idx="1902">
                  <c:v>37825</c:v>
                </c:pt>
                <c:pt idx="1903">
                  <c:v>37826</c:v>
                </c:pt>
                <c:pt idx="1904">
                  <c:v>37827</c:v>
                </c:pt>
                <c:pt idx="1905">
                  <c:v>37830</c:v>
                </c:pt>
                <c:pt idx="1906">
                  <c:v>37831</c:v>
                </c:pt>
                <c:pt idx="1907">
                  <c:v>37832</c:v>
                </c:pt>
                <c:pt idx="1908">
                  <c:v>37833</c:v>
                </c:pt>
                <c:pt idx="1909">
                  <c:v>37834</c:v>
                </c:pt>
                <c:pt idx="1910">
                  <c:v>37837</c:v>
                </c:pt>
                <c:pt idx="1911">
                  <c:v>37838</c:v>
                </c:pt>
                <c:pt idx="1912">
                  <c:v>37839</c:v>
                </c:pt>
                <c:pt idx="1913">
                  <c:v>37840</c:v>
                </c:pt>
                <c:pt idx="1914">
                  <c:v>37841</c:v>
                </c:pt>
                <c:pt idx="1915">
                  <c:v>37844</c:v>
                </c:pt>
                <c:pt idx="1916">
                  <c:v>37845</c:v>
                </c:pt>
                <c:pt idx="1917">
                  <c:v>37846</c:v>
                </c:pt>
                <c:pt idx="1918">
                  <c:v>37847</c:v>
                </c:pt>
                <c:pt idx="1919">
                  <c:v>37848</c:v>
                </c:pt>
                <c:pt idx="1920">
                  <c:v>37851</c:v>
                </c:pt>
                <c:pt idx="1921">
                  <c:v>37852</c:v>
                </c:pt>
                <c:pt idx="1922">
                  <c:v>37853</c:v>
                </c:pt>
                <c:pt idx="1923">
                  <c:v>37854</c:v>
                </c:pt>
                <c:pt idx="1924">
                  <c:v>37855</c:v>
                </c:pt>
                <c:pt idx="1925">
                  <c:v>37858</c:v>
                </c:pt>
                <c:pt idx="1926">
                  <c:v>37859</c:v>
                </c:pt>
                <c:pt idx="1927">
                  <c:v>37860</c:v>
                </c:pt>
                <c:pt idx="1928">
                  <c:v>37861</c:v>
                </c:pt>
                <c:pt idx="1929">
                  <c:v>37862</c:v>
                </c:pt>
                <c:pt idx="1930">
                  <c:v>37866</c:v>
                </c:pt>
                <c:pt idx="1931">
                  <c:v>37867</c:v>
                </c:pt>
                <c:pt idx="1932">
                  <c:v>37868</c:v>
                </c:pt>
                <c:pt idx="1933">
                  <c:v>37869</c:v>
                </c:pt>
                <c:pt idx="1934">
                  <c:v>37872</c:v>
                </c:pt>
                <c:pt idx="1935">
                  <c:v>37873</c:v>
                </c:pt>
                <c:pt idx="1936">
                  <c:v>37874</c:v>
                </c:pt>
                <c:pt idx="1937">
                  <c:v>37875</c:v>
                </c:pt>
                <c:pt idx="1938">
                  <c:v>37876</c:v>
                </c:pt>
                <c:pt idx="1939">
                  <c:v>37879</c:v>
                </c:pt>
                <c:pt idx="1940">
                  <c:v>37880</c:v>
                </c:pt>
                <c:pt idx="1941">
                  <c:v>37881</c:v>
                </c:pt>
                <c:pt idx="1942">
                  <c:v>37882</c:v>
                </c:pt>
                <c:pt idx="1943">
                  <c:v>37883</c:v>
                </c:pt>
                <c:pt idx="1944">
                  <c:v>37886</c:v>
                </c:pt>
                <c:pt idx="1945">
                  <c:v>37887</c:v>
                </c:pt>
                <c:pt idx="1946">
                  <c:v>37888</c:v>
                </c:pt>
                <c:pt idx="1947">
                  <c:v>37889</c:v>
                </c:pt>
                <c:pt idx="1948">
                  <c:v>37890</c:v>
                </c:pt>
                <c:pt idx="1949">
                  <c:v>37893</c:v>
                </c:pt>
                <c:pt idx="1950">
                  <c:v>37894</c:v>
                </c:pt>
                <c:pt idx="1951">
                  <c:v>37895</c:v>
                </c:pt>
                <c:pt idx="1952">
                  <c:v>37896</c:v>
                </c:pt>
                <c:pt idx="1953">
                  <c:v>37897</c:v>
                </c:pt>
                <c:pt idx="1954">
                  <c:v>37900</c:v>
                </c:pt>
                <c:pt idx="1955">
                  <c:v>37901</c:v>
                </c:pt>
                <c:pt idx="1956">
                  <c:v>37902</c:v>
                </c:pt>
                <c:pt idx="1957">
                  <c:v>37903</c:v>
                </c:pt>
                <c:pt idx="1958">
                  <c:v>37904</c:v>
                </c:pt>
                <c:pt idx="1959">
                  <c:v>37907</c:v>
                </c:pt>
                <c:pt idx="1960">
                  <c:v>37908</c:v>
                </c:pt>
                <c:pt idx="1961">
                  <c:v>37909</c:v>
                </c:pt>
                <c:pt idx="1962">
                  <c:v>37910</c:v>
                </c:pt>
                <c:pt idx="1963">
                  <c:v>37911</c:v>
                </c:pt>
                <c:pt idx="1964">
                  <c:v>37914</c:v>
                </c:pt>
                <c:pt idx="1965">
                  <c:v>37915</c:v>
                </c:pt>
                <c:pt idx="1966">
                  <c:v>37916</c:v>
                </c:pt>
                <c:pt idx="1967">
                  <c:v>37917</c:v>
                </c:pt>
                <c:pt idx="1968">
                  <c:v>37918</c:v>
                </c:pt>
                <c:pt idx="1969">
                  <c:v>37921</c:v>
                </c:pt>
                <c:pt idx="1970">
                  <c:v>37922</c:v>
                </c:pt>
                <c:pt idx="1971">
                  <c:v>37923</c:v>
                </c:pt>
                <c:pt idx="1972">
                  <c:v>37924</c:v>
                </c:pt>
                <c:pt idx="1973">
                  <c:v>37925</c:v>
                </c:pt>
                <c:pt idx="1974">
                  <c:v>37928</c:v>
                </c:pt>
                <c:pt idx="1975">
                  <c:v>37929</c:v>
                </c:pt>
                <c:pt idx="1976">
                  <c:v>37930</c:v>
                </c:pt>
                <c:pt idx="1977">
                  <c:v>37931</c:v>
                </c:pt>
                <c:pt idx="1978">
                  <c:v>37932</c:v>
                </c:pt>
                <c:pt idx="1979">
                  <c:v>37935</c:v>
                </c:pt>
                <c:pt idx="1980">
                  <c:v>37936</c:v>
                </c:pt>
                <c:pt idx="1981">
                  <c:v>37937</c:v>
                </c:pt>
                <c:pt idx="1982">
                  <c:v>37938</c:v>
                </c:pt>
                <c:pt idx="1983">
                  <c:v>37939</c:v>
                </c:pt>
                <c:pt idx="1984">
                  <c:v>37942</c:v>
                </c:pt>
                <c:pt idx="1985">
                  <c:v>37943</c:v>
                </c:pt>
                <c:pt idx="1986">
                  <c:v>37944</c:v>
                </c:pt>
                <c:pt idx="1987">
                  <c:v>37945</c:v>
                </c:pt>
                <c:pt idx="1988">
                  <c:v>37946</c:v>
                </c:pt>
                <c:pt idx="1989">
                  <c:v>37949</c:v>
                </c:pt>
                <c:pt idx="1990">
                  <c:v>37950</c:v>
                </c:pt>
                <c:pt idx="1991">
                  <c:v>37951</c:v>
                </c:pt>
                <c:pt idx="1992">
                  <c:v>37953</c:v>
                </c:pt>
                <c:pt idx="1993">
                  <c:v>37956</c:v>
                </c:pt>
                <c:pt idx="1994">
                  <c:v>37957</c:v>
                </c:pt>
                <c:pt idx="1995">
                  <c:v>37958</c:v>
                </c:pt>
                <c:pt idx="1996">
                  <c:v>37959</c:v>
                </c:pt>
                <c:pt idx="1997">
                  <c:v>37960</c:v>
                </c:pt>
                <c:pt idx="1998">
                  <c:v>37963</c:v>
                </c:pt>
                <c:pt idx="1999">
                  <c:v>37964</c:v>
                </c:pt>
                <c:pt idx="2000">
                  <c:v>37965</c:v>
                </c:pt>
                <c:pt idx="2001">
                  <c:v>37966</c:v>
                </c:pt>
                <c:pt idx="2002">
                  <c:v>37967</c:v>
                </c:pt>
                <c:pt idx="2003">
                  <c:v>37970</c:v>
                </c:pt>
                <c:pt idx="2004">
                  <c:v>37971</c:v>
                </c:pt>
                <c:pt idx="2005">
                  <c:v>37972</c:v>
                </c:pt>
                <c:pt idx="2006">
                  <c:v>37973</c:v>
                </c:pt>
                <c:pt idx="2007">
                  <c:v>37974</c:v>
                </c:pt>
                <c:pt idx="2008">
                  <c:v>37977</c:v>
                </c:pt>
                <c:pt idx="2009">
                  <c:v>37978</c:v>
                </c:pt>
                <c:pt idx="2010">
                  <c:v>37979</c:v>
                </c:pt>
                <c:pt idx="2011">
                  <c:v>37981</c:v>
                </c:pt>
                <c:pt idx="2012">
                  <c:v>37984</c:v>
                </c:pt>
                <c:pt idx="2013">
                  <c:v>37985</c:v>
                </c:pt>
                <c:pt idx="2014">
                  <c:v>37986</c:v>
                </c:pt>
                <c:pt idx="2015">
                  <c:v>37988</c:v>
                </c:pt>
                <c:pt idx="2016">
                  <c:v>37991</c:v>
                </c:pt>
                <c:pt idx="2017">
                  <c:v>37992</c:v>
                </c:pt>
                <c:pt idx="2018">
                  <c:v>37993</c:v>
                </c:pt>
                <c:pt idx="2019">
                  <c:v>37994</c:v>
                </c:pt>
                <c:pt idx="2020">
                  <c:v>37995</c:v>
                </c:pt>
                <c:pt idx="2021">
                  <c:v>37998</c:v>
                </c:pt>
                <c:pt idx="2022">
                  <c:v>37999</c:v>
                </c:pt>
                <c:pt idx="2023">
                  <c:v>38000</c:v>
                </c:pt>
                <c:pt idx="2024">
                  <c:v>38001</c:v>
                </c:pt>
                <c:pt idx="2025">
                  <c:v>38002</c:v>
                </c:pt>
                <c:pt idx="2026">
                  <c:v>38006</c:v>
                </c:pt>
                <c:pt idx="2027">
                  <c:v>38007</c:v>
                </c:pt>
                <c:pt idx="2028">
                  <c:v>38008</c:v>
                </c:pt>
                <c:pt idx="2029">
                  <c:v>38009</c:v>
                </c:pt>
                <c:pt idx="2030">
                  <c:v>38012</c:v>
                </c:pt>
                <c:pt idx="2031">
                  <c:v>38013</c:v>
                </c:pt>
                <c:pt idx="2032">
                  <c:v>38014</c:v>
                </c:pt>
                <c:pt idx="2033">
                  <c:v>38015</c:v>
                </c:pt>
                <c:pt idx="2034">
                  <c:v>38016</c:v>
                </c:pt>
                <c:pt idx="2035">
                  <c:v>38019</c:v>
                </c:pt>
                <c:pt idx="2036">
                  <c:v>38020</c:v>
                </c:pt>
                <c:pt idx="2037">
                  <c:v>38021</c:v>
                </c:pt>
                <c:pt idx="2038">
                  <c:v>38022</c:v>
                </c:pt>
                <c:pt idx="2039">
                  <c:v>38023</c:v>
                </c:pt>
                <c:pt idx="2040">
                  <c:v>38026</c:v>
                </c:pt>
                <c:pt idx="2041">
                  <c:v>38027</c:v>
                </c:pt>
                <c:pt idx="2042">
                  <c:v>38028</c:v>
                </c:pt>
                <c:pt idx="2043">
                  <c:v>38029</c:v>
                </c:pt>
                <c:pt idx="2044">
                  <c:v>38030</c:v>
                </c:pt>
                <c:pt idx="2045">
                  <c:v>38034</c:v>
                </c:pt>
                <c:pt idx="2046">
                  <c:v>38035</c:v>
                </c:pt>
                <c:pt idx="2047">
                  <c:v>38036</c:v>
                </c:pt>
                <c:pt idx="2048">
                  <c:v>38037</c:v>
                </c:pt>
                <c:pt idx="2049">
                  <c:v>38040</c:v>
                </c:pt>
                <c:pt idx="2050">
                  <c:v>38041</c:v>
                </c:pt>
                <c:pt idx="2051">
                  <c:v>38042</c:v>
                </c:pt>
                <c:pt idx="2052">
                  <c:v>38043</c:v>
                </c:pt>
                <c:pt idx="2053">
                  <c:v>38044</c:v>
                </c:pt>
                <c:pt idx="2054">
                  <c:v>38047</c:v>
                </c:pt>
                <c:pt idx="2055">
                  <c:v>38048</c:v>
                </c:pt>
                <c:pt idx="2056">
                  <c:v>38049</c:v>
                </c:pt>
                <c:pt idx="2057">
                  <c:v>38050</c:v>
                </c:pt>
                <c:pt idx="2058">
                  <c:v>38051</c:v>
                </c:pt>
                <c:pt idx="2059">
                  <c:v>38054</c:v>
                </c:pt>
                <c:pt idx="2060">
                  <c:v>38055</c:v>
                </c:pt>
                <c:pt idx="2061">
                  <c:v>38056</c:v>
                </c:pt>
                <c:pt idx="2062">
                  <c:v>38057</c:v>
                </c:pt>
                <c:pt idx="2063">
                  <c:v>38058</c:v>
                </c:pt>
                <c:pt idx="2064">
                  <c:v>38061</c:v>
                </c:pt>
                <c:pt idx="2065">
                  <c:v>38062</c:v>
                </c:pt>
                <c:pt idx="2066">
                  <c:v>38063</c:v>
                </c:pt>
                <c:pt idx="2067">
                  <c:v>38064</c:v>
                </c:pt>
                <c:pt idx="2068">
                  <c:v>38065</c:v>
                </c:pt>
                <c:pt idx="2069">
                  <c:v>38068</c:v>
                </c:pt>
                <c:pt idx="2070">
                  <c:v>38069</c:v>
                </c:pt>
                <c:pt idx="2071">
                  <c:v>38070</c:v>
                </c:pt>
                <c:pt idx="2072">
                  <c:v>38071</c:v>
                </c:pt>
                <c:pt idx="2073">
                  <c:v>38072</c:v>
                </c:pt>
                <c:pt idx="2074">
                  <c:v>38075</c:v>
                </c:pt>
                <c:pt idx="2075">
                  <c:v>38076</c:v>
                </c:pt>
                <c:pt idx="2076">
                  <c:v>38077</c:v>
                </c:pt>
                <c:pt idx="2077">
                  <c:v>38078</c:v>
                </c:pt>
                <c:pt idx="2078">
                  <c:v>38079</c:v>
                </c:pt>
                <c:pt idx="2079">
                  <c:v>38082</c:v>
                </c:pt>
                <c:pt idx="2080">
                  <c:v>38083</c:v>
                </c:pt>
                <c:pt idx="2081">
                  <c:v>38084</c:v>
                </c:pt>
                <c:pt idx="2082">
                  <c:v>38085</c:v>
                </c:pt>
                <c:pt idx="2083">
                  <c:v>38089</c:v>
                </c:pt>
                <c:pt idx="2084">
                  <c:v>38090</c:v>
                </c:pt>
                <c:pt idx="2085">
                  <c:v>38091</c:v>
                </c:pt>
                <c:pt idx="2086">
                  <c:v>38092</c:v>
                </c:pt>
                <c:pt idx="2087">
                  <c:v>38093</c:v>
                </c:pt>
                <c:pt idx="2088">
                  <c:v>38096</c:v>
                </c:pt>
                <c:pt idx="2089">
                  <c:v>38097</c:v>
                </c:pt>
                <c:pt idx="2090">
                  <c:v>38098</c:v>
                </c:pt>
                <c:pt idx="2091">
                  <c:v>38099</c:v>
                </c:pt>
                <c:pt idx="2092">
                  <c:v>38100</c:v>
                </c:pt>
                <c:pt idx="2093">
                  <c:v>38103</c:v>
                </c:pt>
                <c:pt idx="2094">
                  <c:v>38104</c:v>
                </c:pt>
                <c:pt idx="2095">
                  <c:v>38105</c:v>
                </c:pt>
                <c:pt idx="2096">
                  <c:v>38106</c:v>
                </c:pt>
                <c:pt idx="2097">
                  <c:v>38107</c:v>
                </c:pt>
                <c:pt idx="2098">
                  <c:v>38110</c:v>
                </c:pt>
                <c:pt idx="2099">
                  <c:v>38111</c:v>
                </c:pt>
                <c:pt idx="2100">
                  <c:v>38112</c:v>
                </c:pt>
                <c:pt idx="2101">
                  <c:v>38113</c:v>
                </c:pt>
                <c:pt idx="2102">
                  <c:v>38114</c:v>
                </c:pt>
                <c:pt idx="2103">
                  <c:v>38117</c:v>
                </c:pt>
                <c:pt idx="2104">
                  <c:v>38118</c:v>
                </c:pt>
                <c:pt idx="2105">
                  <c:v>38119</c:v>
                </c:pt>
                <c:pt idx="2106">
                  <c:v>38120</c:v>
                </c:pt>
                <c:pt idx="2107">
                  <c:v>38121</c:v>
                </c:pt>
                <c:pt idx="2108">
                  <c:v>38124</c:v>
                </c:pt>
                <c:pt idx="2109">
                  <c:v>38125</c:v>
                </c:pt>
                <c:pt idx="2110">
                  <c:v>38126</c:v>
                </c:pt>
                <c:pt idx="2111">
                  <c:v>38127</c:v>
                </c:pt>
                <c:pt idx="2112">
                  <c:v>38128</c:v>
                </c:pt>
                <c:pt idx="2113">
                  <c:v>38131</c:v>
                </c:pt>
                <c:pt idx="2114">
                  <c:v>38132</c:v>
                </c:pt>
                <c:pt idx="2115">
                  <c:v>38133</c:v>
                </c:pt>
                <c:pt idx="2116">
                  <c:v>38134</c:v>
                </c:pt>
                <c:pt idx="2117">
                  <c:v>38135</c:v>
                </c:pt>
                <c:pt idx="2118">
                  <c:v>38139</c:v>
                </c:pt>
                <c:pt idx="2119">
                  <c:v>38140</c:v>
                </c:pt>
                <c:pt idx="2120">
                  <c:v>38141</c:v>
                </c:pt>
                <c:pt idx="2121">
                  <c:v>38142</c:v>
                </c:pt>
                <c:pt idx="2122">
                  <c:v>38145</c:v>
                </c:pt>
                <c:pt idx="2123">
                  <c:v>38146</c:v>
                </c:pt>
                <c:pt idx="2124">
                  <c:v>38147</c:v>
                </c:pt>
                <c:pt idx="2125">
                  <c:v>38148</c:v>
                </c:pt>
                <c:pt idx="2126">
                  <c:v>38152</c:v>
                </c:pt>
                <c:pt idx="2127">
                  <c:v>38153</c:v>
                </c:pt>
                <c:pt idx="2128">
                  <c:v>38154</c:v>
                </c:pt>
                <c:pt idx="2129">
                  <c:v>38155</c:v>
                </c:pt>
                <c:pt idx="2130">
                  <c:v>38156</c:v>
                </c:pt>
                <c:pt idx="2131">
                  <c:v>38159</c:v>
                </c:pt>
                <c:pt idx="2132">
                  <c:v>38160</c:v>
                </c:pt>
                <c:pt idx="2133">
                  <c:v>38161</c:v>
                </c:pt>
                <c:pt idx="2134">
                  <c:v>38162</c:v>
                </c:pt>
                <c:pt idx="2135">
                  <c:v>38163</c:v>
                </c:pt>
                <c:pt idx="2136">
                  <c:v>38166</c:v>
                </c:pt>
                <c:pt idx="2137">
                  <c:v>38167</c:v>
                </c:pt>
                <c:pt idx="2138">
                  <c:v>38168</c:v>
                </c:pt>
                <c:pt idx="2139">
                  <c:v>38169</c:v>
                </c:pt>
                <c:pt idx="2140">
                  <c:v>38170</c:v>
                </c:pt>
                <c:pt idx="2141">
                  <c:v>38174</c:v>
                </c:pt>
                <c:pt idx="2142">
                  <c:v>38175</c:v>
                </c:pt>
                <c:pt idx="2143">
                  <c:v>38176</c:v>
                </c:pt>
                <c:pt idx="2144">
                  <c:v>38177</c:v>
                </c:pt>
                <c:pt idx="2145">
                  <c:v>38180</c:v>
                </c:pt>
                <c:pt idx="2146">
                  <c:v>38181</c:v>
                </c:pt>
                <c:pt idx="2147">
                  <c:v>38182</c:v>
                </c:pt>
                <c:pt idx="2148">
                  <c:v>38183</c:v>
                </c:pt>
                <c:pt idx="2149">
                  <c:v>38184</c:v>
                </c:pt>
                <c:pt idx="2150">
                  <c:v>38187</c:v>
                </c:pt>
                <c:pt idx="2151">
                  <c:v>38188</c:v>
                </c:pt>
                <c:pt idx="2152">
                  <c:v>38189</c:v>
                </c:pt>
                <c:pt idx="2153">
                  <c:v>38190</c:v>
                </c:pt>
                <c:pt idx="2154">
                  <c:v>38191</c:v>
                </c:pt>
                <c:pt idx="2155">
                  <c:v>38194</c:v>
                </c:pt>
                <c:pt idx="2156">
                  <c:v>38195</c:v>
                </c:pt>
                <c:pt idx="2157">
                  <c:v>38196</c:v>
                </c:pt>
                <c:pt idx="2158">
                  <c:v>38197</c:v>
                </c:pt>
                <c:pt idx="2159">
                  <c:v>38198</c:v>
                </c:pt>
                <c:pt idx="2160">
                  <c:v>38201</c:v>
                </c:pt>
                <c:pt idx="2161">
                  <c:v>38202</c:v>
                </c:pt>
                <c:pt idx="2162">
                  <c:v>38203</c:v>
                </c:pt>
                <c:pt idx="2163">
                  <c:v>38204</c:v>
                </c:pt>
                <c:pt idx="2164">
                  <c:v>38205</c:v>
                </c:pt>
                <c:pt idx="2165">
                  <c:v>38208</c:v>
                </c:pt>
                <c:pt idx="2166">
                  <c:v>38209</c:v>
                </c:pt>
                <c:pt idx="2167">
                  <c:v>38210</c:v>
                </c:pt>
                <c:pt idx="2168">
                  <c:v>38211</c:v>
                </c:pt>
                <c:pt idx="2169">
                  <c:v>38212</c:v>
                </c:pt>
                <c:pt idx="2170">
                  <c:v>38215</c:v>
                </c:pt>
                <c:pt idx="2171">
                  <c:v>38216</c:v>
                </c:pt>
                <c:pt idx="2172">
                  <c:v>38217</c:v>
                </c:pt>
                <c:pt idx="2173">
                  <c:v>38218</c:v>
                </c:pt>
                <c:pt idx="2174">
                  <c:v>38219</c:v>
                </c:pt>
                <c:pt idx="2175">
                  <c:v>38222</c:v>
                </c:pt>
                <c:pt idx="2176">
                  <c:v>38223</c:v>
                </c:pt>
                <c:pt idx="2177">
                  <c:v>38224</c:v>
                </c:pt>
                <c:pt idx="2178">
                  <c:v>38225</c:v>
                </c:pt>
                <c:pt idx="2179">
                  <c:v>38226</c:v>
                </c:pt>
                <c:pt idx="2180">
                  <c:v>38229</c:v>
                </c:pt>
                <c:pt idx="2181">
                  <c:v>38230</c:v>
                </c:pt>
                <c:pt idx="2182">
                  <c:v>38231</c:v>
                </c:pt>
                <c:pt idx="2183">
                  <c:v>38232</c:v>
                </c:pt>
                <c:pt idx="2184">
                  <c:v>38233</c:v>
                </c:pt>
                <c:pt idx="2185">
                  <c:v>38237</c:v>
                </c:pt>
                <c:pt idx="2186">
                  <c:v>38238</c:v>
                </c:pt>
                <c:pt idx="2187">
                  <c:v>38239</c:v>
                </c:pt>
                <c:pt idx="2188">
                  <c:v>38240</c:v>
                </c:pt>
                <c:pt idx="2189">
                  <c:v>38243</c:v>
                </c:pt>
                <c:pt idx="2190">
                  <c:v>38244</c:v>
                </c:pt>
                <c:pt idx="2191">
                  <c:v>38245</c:v>
                </c:pt>
                <c:pt idx="2192">
                  <c:v>38246</c:v>
                </c:pt>
                <c:pt idx="2193">
                  <c:v>38247</c:v>
                </c:pt>
                <c:pt idx="2194">
                  <c:v>38250</c:v>
                </c:pt>
                <c:pt idx="2195">
                  <c:v>38251</c:v>
                </c:pt>
                <c:pt idx="2196">
                  <c:v>38252</c:v>
                </c:pt>
                <c:pt idx="2197">
                  <c:v>38253</c:v>
                </c:pt>
                <c:pt idx="2198">
                  <c:v>38254</c:v>
                </c:pt>
                <c:pt idx="2199">
                  <c:v>38257</c:v>
                </c:pt>
                <c:pt idx="2200">
                  <c:v>38258</c:v>
                </c:pt>
                <c:pt idx="2201">
                  <c:v>38259</c:v>
                </c:pt>
                <c:pt idx="2202">
                  <c:v>38260</c:v>
                </c:pt>
                <c:pt idx="2203">
                  <c:v>38261</c:v>
                </c:pt>
                <c:pt idx="2204">
                  <c:v>38264</c:v>
                </c:pt>
                <c:pt idx="2205">
                  <c:v>38265</c:v>
                </c:pt>
                <c:pt idx="2206">
                  <c:v>38266</c:v>
                </c:pt>
                <c:pt idx="2207">
                  <c:v>38267</c:v>
                </c:pt>
                <c:pt idx="2208">
                  <c:v>38268</c:v>
                </c:pt>
                <c:pt idx="2209">
                  <c:v>38271</c:v>
                </c:pt>
                <c:pt idx="2210">
                  <c:v>38272</c:v>
                </c:pt>
                <c:pt idx="2211">
                  <c:v>38273</c:v>
                </c:pt>
                <c:pt idx="2212">
                  <c:v>38274</c:v>
                </c:pt>
                <c:pt idx="2213">
                  <c:v>38275</c:v>
                </c:pt>
                <c:pt idx="2214">
                  <c:v>38278</c:v>
                </c:pt>
                <c:pt idx="2215">
                  <c:v>38279</c:v>
                </c:pt>
                <c:pt idx="2216">
                  <c:v>38280</c:v>
                </c:pt>
                <c:pt idx="2217">
                  <c:v>38281</c:v>
                </c:pt>
                <c:pt idx="2218">
                  <c:v>38282</c:v>
                </c:pt>
                <c:pt idx="2219">
                  <c:v>38285</c:v>
                </c:pt>
                <c:pt idx="2220">
                  <c:v>38286</c:v>
                </c:pt>
                <c:pt idx="2221">
                  <c:v>38287</c:v>
                </c:pt>
                <c:pt idx="2222">
                  <c:v>38288</c:v>
                </c:pt>
                <c:pt idx="2223">
                  <c:v>38289</c:v>
                </c:pt>
                <c:pt idx="2224">
                  <c:v>38292</c:v>
                </c:pt>
                <c:pt idx="2225">
                  <c:v>38293</c:v>
                </c:pt>
                <c:pt idx="2226">
                  <c:v>38294</c:v>
                </c:pt>
                <c:pt idx="2227">
                  <c:v>38295</c:v>
                </c:pt>
                <c:pt idx="2228">
                  <c:v>38296</c:v>
                </c:pt>
                <c:pt idx="2229">
                  <c:v>38299</c:v>
                </c:pt>
                <c:pt idx="2230">
                  <c:v>38300</c:v>
                </c:pt>
                <c:pt idx="2231">
                  <c:v>38301</c:v>
                </c:pt>
                <c:pt idx="2232">
                  <c:v>38302</c:v>
                </c:pt>
                <c:pt idx="2233">
                  <c:v>38303</c:v>
                </c:pt>
                <c:pt idx="2234">
                  <c:v>38306</c:v>
                </c:pt>
                <c:pt idx="2235">
                  <c:v>38307</c:v>
                </c:pt>
                <c:pt idx="2236">
                  <c:v>38308</c:v>
                </c:pt>
                <c:pt idx="2237">
                  <c:v>38309</c:v>
                </c:pt>
                <c:pt idx="2238">
                  <c:v>38310</c:v>
                </c:pt>
                <c:pt idx="2239">
                  <c:v>38313</c:v>
                </c:pt>
                <c:pt idx="2240">
                  <c:v>38314</c:v>
                </c:pt>
                <c:pt idx="2241">
                  <c:v>38315</c:v>
                </c:pt>
                <c:pt idx="2242">
                  <c:v>38317</c:v>
                </c:pt>
                <c:pt idx="2243">
                  <c:v>38320</c:v>
                </c:pt>
                <c:pt idx="2244">
                  <c:v>38321</c:v>
                </c:pt>
                <c:pt idx="2245">
                  <c:v>38322</c:v>
                </c:pt>
                <c:pt idx="2246">
                  <c:v>38323</c:v>
                </c:pt>
                <c:pt idx="2247">
                  <c:v>38324</c:v>
                </c:pt>
                <c:pt idx="2248">
                  <c:v>38327</c:v>
                </c:pt>
                <c:pt idx="2249">
                  <c:v>38328</c:v>
                </c:pt>
                <c:pt idx="2250">
                  <c:v>38329</c:v>
                </c:pt>
                <c:pt idx="2251">
                  <c:v>38330</c:v>
                </c:pt>
                <c:pt idx="2252">
                  <c:v>38331</c:v>
                </c:pt>
                <c:pt idx="2253">
                  <c:v>38334</c:v>
                </c:pt>
                <c:pt idx="2254">
                  <c:v>38335</c:v>
                </c:pt>
                <c:pt idx="2255">
                  <c:v>38336</c:v>
                </c:pt>
                <c:pt idx="2256">
                  <c:v>38337</c:v>
                </c:pt>
                <c:pt idx="2257">
                  <c:v>38338</c:v>
                </c:pt>
                <c:pt idx="2258">
                  <c:v>38341</c:v>
                </c:pt>
                <c:pt idx="2259">
                  <c:v>38342</c:v>
                </c:pt>
                <c:pt idx="2260">
                  <c:v>38343</c:v>
                </c:pt>
                <c:pt idx="2261">
                  <c:v>38344</c:v>
                </c:pt>
                <c:pt idx="2262">
                  <c:v>38348</c:v>
                </c:pt>
                <c:pt idx="2263">
                  <c:v>38349</c:v>
                </c:pt>
                <c:pt idx="2264">
                  <c:v>38350</c:v>
                </c:pt>
                <c:pt idx="2265">
                  <c:v>38351</c:v>
                </c:pt>
                <c:pt idx="2266">
                  <c:v>38352</c:v>
                </c:pt>
                <c:pt idx="2267">
                  <c:v>38355</c:v>
                </c:pt>
                <c:pt idx="2268">
                  <c:v>38356</c:v>
                </c:pt>
                <c:pt idx="2269">
                  <c:v>38357</c:v>
                </c:pt>
                <c:pt idx="2270">
                  <c:v>38358</c:v>
                </c:pt>
                <c:pt idx="2271">
                  <c:v>38359</c:v>
                </c:pt>
                <c:pt idx="2272">
                  <c:v>38362</c:v>
                </c:pt>
                <c:pt idx="2273">
                  <c:v>38363</c:v>
                </c:pt>
                <c:pt idx="2274">
                  <c:v>38364</c:v>
                </c:pt>
                <c:pt idx="2275">
                  <c:v>38365</c:v>
                </c:pt>
                <c:pt idx="2276">
                  <c:v>38366</c:v>
                </c:pt>
                <c:pt idx="2277">
                  <c:v>38370</c:v>
                </c:pt>
                <c:pt idx="2278">
                  <c:v>38371</c:v>
                </c:pt>
                <c:pt idx="2279">
                  <c:v>38372</c:v>
                </c:pt>
                <c:pt idx="2280">
                  <c:v>38373</c:v>
                </c:pt>
                <c:pt idx="2281">
                  <c:v>38376</c:v>
                </c:pt>
                <c:pt idx="2282">
                  <c:v>38377</c:v>
                </c:pt>
                <c:pt idx="2283">
                  <c:v>38378</c:v>
                </c:pt>
                <c:pt idx="2284">
                  <c:v>38379</c:v>
                </c:pt>
                <c:pt idx="2285">
                  <c:v>38380</c:v>
                </c:pt>
                <c:pt idx="2286">
                  <c:v>38383</c:v>
                </c:pt>
                <c:pt idx="2287">
                  <c:v>38384</c:v>
                </c:pt>
                <c:pt idx="2288">
                  <c:v>38385</c:v>
                </c:pt>
                <c:pt idx="2289">
                  <c:v>38386</c:v>
                </c:pt>
                <c:pt idx="2290">
                  <c:v>38387</c:v>
                </c:pt>
                <c:pt idx="2291">
                  <c:v>38390</c:v>
                </c:pt>
                <c:pt idx="2292">
                  <c:v>38391</c:v>
                </c:pt>
                <c:pt idx="2293">
                  <c:v>38392</c:v>
                </c:pt>
                <c:pt idx="2294">
                  <c:v>38393</c:v>
                </c:pt>
                <c:pt idx="2295">
                  <c:v>38394</c:v>
                </c:pt>
                <c:pt idx="2296">
                  <c:v>38397</c:v>
                </c:pt>
                <c:pt idx="2297">
                  <c:v>38398</c:v>
                </c:pt>
                <c:pt idx="2298">
                  <c:v>38399</c:v>
                </c:pt>
                <c:pt idx="2299">
                  <c:v>38400</c:v>
                </c:pt>
                <c:pt idx="2300">
                  <c:v>38401</c:v>
                </c:pt>
                <c:pt idx="2301">
                  <c:v>38405</c:v>
                </c:pt>
                <c:pt idx="2302">
                  <c:v>38406</c:v>
                </c:pt>
                <c:pt idx="2303">
                  <c:v>38407</c:v>
                </c:pt>
                <c:pt idx="2304">
                  <c:v>38408</c:v>
                </c:pt>
                <c:pt idx="2305">
                  <c:v>38411</c:v>
                </c:pt>
                <c:pt idx="2306">
                  <c:v>38412</c:v>
                </c:pt>
                <c:pt idx="2307">
                  <c:v>38413</c:v>
                </c:pt>
                <c:pt idx="2308">
                  <c:v>38414</c:v>
                </c:pt>
                <c:pt idx="2309">
                  <c:v>38415</c:v>
                </c:pt>
                <c:pt idx="2310">
                  <c:v>38418</c:v>
                </c:pt>
                <c:pt idx="2311">
                  <c:v>38419</c:v>
                </c:pt>
                <c:pt idx="2312">
                  <c:v>38420</c:v>
                </c:pt>
                <c:pt idx="2313">
                  <c:v>38421</c:v>
                </c:pt>
                <c:pt idx="2314">
                  <c:v>38422</c:v>
                </c:pt>
                <c:pt idx="2315">
                  <c:v>38425</c:v>
                </c:pt>
                <c:pt idx="2316">
                  <c:v>38426</c:v>
                </c:pt>
                <c:pt idx="2317">
                  <c:v>38427</c:v>
                </c:pt>
                <c:pt idx="2318">
                  <c:v>38428</c:v>
                </c:pt>
                <c:pt idx="2319">
                  <c:v>38429</c:v>
                </c:pt>
                <c:pt idx="2320">
                  <c:v>38432</c:v>
                </c:pt>
                <c:pt idx="2321">
                  <c:v>38433</c:v>
                </c:pt>
                <c:pt idx="2322">
                  <c:v>38434</c:v>
                </c:pt>
                <c:pt idx="2323">
                  <c:v>38435</c:v>
                </c:pt>
                <c:pt idx="2324">
                  <c:v>38439</c:v>
                </c:pt>
                <c:pt idx="2325">
                  <c:v>38440</c:v>
                </c:pt>
                <c:pt idx="2326">
                  <c:v>38441</c:v>
                </c:pt>
                <c:pt idx="2327">
                  <c:v>38442</c:v>
                </c:pt>
                <c:pt idx="2328">
                  <c:v>38443</c:v>
                </c:pt>
                <c:pt idx="2329">
                  <c:v>38446</c:v>
                </c:pt>
                <c:pt idx="2330">
                  <c:v>38447</c:v>
                </c:pt>
                <c:pt idx="2331">
                  <c:v>38448</c:v>
                </c:pt>
                <c:pt idx="2332">
                  <c:v>38449</c:v>
                </c:pt>
                <c:pt idx="2333">
                  <c:v>38450</c:v>
                </c:pt>
                <c:pt idx="2334">
                  <c:v>38453</c:v>
                </c:pt>
                <c:pt idx="2335">
                  <c:v>38454</c:v>
                </c:pt>
                <c:pt idx="2336">
                  <c:v>38455</c:v>
                </c:pt>
                <c:pt idx="2337">
                  <c:v>38456</c:v>
                </c:pt>
                <c:pt idx="2338">
                  <c:v>38457</c:v>
                </c:pt>
                <c:pt idx="2339">
                  <c:v>38460</c:v>
                </c:pt>
                <c:pt idx="2340">
                  <c:v>38461</c:v>
                </c:pt>
                <c:pt idx="2341">
                  <c:v>38462</c:v>
                </c:pt>
                <c:pt idx="2342">
                  <c:v>38463</c:v>
                </c:pt>
                <c:pt idx="2343">
                  <c:v>38464</c:v>
                </c:pt>
                <c:pt idx="2344">
                  <c:v>38467</c:v>
                </c:pt>
                <c:pt idx="2345">
                  <c:v>38468</c:v>
                </c:pt>
                <c:pt idx="2346">
                  <c:v>38469</c:v>
                </c:pt>
                <c:pt idx="2347">
                  <c:v>38470</c:v>
                </c:pt>
                <c:pt idx="2348">
                  <c:v>38471</c:v>
                </c:pt>
                <c:pt idx="2349">
                  <c:v>38474</c:v>
                </c:pt>
                <c:pt idx="2350">
                  <c:v>38475</c:v>
                </c:pt>
                <c:pt idx="2351">
                  <c:v>38476</c:v>
                </c:pt>
                <c:pt idx="2352">
                  <c:v>38477</c:v>
                </c:pt>
                <c:pt idx="2353">
                  <c:v>38478</c:v>
                </c:pt>
                <c:pt idx="2354">
                  <c:v>38481</c:v>
                </c:pt>
                <c:pt idx="2355">
                  <c:v>38482</c:v>
                </c:pt>
                <c:pt idx="2356">
                  <c:v>38483</c:v>
                </c:pt>
                <c:pt idx="2357">
                  <c:v>38484</c:v>
                </c:pt>
                <c:pt idx="2358">
                  <c:v>38485</c:v>
                </c:pt>
                <c:pt idx="2359">
                  <c:v>38488</c:v>
                </c:pt>
                <c:pt idx="2360">
                  <c:v>38489</c:v>
                </c:pt>
                <c:pt idx="2361">
                  <c:v>38490</c:v>
                </c:pt>
                <c:pt idx="2362">
                  <c:v>38491</c:v>
                </c:pt>
                <c:pt idx="2363">
                  <c:v>38492</c:v>
                </c:pt>
                <c:pt idx="2364">
                  <c:v>38495</c:v>
                </c:pt>
                <c:pt idx="2365">
                  <c:v>38496</c:v>
                </c:pt>
                <c:pt idx="2366">
                  <c:v>38497</c:v>
                </c:pt>
                <c:pt idx="2367">
                  <c:v>38498</c:v>
                </c:pt>
                <c:pt idx="2368">
                  <c:v>38499</c:v>
                </c:pt>
                <c:pt idx="2369">
                  <c:v>38503</c:v>
                </c:pt>
                <c:pt idx="2370">
                  <c:v>38504</c:v>
                </c:pt>
                <c:pt idx="2371">
                  <c:v>38505</c:v>
                </c:pt>
                <c:pt idx="2372">
                  <c:v>38506</c:v>
                </c:pt>
                <c:pt idx="2373">
                  <c:v>38509</c:v>
                </c:pt>
                <c:pt idx="2374">
                  <c:v>38510</c:v>
                </c:pt>
                <c:pt idx="2375">
                  <c:v>38511</c:v>
                </c:pt>
                <c:pt idx="2376">
                  <c:v>38512</c:v>
                </c:pt>
                <c:pt idx="2377">
                  <c:v>38513</c:v>
                </c:pt>
                <c:pt idx="2378">
                  <c:v>38516</c:v>
                </c:pt>
                <c:pt idx="2379">
                  <c:v>38517</c:v>
                </c:pt>
                <c:pt idx="2380">
                  <c:v>38518</c:v>
                </c:pt>
                <c:pt idx="2381">
                  <c:v>38519</c:v>
                </c:pt>
                <c:pt idx="2382">
                  <c:v>38520</c:v>
                </c:pt>
                <c:pt idx="2383">
                  <c:v>38523</c:v>
                </c:pt>
                <c:pt idx="2384">
                  <c:v>38524</c:v>
                </c:pt>
                <c:pt idx="2385">
                  <c:v>38525</c:v>
                </c:pt>
                <c:pt idx="2386">
                  <c:v>38526</c:v>
                </c:pt>
                <c:pt idx="2387">
                  <c:v>38527</c:v>
                </c:pt>
                <c:pt idx="2388">
                  <c:v>38530</c:v>
                </c:pt>
                <c:pt idx="2389">
                  <c:v>38531</c:v>
                </c:pt>
                <c:pt idx="2390">
                  <c:v>38532</c:v>
                </c:pt>
                <c:pt idx="2391">
                  <c:v>38533</c:v>
                </c:pt>
                <c:pt idx="2392">
                  <c:v>38534</c:v>
                </c:pt>
                <c:pt idx="2393">
                  <c:v>38538</c:v>
                </c:pt>
                <c:pt idx="2394">
                  <c:v>38539</c:v>
                </c:pt>
                <c:pt idx="2395">
                  <c:v>38540</c:v>
                </c:pt>
                <c:pt idx="2396">
                  <c:v>38541</c:v>
                </c:pt>
                <c:pt idx="2397">
                  <c:v>38544</c:v>
                </c:pt>
                <c:pt idx="2398">
                  <c:v>38545</c:v>
                </c:pt>
                <c:pt idx="2399">
                  <c:v>38546</c:v>
                </c:pt>
                <c:pt idx="2400">
                  <c:v>38547</c:v>
                </c:pt>
                <c:pt idx="2401">
                  <c:v>38548</c:v>
                </c:pt>
                <c:pt idx="2402">
                  <c:v>38551</c:v>
                </c:pt>
                <c:pt idx="2403">
                  <c:v>38552</c:v>
                </c:pt>
                <c:pt idx="2404">
                  <c:v>38553</c:v>
                </c:pt>
                <c:pt idx="2405">
                  <c:v>38554</c:v>
                </c:pt>
                <c:pt idx="2406">
                  <c:v>38555</c:v>
                </c:pt>
                <c:pt idx="2407">
                  <c:v>38558</c:v>
                </c:pt>
                <c:pt idx="2408">
                  <c:v>38559</c:v>
                </c:pt>
                <c:pt idx="2409">
                  <c:v>38560</c:v>
                </c:pt>
                <c:pt idx="2410">
                  <c:v>38561</c:v>
                </c:pt>
                <c:pt idx="2411">
                  <c:v>38562</c:v>
                </c:pt>
                <c:pt idx="2412">
                  <c:v>38565</c:v>
                </c:pt>
                <c:pt idx="2413">
                  <c:v>38566</c:v>
                </c:pt>
                <c:pt idx="2414">
                  <c:v>38567</c:v>
                </c:pt>
                <c:pt idx="2415">
                  <c:v>38568</c:v>
                </c:pt>
                <c:pt idx="2416">
                  <c:v>38569</c:v>
                </c:pt>
                <c:pt idx="2417">
                  <c:v>38572</c:v>
                </c:pt>
                <c:pt idx="2418">
                  <c:v>38573</c:v>
                </c:pt>
                <c:pt idx="2419">
                  <c:v>38574</c:v>
                </c:pt>
                <c:pt idx="2420">
                  <c:v>38575</c:v>
                </c:pt>
                <c:pt idx="2421">
                  <c:v>38576</c:v>
                </c:pt>
                <c:pt idx="2422">
                  <c:v>38579</c:v>
                </c:pt>
                <c:pt idx="2423">
                  <c:v>38580</c:v>
                </c:pt>
                <c:pt idx="2424">
                  <c:v>38581</c:v>
                </c:pt>
                <c:pt idx="2425">
                  <c:v>38582</c:v>
                </c:pt>
                <c:pt idx="2426">
                  <c:v>38583</c:v>
                </c:pt>
                <c:pt idx="2427">
                  <c:v>38586</c:v>
                </c:pt>
                <c:pt idx="2428">
                  <c:v>38587</c:v>
                </c:pt>
                <c:pt idx="2429">
                  <c:v>38588</c:v>
                </c:pt>
                <c:pt idx="2430">
                  <c:v>38589</c:v>
                </c:pt>
                <c:pt idx="2431">
                  <c:v>38590</c:v>
                </c:pt>
                <c:pt idx="2432">
                  <c:v>38593</c:v>
                </c:pt>
                <c:pt idx="2433">
                  <c:v>38594</c:v>
                </c:pt>
                <c:pt idx="2434">
                  <c:v>38595</c:v>
                </c:pt>
                <c:pt idx="2435">
                  <c:v>38596</c:v>
                </c:pt>
                <c:pt idx="2436">
                  <c:v>38597</c:v>
                </c:pt>
                <c:pt idx="2437">
                  <c:v>38601</c:v>
                </c:pt>
                <c:pt idx="2438">
                  <c:v>38602</c:v>
                </c:pt>
                <c:pt idx="2439">
                  <c:v>38603</c:v>
                </c:pt>
                <c:pt idx="2440">
                  <c:v>38604</c:v>
                </c:pt>
                <c:pt idx="2441">
                  <c:v>38607</c:v>
                </c:pt>
                <c:pt idx="2442">
                  <c:v>38608</c:v>
                </c:pt>
                <c:pt idx="2443">
                  <c:v>38609</c:v>
                </c:pt>
                <c:pt idx="2444">
                  <c:v>38610</c:v>
                </c:pt>
                <c:pt idx="2445">
                  <c:v>38611</c:v>
                </c:pt>
                <c:pt idx="2446">
                  <c:v>38614</c:v>
                </c:pt>
                <c:pt idx="2447">
                  <c:v>38615</c:v>
                </c:pt>
                <c:pt idx="2448">
                  <c:v>38616</c:v>
                </c:pt>
                <c:pt idx="2449">
                  <c:v>38617</c:v>
                </c:pt>
                <c:pt idx="2450">
                  <c:v>38618</c:v>
                </c:pt>
                <c:pt idx="2451">
                  <c:v>38621</c:v>
                </c:pt>
                <c:pt idx="2452">
                  <c:v>38622</c:v>
                </c:pt>
                <c:pt idx="2453">
                  <c:v>38623</c:v>
                </c:pt>
                <c:pt idx="2454">
                  <c:v>38624</c:v>
                </c:pt>
                <c:pt idx="2455">
                  <c:v>38625</c:v>
                </c:pt>
                <c:pt idx="2456">
                  <c:v>38628</c:v>
                </c:pt>
                <c:pt idx="2457">
                  <c:v>38629</c:v>
                </c:pt>
                <c:pt idx="2458">
                  <c:v>38630</c:v>
                </c:pt>
                <c:pt idx="2459">
                  <c:v>38631</c:v>
                </c:pt>
                <c:pt idx="2460">
                  <c:v>38632</c:v>
                </c:pt>
                <c:pt idx="2461">
                  <c:v>38635</c:v>
                </c:pt>
                <c:pt idx="2462">
                  <c:v>38636</c:v>
                </c:pt>
                <c:pt idx="2463">
                  <c:v>38637</c:v>
                </c:pt>
                <c:pt idx="2464">
                  <c:v>38638</c:v>
                </c:pt>
                <c:pt idx="2465">
                  <c:v>38639</c:v>
                </c:pt>
                <c:pt idx="2466">
                  <c:v>38642</c:v>
                </c:pt>
                <c:pt idx="2467">
                  <c:v>38643</c:v>
                </c:pt>
                <c:pt idx="2468">
                  <c:v>38644</c:v>
                </c:pt>
                <c:pt idx="2469">
                  <c:v>38645</c:v>
                </c:pt>
                <c:pt idx="2470">
                  <c:v>38646</c:v>
                </c:pt>
                <c:pt idx="2471">
                  <c:v>38649</c:v>
                </c:pt>
                <c:pt idx="2472">
                  <c:v>38650</c:v>
                </c:pt>
                <c:pt idx="2473">
                  <c:v>38651</c:v>
                </c:pt>
                <c:pt idx="2474">
                  <c:v>38652</c:v>
                </c:pt>
                <c:pt idx="2475">
                  <c:v>38653</c:v>
                </c:pt>
                <c:pt idx="2476">
                  <c:v>38656</c:v>
                </c:pt>
                <c:pt idx="2477">
                  <c:v>38657</c:v>
                </c:pt>
                <c:pt idx="2478">
                  <c:v>38658</c:v>
                </c:pt>
                <c:pt idx="2479">
                  <c:v>38659</c:v>
                </c:pt>
                <c:pt idx="2480">
                  <c:v>38660</c:v>
                </c:pt>
                <c:pt idx="2481">
                  <c:v>38663</c:v>
                </c:pt>
                <c:pt idx="2482">
                  <c:v>38664</c:v>
                </c:pt>
                <c:pt idx="2483">
                  <c:v>38665</c:v>
                </c:pt>
                <c:pt idx="2484">
                  <c:v>38666</c:v>
                </c:pt>
                <c:pt idx="2485">
                  <c:v>38667</c:v>
                </c:pt>
                <c:pt idx="2486">
                  <c:v>38670</c:v>
                </c:pt>
                <c:pt idx="2487">
                  <c:v>38671</c:v>
                </c:pt>
                <c:pt idx="2488">
                  <c:v>38672</c:v>
                </c:pt>
                <c:pt idx="2489">
                  <c:v>38673</c:v>
                </c:pt>
                <c:pt idx="2490">
                  <c:v>38674</c:v>
                </c:pt>
                <c:pt idx="2491">
                  <c:v>38677</c:v>
                </c:pt>
                <c:pt idx="2492">
                  <c:v>38678</c:v>
                </c:pt>
                <c:pt idx="2493">
                  <c:v>38679</c:v>
                </c:pt>
                <c:pt idx="2494">
                  <c:v>38681</c:v>
                </c:pt>
                <c:pt idx="2495">
                  <c:v>38684</c:v>
                </c:pt>
                <c:pt idx="2496">
                  <c:v>38685</c:v>
                </c:pt>
                <c:pt idx="2497">
                  <c:v>38686</c:v>
                </c:pt>
                <c:pt idx="2498">
                  <c:v>38687</c:v>
                </c:pt>
                <c:pt idx="2499">
                  <c:v>38688</c:v>
                </c:pt>
                <c:pt idx="2500">
                  <c:v>38691</c:v>
                </c:pt>
                <c:pt idx="2501">
                  <c:v>38692</c:v>
                </c:pt>
                <c:pt idx="2502">
                  <c:v>38693</c:v>
                </c:pt>
                <c:pt idx="2503">
                  <c:v>38694</c:v>
                </c:pt>
                <c:pt idx="2504">
                  <c:v>38695</c:v>
                </c:pt>
                <c:pt idx="2505">
                  <c:v>38698</c:v>
                </c:pt>
                <c:pt idx="2506">
                  <c:v>38699</c:v>
                </c:pt>
                <c:pt idx="2507">
                  <c:v>38700</c:v>
                </c:pt>
                <c:pt idx="2508">
                  <c:v>38701</c:v>
                </c:pt>
                <c:pt idx="2509">
                  <c:v>38702</c:v>
                </c:pt>
                <c:pt idx="2510">
                  <c:v>38705</c:v>
                </c:pt>
                <c:pt idx="2511">
                  <c:v>38706</c:v>
                </c:pt>
                <c:pt idx="2512">
                  <c:v>38707</c:v>
                </c:pt>
                <c:pt idx="2513">
                  <c:v>38708</c:v>
                </c:pt>
                <c:pt idx="2514">
                  <c:v>38709</c:v>
                </c:pt>
                <c:pt idx="2515">
                  <c:v>38713</c:v>
                </c:pt>
                <c:pt idx="2516">
                  <c:v>38714</c:v>
                </c:pt>
                <c:pt idx="2517">
                  <c:v>38715</c:v>
                </c:pt>
                <c:pt idx="2518">
                  <c:v>38716</c:v>
                </c:pt>
                <c:pt idx="2519">
                  <c:v>38720</c:v>
                </c:pt>
                <c:pt idx="2520">
                  <c:v>38721</c:v>
                </c:pt>
                <c:pt idx="2521">
                  <c:v>38722</c:v>
                </c:pt>
                <c:pt idx="2522">
                  <c:v>38723</c:v>
                </c:pt>
                <c:pt idx="2523">
                  <c:v>38726</c:v>
                </c:pt>
                <c:pt idx="2524">
                  <c:v>38727</c:v>
                </c:pt>
                <c:pt idx="2525">
                  <c:v>38728</c:v>
                </c:pt>
                <c:pt idx="2526">
                  <c:v>38729</c:v>
                </c:pt>
                <c:pt idx="2527">
                  <c:v>38730</c:v>
                </c:pt>
                <c:pt idx="2528">
                  <c:v>38734</c:v>
                </c:pt>
                <c:pt idx="2529">
                  <c:v>38735</c:v>
                </c:pt>
                <c:pt idx="2530">
                  <c:v>38736</c:v>
                </c:pt>
                <c:pt idx="2531">
                  <c:v>38737</c:v>
                </c:pt>
                <c:pt idx="2532">
                  <c:v>38740</c:v>
                </c:pt>
                <c:pt idx="2533">
                  <c:v>38741</c:v>
                </c:pt>
                <c:pt idx="2534">
                  <c:v>38742</c:v>
                </c:pt>
                <c:pt idx="2535">
                  <c:v>38743</c:v>
                </c:pt>
                <c:pt idx="2536">
                  <c:v>38744</c:v>
                </c:pt>
                <c:pt idx="2537">
                  <c:v>38747</c:v>
                </c:pt>
                <c:pt idx="2538">
                  <c:v>38748</c:v>
                </c:pt>
                <c:pt idx="2539">
                  <c:v>38749</c:v>
                </c:pt>
                <c:pt idx="2540">
                  <c:v>38750</c:v>
                </c:pt>
                <c:pt idx="2541">
                  <c:v>38751</c:v>
                </c:pt>
                <c:pt idx="2542">
                  <c:v>38754</c:v>
                </c:pt>
                <c:pt idx="2543">
                  <c:v>38755</c:v>
                </c:pt>
                <c:pt idx="2544">
                  <c:v>38756</c:v>
                </c:pt>
                <c:pt idx="2545">
                  <c:v>38757</c:v>
                </c:pt>
                <c:pt idx="2546">
                  <c:v>38758</c:v>
                </c:pt>
                <c:pt idx="2547">
                  <c:v>38761</c:v>
                </c:pt>
                <c:pt idx="2548">
                  <c:v>38762</c:v>
                </c:pt>
                <c:pt idx="2549">
                  <c:v>38763</c:v>
                </c:pt>
                <c:pt idx="2550">
                  <c:v>38764</c:v>
                </c:pt>
                <c:pt idx="2551">
                  <c:v>38765</c:v>
                </c:pt>
                <c:pt idx="2552">
                  <c:v>38769</c:v>
                </c:pt>
                <c:pt idx="2553">
                  <c:v>38770</c:v>
                </c:pt>
                <c:pt idx="2554">
                  <c:v>38771</c:v>
                </c:pt>
                <c:pt idx="2555">
                  <c:v>38772</c:v>
                </c:pt>
                <c:pt idx="2556">
                  <c:v>38775</c:v>
                </c:pt>
                <c:pt idx="2557">
                  <c:v>38776</c:v>
                </c:pt>
                <c:pt idx="2558">
                  <c:v>38777</c:v>
                </c:pt>
                <c:pt idx="2559">
                  <c:v>38778</c:v>
                </c:pt>
                <c:pt idx="2560">
                  <c:v>38779</c:v>
                </c:pt>
                <c:pt idx="2561">
                  <c:v>38782</c:v>
                </c:pt>
                <c:pt idx="2562">
                  <c:v>38783</c:v>
                </c:pt>
                <c:pt idx="2563">
                  <c:v>38784</c:v>
                </c:pt>
                <c:pt idx="2564">
                  <c:v>38785</c:v>
                </c:pt>
                <c:pt idx="2565">
                  <c:v>38786</c:v>
                </c:pt>
                <c:pt idx="2566">
                  <c:v>38789</c:v>
                </c:pt>
                <c:pt idx="2567">
                  <c:v>38790</c:v>
                </c:pt>
                <c:pt idx="2568">
                  <c:v>38791</c:v>
                </c:pt>
                <c:pt idx="2569">
                  <c:v>38792</c:v>
                </c:pt>
                <c:pt idx="2570">
                  <c:v>38793</c:v>
                </c:pt>
                <c:pt idx="2571">
                  <c:v>38796</c:v>
                </c:pt>
                <c:pt idx="2572">
                  <c:v>38797</c:v>
                </c:pt>
                <c:pt idx="2573">
                  <c:v>38798</c:v>
                </c:pt>
                <c:pt idx="2574">
                  <c:v>38799</c:v>
                </c:pt>
                <c:pt idx="2575">
                  <c:v>38800</c:v>
                </c:pt>
                <c:pt idx="2576">
                  <c:v>38803</c:v>
                </c:pt>
                <c:pt idx="2577">
                  <c:v>38804</c:v>
                </c:pt>
                <c:pt idx="2578">
                  <c:v>38805</c:v>
                </c:pt>
                <c:pt idx="2579">
                  <c:v>38806</c:v>
                </c:pt>
                <c:pt idx="2580">
                  <c:v>38807</c:v>
                </c:pt>
                <c:pt idx="2581">
                  <c:v>38810</c:v>
                </c:pt>
                <c:pt idx="2582">
                  <c:v>38811</c:v>
                </c:pt>
                <c:pt idx="2583">
                  <c:v>38812</c:v>
                </c:pt>
                <c:pt idx="2584">
                  <c:v>38813</c:v>
                </c:pt>
                <c:pt idx="2585">
                  <c:v>38814</c:v>
                </c:pt>
                <c:pt idx="2586">
                  <c:v>38817</c:v>
                </c:pt>
                <c:pt idx="2587">
                  <c:v>38818</c:v>
                </c:pt>
                <c:pt idx="2588">
                  <c:v>38819</c:v>
                </c:pt>
                <c:pt idx="2589">
                  <c:v>38820</c:v>
                </c:pt>
                <c:pt idx="2590">
                  <c:v>38824</c:v>
                </c:pt>
                <c:pt idx="2591">
                  <c:v>38825</c:v>
                </c:pt>
                <c:pt idx="2592">
                  <c:v>38826</c:v>
                </c:pt>
                <c:pt idx="2593">
                  <c:v>38827</c:v>
                </c:pt>
                <c:pt idx="2594">
                  <c:v>38828</c:v>
                </c:pt>
                <c:pt idx="2595">
                  <c:v>38831</c:v>
                </c:pt>
                <c:pt idx="2596">
                  <c:v>38832</c:v>
                </c:pt>
                <c:pt idx="2597">
                  <c:v>38833</c:v>
                </c:pt>
                <c:pt idx="2598">
                  <c:v>38834</c:v>
                </c:pt>
                <c:pt idx="2599">
                  <c:v>38835</c:v>
                </c:pt>
                <c:pt idx="2600">
                  <c:v>38838</c:v>
                </c:pt>
                <c:pt idx="2601">
                  <c:v>38839</c:v>
                </c:pt>
                <c:pt idx="2602">
                  <c:v>38840</c:v>
                </c:pt>
                <c:pt idx="2603">
                  <c:v>38841</c:v>
                </c:pt>
                <c:pt idx="2604">
                  <c:v>38842</c:v>
                </c:pt>
                <c:pt idx="2605">
                  <c:v>38845</c:v>
                </c:pt>
                <c:pt idx="2606">
                  <c:v>38846</c:v>
                </c:pt>
                <c:pt idx="2607">
                  <c:v>38847</c:v>
                </c:pt>
                <c:pt idx="2608">
                  <c:v>38848</c:v>
                </c:pt>
                <c:pt idx="2609">
                  <c:v>38849</c:v>
                </c:pt>
                <c:pt idx="2610">
                  <c:v>38852</c:v>
                </c:pt>
                <c:pt idx="2611">
                  <c:v>38853</c:v>
                </c:pt>
                <c:pt idx="2612">
                  <c:v>38854</c:v>
                </c:pt>
                <c:pt idx="2613">
                  <c:v>38855</c:v>
                </c:pt>
                <c:pt idx="2614">
                  <c:v>38856</c:v>
                </c:pt>
                <c:pt idx="2615">
                  <c:v>38859</c:v>
                </c:pt>
                <c:pt idx="2616">
                  <c:v>38860</c:v>
                </c:pt>
                <c:pt idx="2617">
                  <c:v>38861</c:v>
                </c:pt>
                <c:pt idx="2618">
                  <c:v>38862</c:v>
                </c:pt>
                <c:pt idx="2619">
                  <c:v>38863</c:v>
                </c:pt>
                <c:pt idx="2620">
                  <c:v>38867</c:v>
                </c:pt>
                <c:pt idx="2621">
                  <c:v>38868</c:v>
                </c:pt>
                <c:pt idx="2622">
                  <c:v>38869</c:v>
                </c:pt>
                <c:pt idx="2623">
                  <c:v>38870</c:v>
                </c:pt>
                <c:pt idx="2624">
                  <c:v>38873</c:v>
                </c:pt>
                <c:pt idx="2625">
                  <c:v>38874</c:v>
                </c:pt>
                <c:pt idx="2626">
                  <c:v>38875</c:v>
                </c:pt>
                <c:pt idx="2627">
                  <c:v>38876</c:v>
                </c:pt>
                <c:pt idx="2628">
                  <c:v>38877</c:v>
                </c:pt>
                <c:pt idx="2629">
                  <c:v>38880</c:v>
                </c:pt>
                <c:pt idx="2630">
                  <c:v>38881</c:v>
                </c:pt>
                <c:pt idx="2631">
                  <c:v>38882</c:v>
                </c:pt>
                <c:pt idx="2632">
                  <c:v>38883</c:v>
                </c:pt>
                <c:pt idx="2633">
                  <c:v>38884</c:v>
                </c:pt>
                <c:pt idx="2634">
                  <c:v>38887</c:v>
                </c:pt>
                <c:pt idx="2635">
                  <c:v>38888</c:v>
                </c:pt>
                <c:pt idx="2636">
                  <c:v>38889</c:v>
                </c:pt>
                <c:pt idx="2637">
                  <c:v>38890</c:v>
                </c:pt>
                <c:pt idx="2638">
                  <c:v>38891</c:v>
                </c:pt>
                <c:pt idx="2639">
                  <c:v>38894</c:v>
                </c:pt>
                <c:pt idx="2640">
                  <c:v>38895</c:v>
                </c:pt>
                <c:pt idx="2641">
                  <c:v>38896</c:v>
                </c:pt>
                <c:pt idx="2642">
                  <c:v>38897</c:v>
                </c:pt>
                <c:pt idx="2643">
                  <c:v>38898</c:v>
                </c:pt>
                <c:pt idx="2644">
                  <c:v>38901</c:v>
                </c:pt>
                <c:pt idx="2645">
                  <c:v>38903</c:v>
                </c:pt>
                <c:pt idx="2646">
                  <c:v>38904</c:v>
                </c:pt>
                <c:pt idx="2647">
                  <c:v>38905</c:v>
                </c:pt>
                <c:pt idx="2648">
                  <c:v>38908</c:v>
                </c:pt>
                <c:pt idx="2649">
                  <c:v>38909</c:v>
                </c:pt>
                <c:pt idx="2650">
                  <c:v>38910</c:v>
                </c:pt>
                <c:pt idx="2651">
                  <c:v>38911</c:v>
                </c:pt>
                <c:pt idx="2652">
                  <c:v>38912</c:v>
                </c:pt>
                <c:pt idx="2653">
                  <c:v>38915</c:v>
                </c:pt>
                <c:pt idx="2654">
                  <c:v>38916</c:v>
                </c:pt>
                <c:pt idx="2655">
                  <c:v>38917</c:v>
                </c:pt>
                <c:pt idx="2656">
                  <c:v>38918</c:v>
                </c:pt>
                <c:pt idx="2657">
                  <c:v>38919</c:v>
                </c:pt>
                <c:pt idx="2658">
                  <c:v>38922</c:v>
                </c:pt>
                <c:pt idx="2659">
                  <c:v>38923</c:v>
                </c:pt>
                <c:pt idx="2660">
                  <c:v>38924</c:v>
                </c:pt>
                <c:pt idx="2661">
                  <c:v>38925</c:v>
                </c:pt>
                <c:pt idx="2662">
                  <c:v>38926</c:v>
                </c:pt>
                <c:pt idx="2663">
                  <c:v>38929</c:v>
                </c:pt>
                <c:pt idx="2664">
                  <c:v>38930</c:v>
                </c:pt>
                <c:pt idx="2665">
                  <c:v>38931</c:v>
                </c:pt>
                <c:pt idx="2666">
                  <c:v>38932</c:v>
                </c:pt>
                <c:pt idx="2667">
                  <c:v>38933</c:v>
                </c:pt>
                <c:pt idx="2668">
                  <c:v>38936</c:v>
                </c:pt>
                <c:pt idx="2669">
                  <c:v>38937</c:v>
                </c:pt>
                <c:pt idx="2670">
                  <c:v>38938</c:v>
                </c:pt>
                <c:pt idx="2671">
                  <c:v>38939</c:v>
                </c:pt>
                <c:pt idx="2672">
                  <c:v>38940</c:v>
                </c:pt>
                <c:pt idx="2673">
                  <c:v>38943</c:v>
                </c:pt>
                <c:pt idx="2674">
                  <c:v>38944</c:v>
                </c:pt>
                <c:pt idx="2675">
                  <c:v>38945</c:v>
                </c:pt>
                <c:pt idx="2676">
                  <c:v>38946</c:v>
                </c:pt>
                <c:pt idx="2677">
                  <c:v>38947</c:v>
                </c:pt>
                <c:pt idx="2678">
                  <c:v>38950</c:v>
                </c:pt>
                <c:pt idx="2679">
                  <c:v>38951</c:v>
                </c:pt>
                <c:pt idx="2680">
                  <c:v>38952</c:v>
                </c:pt>
                <c:pt idx="2681">
                  <c:v>38953</c:v>
                </c:pt>
                <c:pt idx="2682">
                  <c:v>38954</c:v>
                </c:pt>
                <c:pt idx="2683">
                  <c:v>38957</c:v>
                </c:pt>
                <c:pt idx="2684">
                  <c:v>38958</c:v>
                </c:pt>
                <c:pt idx="2685">
                  <c:v>38959</c:v>
                </c:pt>
                <c:pt idx="2686">
                  <c:v>38960</c:v>
                </c:pt>
                <c:pt idx="2687">
                  <c:v>38961</c:v>
                </c:pt>
                <c:pt idx="2688">
                  <c:v>38965</c:v>
                </c:pt>
                <c:pt idx="2689">
                  <c:v>38966</c:v>
                </c:pt>
                <c:pt idx="2690">
                  <c:v>38967</c:v>
                </c:pt>
                <c:pt idx="2691">
                  <c:v>38968</c:v>
                </c:pt>
                <c:pt idx="2692">
                  <c:v>38971</c:v>
                </c:pt>
                <c:pt idx="2693">
                  <c:v>38972</c:v>
                </c:pt>
                <c:pt idx="2694">
                  <c:v>38973</c:v>
                </c:pt>
                <c:pt idx="2695">
                  <c:v>38974</c:v>
                </c:pt>
                <c:pt idx="2696">
                  <c:v>38975</c:v>
                </c:pt>
                <c:pt idx="2697">
                  <c:v>38978</c:v>
                </c:pt>
                <c:pt idx="2698">
                  <c:v>38979</c:v>
                </c:pt>
                <c:pt idx="2699">
                  <c:v>38980</c:v>
                </c:pt>
                <c:pt idx="2700">
                  <c:v>38981</c:v>
                </c:pt>
                <c:pt idx="2701">
                  <c:v>38982</c:v>
                </c:pt>
                <c:pt idx="2702">
                  <c:v>38985</c:v>
                </c:pt>
                <c:pt idx="2703">
                  <c:v>38986</c:v>
                </c:pt>
                <c:pt idx="2704">
                  <c:v>38987</c:v>
                </c:pt>
                <c:pt idx="2705">
                  <c:v>38988</c:v>
                </c:pt>
                <c:pt idx="2706">
                  <c:v>38989</c:v>
                </c:pt>
                <c:pt idx="2707">
                  <c:v>38992</c:v>
                </c:pt>
                <c:pt idx="2708">
                  <c:v>38993</c:v>
                </c:pt>
                <c:pt idx="2709">
                  <c:v>38994</c:v>
                </c:pt>
                <c:pt idx="2710">
                  <c:v>38995</c:v>
                </c:pt>
                <c:pt idx="2711">
                  <c:v>38996</c:v>
                </c:pt>
                <c:pt idx="2712">
                  <c:v>38999</c:v>
                </c:pt>
                <c:pt idx="2713">
                  <c:v>39000</c:v>
                </c:pt>
                <c:pt idx="2714">
                  <c:v>39001</c:v>
                </c:pt>
                <c:pt idx="2715">
                  <c:v>39002</c:v>
                </c:pt>
                <c:pt idx="2716">
                  <c:v>39003</c:v>
                </c:pt>
                <c:pt idx="2717">
                  <c:v>39006</c:v>
                </c:pt>
                <c:pt idx="2718">
                  <c:v>39007</c:v>
                </c:pt>
                <c:pt idx="2719">
                  <c:v>39008</c:v>
                </c:pt>
                <c:pt idx="2720">
                  <c:v>39009</c:v>
                </c:pt>
                <c:pt idx="2721">
                  <c:v>39010</c:v>
                </c:pt>
                <c:pt idx="2722">
                  <c:v>39013</c:v>
                </c:pt>
                <c:pt idx="2723">
                  <c:v>39014</c:v>
                </c:pt>
                <c:pt idx="2724">
                  <c:v>39015</c:v>
                </c:pt>
                <c:pt idx="2725">
                  <c:v>39016</c:v>
                </c:pt>
                <c:pt idx="2726">
                  <c:v>39017</c:v>
                </c:pt>
                <c:pt idx="2727">
                  <c:v>39020</c:v>
                </c:pt>
                <c:pt idx="2728">
                  <c:v>39021</c:v>
                </c:pt>
                <c:pt idx="2729">
                  <c:v>39022</c:v>
                </c:pt>
                <c:pt idx="2730">
                  <c:v>39023</c:v>
                </c:pt>
                <c:pt idx="2731">
                  <c:v>39024</c:v>
                </c:pt>
                <c:pt idx="2732">
                  <c:v>39027</c:v>
                </c:pt>
                <c:pt idx="2733">
                  <c:v>39028</c:v>
                </c:pt>
                <c:pt idx="2734">
                  <c:v>39029</c:v>
                </c:pt>
                <c:pt idx="2735">
                  <c:v>39030</c:v>
                </c:pt>
                <c:pt idx="2736">
                  <c:v>39031</c:v>
                </c:pt>
                <c:pt idx="2737">
                  <c:v>39034</c:v>
                </c:pt>
                <c:pt idx="2738">
                  <c:v>39035</c:v>
                </c:pt>
                <c:pt idx="2739">
                  <c:v>39036</c:v>
                </c:pt>
                <c:pt idx="2740">
                  <c:v>39037</c:v>
                </c:pt>
                <c:pt idx="2741">
                  <c:v>39038</c:v>
                </c:pt>
                <c:pt idx="2742">
                  <c:v>39041</c:v>
                </c:pt>
                <c:pt idx="2743">
                  <c:v>39042</c:v>
                </c:pt>
                <c:pt idx="2744">
                  <c:v>39043</c:v>
                </c:pt>
                <c:pt idx="2745">
                  <c:v>39045</c:v>
                </c:pt>
                <c:pt idx="2746">
                  <c:v>39048</c:v>
                </c:pt>
                <c:pt idx="2747">
                  <c:v>39049</c:v>
                </c:pt>
                <c:pt idx="2748">
                  <c:v>39050</c:v>
                </c:pt>
                <c:pt idx="2749">
                  <c:v>39051</c:v>
                </c:pt>
                <c:pt idx="2750">
                  <c:v>39052</c:v>
                </c:pt>
                <c:pt idx="2751">
                  <c:v>39055</c:v>
                </c:pt>
                <c:pt idx="2752">
                  <c:v>39056</c:v>
                </c:pt>
                <c:pt idx="2753">
                  <c:v>39057</c:v>
                </c:pt>
                <c:pt idx="2754">
                  <c:v>39058</c:v>
                </c:pt>
                <c:pt idx="2755">
                  <c:v>39059</c:v>
                </c:pt>
                <c:pt idx="2756">
                  <c:v>39062</c:v>
                </c:pt>
                <c:pt idx="2757">
                  <c:v>39063</c:v>
                </c:pt>
                <c:pt idx="2758">
                  <c:v>39064</c:v>
                </c:pt>
                <c:pt idx="2759">
                  <c:v>39065</c:v>
                </c:pt>
                <c:pt idx="2760">
                  <c:v>39066</c:v>
                </c:pt>
                <c:pt idx="2761">
                  <c:v>39069</c:v>
                </c:pt>
                <c:pt idx="2762">
                  <c:v>39070</c:v>
                </c:pt>
                <c:pt idx="2763">
                  <c:v>39071</c:v>
                </c:pt>
                <c:pt idx="2764">
                  <c:v>39072</c:v>
                </c:pt>
                <c:pt idx="2765">
                  <c:v>39073</c:v>
                </c:pt>
                <c:pt idx="2766">
                  <c:v>39077</c:v>
                </c:pt>
                <c:pt idx="2767">
                  <c:v>39078</c:v>
                </c:pt>
                <c:pt idx="2768">
                  <c:v>39079</c:v>
                </c:pt>
                <c:pt idx="2769">
                  <c:v>39080</c:v>
                </c:pt>
                <c:pt idx="2770">
                  <c:v>39085</c:v>
                </c:pt>
                <c:pt idx="2771">
                  <c:v>39086</c:v>
                </c:pt>
                <c:pt idx="2772">
                  <c:v>39087</c:v>
                </c:pt>
                <c:pt idx="2773">
                  <c:v>39090</c:v>
                </c:pt>
                <c:pt idx="2774">
                  <c:v>39091</c:v>
                </c:pt>
                <c:pt idx="2775">
                  <c:v>39092</c:v>
                </c:pt>
                <c:pt idx="2776">
                  <c:v>39093</c:v>
                </c:pt>
                <c:pt idx="2777">
                  <c:v>39094</c:v>
                </c:pt>
                <c:pt idx="2778">
                  <c:v>39098</c:v>
                </c:pt>
                <c:pt idx="2779">
                  <c:v>39099</c:v>
                </c:pt>
                <c:pt idx="2780">
                  <c:v>39100</c:v>
                </c:pt>
                <c:pt idx="2781">
                  <c:v>39101</c:v>
                </c:pt>
                <c:pt idx="2782">
                  <c:v>39104</c:v>
                </c:pt>
                <c:pt idx="2783">
                  <c:v>39105</c:v>
                </c:pt>
                <c:pt idx="2784">
                  <c:v>39106</c:v>
                </c:pt>
                <c:pt idx="2785">
                  <c:v>39107</c:v>
                </c:pt>
                <c:pt idx="2786">
                  <c:v>39108</c:v>
                </c:pt>
                <c:pt idx="2787">
                  <c:v>39111</c:v>
                </c:pt>
                <c:pt idx="2788">
                  <c:v>39112</c:v>
                </c:pt>
                <c:pt idx="2789">
                  <c:v>39113</c:v>
                </c:pt>
                <c:pt idx="2790">
                  <c:v>39114</c:v>
                </c:pt>
                <c:pt idx="2791">
                  <c:v>39115</c:v>
                </c:pt>
                <c:pt idx="2792">
                  <c:v>39118</c:v>
                </c:pt>
                <c:pt idx="2793">
                  <c:v>39119</c:v>
                </c:pt>
                <c:pt idx="2794">
                  <c:v>39120</c:v>
                </c:pt>
                <c:pt idx="2795">
                  <c:v>39121</c:v>
                </c:pt>
                <c:pt idx="2796">
                  <c:v>39122</c:v>
                </c:pt>
                <c:pt idx="2797">
                  <c:v>39125</c:v>
                </c:pt>
                <c:pt idx="2798">
                  <c:v>39126</c:v>
                </c:pt>
                <c:pt idx="2799">
                  <c:v>39127</c:v>
                </c:pt>
                <c:pt idx="2800">
                  <c:v>39128</c:v>
                </c:pt>
                <c:pt idx="2801">
                  <c:v>39129</c:v>
                </c:pt>
                <c:pt idx="2802">
                  <c:v>39133</c:v>
                </c:pt>
                <c:pt idx="2803">
                  <c:v>39134</c:v>
                </c:pt>
                <c:pt idx="2804">
                  <c:v>39135</c:v>
                </c:pt>
                <c:pt idx="2805">
                  <c:v>39136</c:v>
                </c:pt>
                <c:pt idx="2806">
                  <c:v>39139</c:v>
                </c:pt>
                <c:pt idx="2807">
                  <c:v>39140</c:v>
                </c:pt>
                <c:pt idx="2808">
                  <c:v>39141</c:v>
                </c:pt>
                <c:pt idx="2809">
                  <c:v>39142</c:v>
                </c:pt>
                <c:pt idx="2810">
                  <c:v>39143</c:v>
                </c:pt>
                <c:pt idx="2811">
                  <c:v>39146</c:v>
                </c:pt>
                <c:pt idx="2812">
                  <c:v>39147</c:v>
                </c:pt>
                <c:pt idx="2813">
                  <c:v>39148</c:v>
                </c:pt>
                <c:pt idx="2814">
                  <c:v>39149</c:v>
                </c:pt>
                <c:pt idx="2815">
                  <c:v>39150</c:v>
                </c:pt>
                <c:pt idx="2816">
                  <c:v>39153</c:v>
                </c:pt>
                <c:pt idx="2817">
                  <c:v>39154</c:v>
                </c:pt>
                <c:pt idx="2818">
                  <c:v>39155</c:v>
                </c:pt>
                <c:pt idx="2819">
                  <c:v>39156</c:v>
                </c:pt>
                <c:pt idx="2820">
                  <c:v>39157</c:v>
                </c:pt>
                <c:pt idx="2821">
                  <c:v>39160</c:v>
                </c:pt>
                <c:pt idx="2822">
                  <c:v>39161</c:v>
                </c:pt>
                <c:pt idx="2823">
                  <c:v>39162</c:v>
                </c:pt>
                <c:pt idx="2824">
                  <c:v>39163</c:v>
                </c:pt>
                <c:pt idx="2825">
                  <c:v>39164</c:v>
                </c:pt>
                <c:pt idx="2826">
                  <c:v>39167</c:v>
                </c:pt>
                <c:pt idx="2827">
                  <c:v>39168</c:v>
                </c:pt>
                <c:pt idx="2828">
                  <c:v>39169</c:v>
                </c:pt>
                <c:pt idx="2829">
                  <c:v>39170</c:v>
                </c:pt>
                <c:pt idx="2830">
                  <c:v>39171</c:v>
                </c:pt>
                <c:pt idx="2831">
                  <c:v>39174</c:v>
                </c:pt>
                <c:pt idx="2832">
                  <c:v>39175</c:v>
                </c:pt>
                <c:pt idx="2833">
                  <c:v>39176</c:v>
                </c:pt>
                <c:pt idx="2834">
                  <c:v>39177</c:v>
                </c:pt>
                <c:pt idx="2835">
                  <c:v>39181</c:v>
                </c:pt>
                <c:pt idx="2836">
                  <c:v>39182</c:v>
                </c:pt>
                <c:pt idx="2837">
                  <c:v>39183</c:v>
                </c:pt>
                <c:pt idx="2838">
                  <c:v>39184</c:v>
                </c:pt>
                <c:pt idx="2839">
                  <c:v>39185</c:v>
                </c:pt>
                <c:pt idx="2840">
                  <c:v>39188</c:v>
                </c:pt>
                <c:pt idx="2841">
                  <c:v>39189</c:v>
                </c:pt>
                <c:pt idx="2842">
                  <c:v>39190</c:v>
                </c:pt>
                <c:pt idx="2843">
                  <c:v>39191</c:v>
                </c:pt>
                <c:pt idx="2844">
                  <c:v>39192</c:v>
                </c:pt>
                <c:pt idx="2845">
                  <c:v>39195</c:v>
                </c:pt>
                <c:pt idx="2846">
                  <c:v>39196</c:v>
                </c:pt>
                <c:pt idx="2847">
                  <c:v>39197</c:v>
                </c:pt>
                <c:pt idx="2848">
                  <c:v>39198</c:v>
                </c:pt>
                <c:pt idx="2849">
                  <c:v>39199</c:v>
                </c:pt>
                <c:pt idx="2850">
                  <c:v>39202</c:v>
                </c:pt>
                <c:pt idx="2851">
                  <c:v>39203</c:v>
                </c:pt>
                <c:pt idx="2852">
                  <c:v>39204</c:v>
                </c:pt>
                <c:pt idx="2853">
                  <c:v>39205</c:v>
                </c:pt>
                <c:pt idx="2854">
                  <c:v>39206</c:v>
                </c:pt>
                <c:pt idx="2855">
                  <c:v>39209</c:v>
                </c:pt>
                <c:pt idx="2856">
                  <c:v>39210</c:v>
                </c:pt>
                <c:pt idx="2857">
                  <c:v>39211</c:v>
                </c:pt>
                <c:pt idx="2858">
                  <c:v>39212</c:v>
                </c:pt>
                <c:pt idx="2859">
                  <c:v>39213</c:v>
                </c:pt>
                <c:pt idx="2860">
                  <c:v>39216</c:v>
                </c:pt>
                <c:pt idx="2861">
                  <c:v>39217</c:v>
                </c:pt>
                <c:pt idx="2862">
                  <c:v>39218</c:v>
                </c:pt>
                <c:pt idx="2863">
                  <c:v>39219</c:v>
                </c:pt>
                <c:pt idx="2864">
                  <c:v>39220</c:v>
                </c:pt>
                <c:pt idx="2865">
                  <c:v>39223</c:v>
                </c:pt>
                <c:pt idx="2866">
                  <c:v>39224</c:v>
                </c:pt>
                <c:pt idx="2867">
                  <c:v>39225</c:v>
                </c:pt>
                <c:pt idx="2868">
                  <c:v>39226</c:v>
                </c:pt>
                <c:pt idx="2869">
                  <c:v>39227</c:v>
                </c:pt>
                <c:pt idx="2870">
                  <c:v>39231</c:v>
                </c:pt>
                <c:pt idx="2871">
                  <c:v>39232</c:v>
                </c:pt>
                <c:pt idx="2872">
                  <c:v>39233</c:v>
                </c:pt>
                <c:pt idx="2873">
                  <c:v>39234</c:v>
                </c:pt>
                <c:pt idx="2874">
                  <c:v>39237</c:v>
                </c:pt>
                <c:pt idx="2875">
                  <c:v>39238</c:v>
                </c:pt>
                <c:pt idx="2876">
                  <c:v>39239</c:v>
                </c:pt>
                <c:pt idx="2877">
                  <c:v>39240</c:v>
                </c:pt>
                <c:pt idx="2878">
                  <c:v>39241</c:v>
                </c:pt>
                <c:pt idx="2879">
                  <c:v>39244</c:v>
                </c:pt>
                <c:pt idx="2880">
                  <c:v>39245</c:v>
                </c:pt>
                <c:pt idx="2881">
                  <c:v>39246</c:v>
                </c:pt>
                <c:pt idx="2882">
                  <c:v>39247</c:v>
                </c:pt>
                <c:pt idx="2883">
                  <c:v>39248</c:v>
                </c:pt>
                <c:pt idx="2884">
                  <c:v>39251</c:v>
                </c:pt>
                <c:pt idx="2885">
                  <c:v>39252</c:v>
                </c:pt>
                <c:pt idx="2886">
                  <c:v>39253</c:v>
                </c:pt>
                <c:pt idx="2887">
                  <c:v>39254</c:v>
                </c:pt>
                <c:pt idx="2888">
                  <c:v>39255</c:v>
                </c:pt>
                <c:pt idx="2889">
                  <c:v>39258</c:v>
                </c:pt>
                <c:pt idx="2890">
                  <c:v>39259</c:v>
                </c:pt>
                <c:pt idx="2891">
                  <c:v>39260</c:v>
                </c:pt>
                <c:pt idx="2892">
                  <c:v>39261</c:v>
                </c:pt>
                <c:pt idx="2893">
                  <c:v>39262</c:v>
                </c:pt>
                <c:pt idx="2894">
                  <c:v>39265</c:v>
                </c:pt>
                <c:pt idx="2895">
                  <c:v>39266</c:v>
                </c:pt>
                <c:pt idx="2896">
                  <c:v>39268</c:v>
                </c:pt>
                <c:pt idx="2897">
                  <c:v>39269</c:v>
                </c:pt>
                <c:pt idx="2898">
                  <c:v>39272</c:v>
                </c:pt>
                <c:pt idx="2899">
                  <c:v>39273</c:v>
                </c:pt>
                <c:pt idx="2900">
                  <c:v>39274</c:v>
                </c:pt>
                <c:pt idx="2901">
                  <c:v>39275</c:v>
                </c:pt>
                <c:pt idx="2902">
                  <c:v>39276</c:v>
                </c:pt>
                <c:pt idx="2903">
                  <c:v>39279</c:v>
                </c:pt>
                <c:pt idx="2904">
                  <c:v>39280</c:v>
                </c:pt>
                <c:pt idx="2905">
                  <c:v>39281</c:v>
                </c:pt>
                <c:pt idx="2906">
                  <c:v>39282</c:v>
                </c:pt>
                <c:pt idx="2907">
                  <c:v>39283</c:v>
                </c:pt>
                <c:pt idx="2908">
                  <c:v>39286</c:v>
                </c:pt>
                <c:pt idx="2909">
                  <c:v>39287</c:v>
                </c:pt>
                <c:pt idx="2910">
                  <c:v>39288</c:v>
                </c:pt>
                <c:pt idx="2911">
                  <c:v>39289</c:v>
                </c:pt>
                <c:pt idx="2912">
                  <c:v>39290</c:v>
                </c:pt>
                <c:pt idx="2913">
                  <c:v>39293</c:v>
                </c:pt>
                <c:pt idx="2914">
                  <c:v>39294</c:v>
                </c:pt>
                <c:pt idx="2915">
                  <c:v>39295</c:v>
                </c:pt>
                <c:pt idx="2916">
                  <c:v>39296</c:v>
                </c:pt>
                <c:pt idx="2917">
                  <c:v>39297</c:v>
                </c:pt>
                <c:pt idx="2918">
                  <c:v>39300</c:v>
                </c:pt>
                <c:pt idx="2919">
                  <c:v>39301</c:v>
                </c:pt>
                <c:pt idx="2920">
                  <c:v>39302</c:v>
                </c:pt>
                <c:pt idx="2921">
                  <c:v>39303</c:v>
                </c:pt>
                <c:pt idx="2922">
                  <c:v>39304</c:v>
                </c:pt>
                <c:pt idx="2923">
                  <c:v>39307</c:v>
                </c:pt>
                <c:pt idx="2924">
                  <c:v>39308</c:v>
                </c:pt>
                <c:pt idx="2925">
                  <c:v>39309</c:v>
                </c:pt>
                <c:pt idx="2926">
                  <c:v>39310</c:v>
                </c:pt>
                <c:pt idx="2927">
                  <c:v>39311</c:v>
                </c:pt>
                <c:pt idx="2928">
                  <c:v>39314</c:v>
                </c:pt>
                <c:pt idx="2929">
                  <c:v>39315</c:v>
                </c:pt>
                <c:pt idx="2930">
                  <c:v>39316</c:v>
                </c:pt>
                <c:pt idx="2931">
                  <c:v>39317</c:v>
                </c:pt>
                <c:pt idx="2932">
                  <c:v>39318</c:v>
                </c:pt>
                <c:pt idx="2933">
                  <c:v>39321</c:v>
                </c:pt>
                <c:pt idx="2934">
                  <c:v>39322</c:v>
                </c:pt>
                <c:pt idx="2935">
                  <c:v>39323</c:v>
                </c:pt>
                <c:pt idx="2936">
                  <c:v>39324</c:v>
                </c:pt>
                <c:pt idx="2937">
                  <c:v>39325</c:v>
                </c:pt>
                <c:pt idx="2938">
                  <c:v>39329</c:v>
                </c:pt>
                <c:pt idx="2939">
                  <c:v>39330</c:v>
                </c:pt>
                <c:pt idx="2940">
                  <c:v>39331</c:v>
                </c:pt>
                <c:pt idx="2941">
                  <c:v>39332</c:v>
                </c:pt>
                <c:pt idx="2942">
                  <c:v>39335</c:v>
                </c:pt>
                <c:pt idx="2943">
                  <c:v>39336</c:v>
                </c:pt>
                <c:pt idx="2944">
                  <c:v>39337</c:v>
                </c:pt>
                <c:pt idx="2945">
                  <c:v>39338</c:v>
                </c:pt>
                <c:pt idx="2946">
                  <c:v>39339</c:v>
                </c:pt>
                <c:pt idx="2947">
                  <c:v>39342</c:v>
                </c:pt>
                <c:pt idx="2948">
                  <c:v>39343</c:v>
                </c:pt>
                <c:pt idx="2949">
                  <c:v>39344</c:v>
                </c:pt>
                <c:pt idx="2950">
                  <c:v>39345</c:v>
                </c:pt>
                <c:pt idx="2951">
                  <c:v>39346</c:v>
                </c:pt>
                <c:pt idx="2952">
                  <c:v>39349</c:v>
                </c:pt>
                <c:pt idx="2953">
                  <c:v>39350</c:v>
                </c:pt>
                <c:pt idx="2954">
                  <c:v>39351</c:v>
                </c:pt>
                <c:pt idx="2955">
                  <c:v>39352</c:v>
                </c:pt>
                <c:pt idx="2956">
                  <c:v>39353</c:v>
                </c:pt>
                <c:pt idx="2957">
                  <c:v>39356</c:v>
                </c:pt>
                <c:pt idx="2958">
                  <c:v>39357</c:v>
                </c:pt>
                <c:pt idx="2959">
                  <c:v>39358</c:v>
                </c:pt>
                <c:pt idx="2960">
                  <c:v>39359</c:v>
                </c:pt>
                <c:pt idx="2961">
                  <c:v>39360</c:v>
                </c:pt>
                <c:pt idx="2962">
                  <c:v>39363</c:v>
                </c:pt>
                <c:pt idx="2963">
                  <c:v>39364</c:v>
                </c:pt>
                <c:pt idx="2964">
                  <c:v>39365</c:v>
                </c:pt>
                <c:pt idx="2965">
                  <c:v>39366</c:v>
                </c:pt>
                <c:pt idx="2966">
                  <c:v>39367</c:v>
                </c:pt>
                <c:pt idx="2967">
                  <c:v>39370</c:v>
                </c:pt>
                <c:pt idx="2968">
                  <c:v>39371</c:v>
                </c:pt>
                <c:pt idx="2969">
                  <c:v>39372</c:v>
                </c:pt>
                <c:pt idx="2970">
                  <c:v>39373</c:v>
                </c:pt>
                <c:pt idx="2971">
                  <c:v>39374</c:v>
                </c:pt>
                <c:pt idx="2972">
                  <c:v>39377</c:v>
                </c:pt>
                <c:pt idx="2973">
                  <c:v>39378</c:v>
                </c:pt>
                <c:pt idx="2974">
                  <c:v>39379</c:v>
                </c:pt>
                <c:pt idx="2975">
                  <c:v>39380</c:v>
                </c:pt>
                <c:pt idx="2976">
                  <c:v>39381</c:v>
                </c:pt>
                <c:pt idx="2977">
                  <c:v>39384</c:v>
                </c:pt>
                <c:pt idx="2978">
                  <c:v>39385</c:v>
                </c:pt>
                <c:pt idx="2979">
                  <c:v>39386</c:v>
                </c:pt>
                <c:pt idx="2980">
                  <c:v>39387</c:v>
                </c:pt>
                <c:pt idx="2981">
                  <c:v>39388</c:v>
                </c:pt>
                <c:pt idx="2982">
                  <c:v>39391</c:v>
                </c:pt>
                <c:pt idx="2983">
                  <c:v>39392</c:v>
                </c:pt>
                <c:pt idx="2984">
                  <c:v>39393</c:v>
                </c:pt>
                <c:pt idx="2985">
                  <c:v>39394</c:v>
                </c:pt>
                <c:pt idx="2986">
                  <c:v>39395</c:v>
                </c:pt>
                <c:pt idx="2987">
                  <c:v>39398</c:v>
                </c:pt>
                <c:pt idx="2988">
                  <c:v>39399</c:v>
                </c:pt>
                <c:pt idx="2989">
                  <c:v>39400</c:v>
                </c:pt>
                <c:pt idx="2990">
                  <c:v>39401</c:v>
                </c:pt>
                <c:pt idx="2991">
                  <c:v>39402</c:v>
                </c:pt>
                <c:pt idx="2992">
                  <c:v>39405</c:v>
                </c:pt>
                <c:pt idx="2993">
                  <c:v>39406</c:v>
                </c:pt>
                <c:pt idx="2994">
                  <c:v>39407</c:v>
                </c:pt>
                <c:pt idx="2995">
                  <c:v>39409</c:v>
                </c:pt>
                <c:pt idx="2996">
                  <c:v>39412</c:v>
                </c:pt>
                <c:pt idx="2997">
                  <c:v>39413</c:v>
                </c:pt>
                <c:pt idx="2998">
                  <c:v>39414</c:v>
                </c:pt>
                <c:pt idx="2999">
                  <c:v>39415</c:v>
                </c:pt>
                <c:pt idx="3000">
                  <c:v>39416</c:v>
                </c:pt>
                <c:pt idx="3001">
                  <c:v>39419</c:v>
                </c:pt>
                <c:pt idx="3002">
                  <c:v>39420</c:v>
                </c:pt>
                <c:pt idx="3003">
                  <c:v>39421</c:v>
                </c:pt>
                <c:pt idx="3004">
                  <c:v>39422</c:v>
                </c:pt>
                <c:pt idx="3005">
                  <c:v>39423</c:v>
                </c:pt>
                <c:pt idx="3006">
                  <c:v>39426</c:v>
                </c:pt>
                <c:pt idx="3007">
                  <c:v>39427</c:v>
                </c:pt>
                <c:pt idx="3008">
                  <c:v>39428</c:v>
                </c:pt>
                <c:pt idx="3009">
                  <c:v>39429</c:v>
                </c:pt>
                <c:pt idx="3010">
                  <c:v>39430</c:v>
                </c:pt>
                <c:pt idx="3011">
                  <c:v>39433</c:v>
                </c:pt>
                <c:pt idx="3012">
                  <c:v>39434</c:v>
                </c:pt>
                <c:pt idx="3013">
                  <c:v>39435</c:v>
                </c:pt>
                <c:pt idx="3014">
                  <c:v>39436</c:v>
                </c:pt>
                <c:pt idx="3015">
                  <c:v>39437</c:v>
                </c:pt>
                <c:pt idx="3016">
                  <c:v>39440</c:v>
                </c:pt>
                <c:pt idx="3017">
                  <c:v>39442</c:v>
                </c:pt>
                <c:pt idx="3018">
                  <c:v>39443</c:v>
                </c:pt>
                <c:pt idx="3019">
                  <c:v>39444</c:v>
                </c:pt>
                <c:pt idx="3020">
                  <c:v>39447</c:v>
                </c:pt>
                <c:pt idx="3021">
                  <c:v>39449</c:v>
                </c:pt>
                <c:pt idx="3022">
                  <c:v>39450</c:v>
                </c:pt>
                <c:pt idx="3023">
                  <c:v>39451</c:v>
                </c:pt>
                <c:pt idx="3024">
                  <c:v>39454</c:v>
                </c:pt>
                <c:pt idx="3025">
                  <c:v>39455</c:v>
                </c:pt>
                <c:pt idx="3026">
                  <c:v>39456</c:v>
                </c:pt>
                <c:pt idx="3027">
                  <c:v>39457</c:v>
                </c:pt>
                <c:pt idx="3028">
                  <c:v>39458</c:v>
                </c:pt>
                <c:pt idx="3029">
                  <c:v>39461</c:v>
                </c:pt>
                <c:pt idx="3030">
                  <c:v>39462</c:v>
                </c:pt>
                <c:pt idx="3031">
                  <c:v>39463</c:v>
                </c:pt>
                <c:pt idx="3032">
                  <c:v>39464</c:v>
                </c:pt>
                <c:pt idx="3033">
                  <c:v>39465</c:v>
                </c:pt>
                <c:pt idx="3034">
                  <c:v>39469</c:v>
                </c:pt>
                <c:pt idx="3035">
                  <c:v>39470</c:v>
                </c:pt>
                <c:pt idx="3036">
                  <c:v>39471</c:v>
                </c:pt>
                <c:pt idx="3037">
                  <c:v>39472</c:v>
                </c:pt>
                <c:pt idx="3038">
                  <c:v>39475</c:v>
                </c:pt>
                <c:pt idx="3039">
                  <c:v>39476</c:v>
                </c:pt>
                <c:pt idx="3040">
                  <c:v>39477</c:v>
                </c:pt>
                <c:pt idx="3041">
                  <c:v>39478</c:v>
                </c:pt>
                <c:pt idx="3042">
                  <c:v>39479</c:v>
                </c:pt>
                <c:pt idx="3043">
                  <c:v>39482</c:v>
                </c:pt>
                <c:pt idx="3044">
                  <c:v>39483</c:v>
                </c:pt>
                <c:pt idx="3045">
                  <c:v>39484</c:v>
                </c:pt>
                <c:pt idx="3046">
                  <c:v>39485</c:v>
                </c:pt>
                <c:pt idx="3047">
                  <c:v>39486</c:v>
                </c:pt>
                <c:pt idx="3048">
                  <c:v>39489</c:v>
                </c:pt>
                <c:pt idx="3049">
                  <c:v>39490</c:v>
                </c:pt>
                <c:pt idx="3050">
                  <c:v>39491</c:v>
                </c:pt>
                <c:pt idx="3051">
                  <c:v>39492</c:v>
                </c:pt>
                <c:pt idx="3052">
                  <c:v>39493</c:v>
                </c:pt>
                <c:pt idx="3053">
                  <c:v>39497</c:v>
                </c:pt>
                <c:pt idx="3054">
                  <c:v>39498</c:v>
                </c:pt>
                <c:pt idx="3055">
                  <c:v>39499</c:v>
                </c:pt>
                <c:pt idx="3056">
                  <c:v>39500</c:v>
                </c:pt>
                <c:pt idx="3057">
                  <c:v>39503</c:v>
                </c:pt>
                <c:pt idx="3058">
                  <c:v>39504</c:v>
                </c:pt>
                <c:pt idx="3059">
                  <c:v>39505</c:v>
                </c:pt>
                <c:pt idx="3060">
                  <c:v>39506</c:v>
                </c:pt>
                <c:pt idx="3061">
                  <c:v>39507</c:v>
                </c:pt>
                <c:pt idx="3062">
                  <c:v>39510</c:v>
                </c:pt>
                <c:pt idx="3063">
                  <c:v>39511</c:v>
                </c:pt>
                <c:pt idx="3064">
                  <c:v>39512</c:v>
                </c:pt>
                <c:pt idx="3065">
                  <c:v>39513</c:v>
                </c:pt>
                <c:pt idx="3066">
                  <c:v>39514</c:v>
                </c:pt>
                <c:pt idx="3067">
                  <c:v>39517</c:v>
                </c:pt>
                <c:pt idx="3068">
                  <c:v>39518</c:v>
                </c:pt>
                <c:pt idx="3069">
                  <c:v>39519</c:v>
                </c:pt>
                <c:pt idx="3070">
                  <c:v>39520</c:v>
                </c:pt>
                <c:pt idx="3071">
                  <c:v>39521</c:v>
                </c:pt>
                <c:pt idx="3072">
                  <c:v>39524</c:v>
                </c:pt>
                <c:pt idx="3073">
                  <c:v>39525</c:v>
                </c:pt>
                <c:pt idx="3074">
                  <c:v>39526</c:v>
                </c:pt>
                <c:pt idx="3075">
                  <c:v>39527</c:v>
                </c:pt>
                <c:pt idx="3076">
                  <c:v>39531</c:v>
                </c:pt>
                <c:pt idx="3077">
                  <c:v>39532</c:v>
                </c:pt>
                <c:pt idx="3078">
                  <c:v>39533</c:v>
                </c:pt>
                <c:pt idx="3079">
                  <c:v>39534</c:v>
                </c:pt>
                <c:pt idx="3080">
                  <c:v>39535</c:v>
                </c:pt>
                <c:pt idx="3081">
                  <c:v>39538</c:v>
                </c:pt>
                <c:pt idx="3082">
                  <c:v>39539</c:v>
                </c:pt>
                <c:pt idx="3083">
                  <c:v>39540</c:v>
                </c:pt>
                <c:pt idx="3084">
                  <c:v>39541</c:v>
                </c:pt>
                <c:pt idx="3085">
                  <c:v>39542</c:v>
                </c:pt>
                <c:pt idx="3086">
                  <c:v>39545</c:v>
                </c:pt>
                <c:pt idx="3087">
                  <c:v>39546</c:v>
                </c:pt>
                <c:pt idx="3088">
                  <c:v>39547</c:v>
                </c:pt>
                <c:pt idx="3089">
                  <c:v>39548</c:v>
                </c:pt>
                <c:pt idx="3090">
                  <c:v>39549</c:v>
                </c:pt>
                <c:pt idx="3091">
                  <c:v>39552</c:v>
                </c:pt>
                <c:pt idx="3092">
                  <c:v>39553</c:v>
                </c:pt>
                <c:pt idx="3093">
                  <c:v>39554</c:v>
                </c:pt>
                <c:pt idx="3094">
                  <c:v>39555</c:v>
                </c:pt>
                <c:pt idx="3095">
                  <c:v>39556</c:v>
                </c:pt>
                <c:pt idx="3096">
                  <c:v>39559</c:v>
                </c:pt>
                <c:pt idx="3097">
                  <c:v>39560</c:v>
                </c:pt>
                <c:pt idx="3098">
                  <c:v>39561</c:v>
                </c:pt>
                <c:pt idx="3099">
                  <c:v>39562</c:v>
                </c:pt>
                <c:pt idx="3100">
                  <c:v>39563</c:v>
                </c:pt>
                <c:pt idx="3101">
                  <c:v>39566</c:v>
                </c:pt>
                <c:pt idx="3102">
                  <c:v>39567</c:v>
                </c:pt>
                <c:pt idx="3103">
                  <c:v>39568</c:v>
                </c:pt>
                <c:pt idx="3104">
                  <c:v>39569</c:v>
                </c:pt>
                <c:pt idx="3105">
                  <c:v>39570</c:v>
                </c:pt>
                <c:pt idx="3106">
                  <c:v>39573</c:v>
                </c:pt>
                <c:pt idx="3107">
                  <c:v>39574</c:v>
                </c:pt>
                <c:pt idx="3108">
                  <c:v>39575</c:v>
                </c:pt>
                <c:pt idx="3109">
                  <c:v>39576</c:v>
                </c:pt>
                <c:pt idx="3110">
                  <c:v>39577</c:v>
                </c:pt>
                <c:pt idx="3111">
                  <c:v>39580</c:v>
                </c:pt>
                <c:pt idx="3112">
                  <c:v>39581</c:v>
                </c:pt>
                <c:pt idx="3113">
                  <c:v>39582</c:v>
                </c:pt>
                <c:pt idx="3114">
                  <c:v>39583</c:v>
                </c:pt>
                <c:pt idx="3115">
                  <c:v>39584</c:v>
                </c:pt>
                <c:pt idx="3116">
                  <c:v>39587</c:v>
                </c:pt>
                <c:pt idx="3117">
                  <c:v>39588</c:v>
                </c:pt>
                <c:pt idx="3118">
                  <c:v>39589</c:v>
                </c:pt>
                <c:pt idx="3119">
                  <c:v>39590</c:v>
                </c:pt>
                <c:pt idx="3120">
                  <c:v>39591</c:v>
                </c:pt>
                <c:pt idx="3121">
                  <c:v>39595</c:v>
                </c:pt>
                <c:pt idx="3122">
                  <c:v>39596</c:v>
                </c:pt>
                <c:pt idx="3123">
                  <c:v>39597</c:v>
                </c:pt>
                <c:pt idx="3124">
                  <c:v>39598</c:v>
                </c:pt>
                <c:pt idx="3125">
                  <c:v>39601</c:v>
                </c:pt>
                <c:pt idx="3126">
                  <c:v>39602</c:v>
                </c:pt>
                <c:pt idx="3127">
                  <c:v>39603</c:v>
                </c:pt>
                <c:pt idx="3128">
                  <c:v>39604</c:v>
                </c:pt>
                <c:pt idx="3129">
                  <c:v>39605</c:v>
                </c:pt>
                <c:pt idx="3130">
                  <c:v>39608</c:v>
                </c:pt>
                <c:pt idx="3131">
                  <c:v>39609</c:v>
                </c:pt>
                <c:pt idx="3132">
                  <c:v>39610</c:v>
                </c:pt>
                <c:pt idx="3133">
                  <c:v>39611</c:v>
                </c:pt>
                <c:pt idx="3134">
                  <c:v>39612</c:v>
                </c:pt>
                <c:pt idx="3135">
                  <c:v>39615</c:v>
                </c:pt>
                <c:pt idx="3136">
                  <c:v>39616</c:v>
                </c:pt>
                <c:pt idx="3137">
                  <c:v>39617</c:v>
                </c:pt>
                <c:pt idx="3138">
                  <c:v>39618</c:v>
                </c:pt>
                <c:pt idx="3139">
                  <c:v>39619</c:v>
                </c:pt>
                <c:pt idx="3140">
                  <c:v>39622</c:v>
                </c:pt>
                <c:pt idx="3141">
                  <c:v>39623</c:v>
                </c:pt>
                <c:pt idx="3142">
                  <c:v>39624</c:v>
                </c:pt>
                <c:pt idx="3143">
                  <c:v>39625</c:v>
                </c:pt>
                <c:pt idx="3144">
                  <c:v>39626</c:v>
                </c:pt>
                <c:pt idx="3145">
                  <c:v>39629</c:v>
                </c:pt>
                <c:pt idx="3146">
                  <c:v>39630</c:v>
                </c:pt>
                <c:pt idx="3147">
                  <c:v>39631</c:v>
                </c:pt>
                <c:pt idx="3148">
                  <c:v>39632</c:v>
                </c:pt>
                <c:pt idx="3149">
                  <c:v>39636</c:v>
                </c:pt>
                <c:pt idx="3150">
                  <c:v>39637</c:v>
                </c:pt>
                <c:pt idx="3151">
                  <c:v>39638</c:v>
                </c:pt>
                <c:pt idx="3152">
                  <c:v>39639</c:v>
                </c:pt>
                <c:pt idx="3153">
                  <c:v>39640</c:v>
                </c:pt>
                <c:pt idx="3154">
                  <c:v>39643</c:v>
                </c:pt>
                <c:pt idx="3155">
                  <c:v>39644</c:v>
                </c:pt>
                <c:pt idx="3156">
                  <c:v>39645</c:v>
                </c:pt>
                <c:pt idx="3157">
                  <c:v>39646</c:v>
                </c:pt>
                <c:pt idx="3158">
                  <c:v>39647</c:v>
                </c:pt>
                <c:pt idx="3159">
                  <c:v>39650</c:v>
                </c:pt>
                <c:pt idx="3160">
                  <c:v>39651</c:v>
                </c:pt>
                <c:pt idx="3161">
                  <c:v>39652</c:v>
                </c:pt>
                <c:pt idx="3162">
                  <c:v>39653</c:v>
                </c:pt>
                <c:pt idx="3163">
                  <c:v>39654</c:v>
                </c:pt>
                <c:pt idx="3164">
                  <c:v>39657</c:v>
                </c:pt>
                <c:pt idx="3165">
                  <c:v>39658</c:v>
                </c:pt>
                <c:pt idx="3166">
                  <c:v>39659</c:v>
                </c:pt>
                <c:pt idx="3167">
                  <c:v>39660</c:v>
                </c:pt>
                <c:pt idx="3168">
                  <c:v>39661</c:v>
                </c:pt>
                <c:pt idx="3169">
                  <c:v>39664</c:v>
                </c:pt>
                <c:pt idx="3170">
                  <c:v>39665</c:v>
                </c:pt>
                <c:pt idx="3171">
                  <c:v>39666</c:v>
                </c:pt>
                <c:pt idx="3172">
                  <c:v>39667</c:v>
                </c:pt>
                <c:pt idx="3173">
                  <c:v>39668</c:v>
                </c:pt>
                <c:pt idx="3174">
                  <c:v>39671</c:v>
                </c:pt>
                <c:pt idx="3175">
                  <c:v>39672</c:v>
                </c:pt>
                <c:pt idx="3176">
                  <c:v>39673</c:v>
                </c:pt>
                <c:pt idx="3177">
                  <c:v>39674</c:v>
                </c:pt>
                <c:pt idx="3178">
                  <c:v>39675</c:v>
                </c:pt>
                <c:pt idx="3179">
                  <c:v>39678</c:v>
                </c:pt>
                <c:pt idx="3180">
                  <c:v>39679</c:v>
                </c:pt>
                <c:pt idx="3181">
                  <c:v>39680</c:v>
                </c:pt>
                <c:pt idx="3182">
                  <c:v>39681</c:v>
                </c:pt>
                <c:pt idx="3183">
                  <c:v>39682</c:v>
                </c:pt>
                <c:pt idx="3184">
                  <c:v>39685</c:v>
                </c:pt>
                <c:pt idx="3185">
                  <c:v>39686</c:v>
                </c:pt>
                <c:pt idx="3186">
                  <c:v>39687</c:v>
                </c:pt>
                <c:pt idx="3187">
                  <c:v>39688</c:v>
                </c:pt>
                <c:pt idx="3188">
                  <c:v>39689</c:v>
                </c:pt>
                <c:pt idx="3189">
                  <c:v>39693</c:v>
                </c:pt>
                <c:pt idx="3190">
                  <c:v>39694</c:v>
                </c:pt>
                <c:pt idx="3191">
                  <c:v>39695</c:v>
                </c:pt>
                <c:pt idx="3192">
                  <c:v>39696</c:v>
                </c:pt>
                <c:pt idx="3193">
                  <c:v>39699</c:v>
                </c:pt>
                <c:pt idx="3194">
                  <c:v>39700</c:v>
                </c:pt>
                <c:pt idx="3195">
                  <c:v>39701</c:v>
                </c:pt>
                <c:pt idx="3196">
                  <c:v>39702</c:v>
                </c:pt>
                <c:pt idx="3197">
                  <c:v>39703</c:v>
                </c:pt>
                <c:pt idx="3198">
                  <c:v>39706</c:v>
                </c:pt>
                <c:pt idx="3199">
                  <c:v>39707</c:v>
                </c:pt>
                <c:pt idx="3200">
                  <c:v>39708</c:v>
                </c:pt>
                <c:pt idx="3201">
                  <c:v>39709</c:v>
                </c:pt>
                <c:pt idx="3202">
                  <c:v>39710</c:v>
                </c:pt>
                <c:pt idx="3203">
                  <c:v>39713</c:v>
                </c:pt>
                <c:pt idx="3204">
                  <c:v>39714</c:v>
                </c:pt>
                <c:pt idx="3205">
                  <c:v>39715</c:v>
                </c:pt>
                <c:pt idx="3206">
                  <c:v>39716</c:v>
                </c:pt>
                <c:pt idx="3207">
                  <c:v>39717</c:v>
                </c:pt>
                <c:pt idx="3208">
                  <c:v>39720</c:v>
                </c:pt>
                <c:pt idx="3209">
                  <c:v>39721</c:v>
                </c:pt>
                <c:pt idx="3210">
                  <c:v>39722</c:v>
                </c:pt>
                <c:pt idx="3211">
                  <c:v>39723</c:v>
                </c:pt>
                <c:pt idx="3212">
                  <c:v>39724</c:v>
                </c:pt>
                <c:pt idx="3213">
                  <c:v>39727</c:v>
                </c:pt>
                <c:pt idx="3214">
                  <c:v>39728</c:v>
                </c:pt>
                <c:pt idx="3215">
                  <c:v>39729</c:v>
                </c:pt>
                <c:pt idx="3216">
                  <c:v>39730</c:v>
                </c:pt>
                <c:pt idx="3217">
                  <c:v>39731</c:v>
                </c:pt>
                <c:pt idx="3218">
                  <c:v>39734</c:v>
                </c:pt>
                <c:pt idx="3219">
                  <c:v>39735</c:v>
                </c:pt>
                <c:pt idx="3220">
                  <c:v>39736</c:v>
                </c:pt>
                <c:pt idx="3221">
                  <c:v>39737</c:v>
                </c:pt>
                <c:pt idx="3222">
                  <c:v>39738</c:v>
                </c:pt>
                <c:pt idx="3223">
                  <c:v>39741</c:v>
                </c:pt>
                <c:pt idx="3224">
                  <c:v>39742</c:v>
                </c:pt>
                <c:pt idx="3225">
                  <c:v>39743</c:v>
                </c:pt>
                <c:pt idx="3226">
                  <c:v>39744</c:v>
                </c:pt>
                <c:pt idx="3227">
                  <c:v>39745</c:v>
                </c:pt>
                <c:pt idx="3228">
                  <c:v>39748</c:v>
                </c:pt>
                <c:pt idx="3229">
                  <c:v>39749</c:v>
                </c:pt>
                <c:pt idx="3230">
                  <c:v>39750</c:v>
                </c:pt>
                <c:pt idx="3231">
                  <c:v>39751</c:v>
                </c:pt>
                <c:pt idx="3232">
                  <c:v>39752</c:v>
                </c:pt>
                <c:pt idx="3233">
                  <c:v>39755</c:v>
                </c:pt>
                <c:pt idx="3234">
                  <c:v>39756</c:v>
                </c:pt>
                <c:pt idx="3235">
                  <c:v>39757</c:v>
                </c:pt>
                <c:pt idx="3236">
                  <c:v>39758</c:v>
                </c:pt>
                <c:pt idx="3237">
                  <c:v>39759</c:v>
                </c:pt>
                <c:pt idx="3238">
                  <c:v>39762</c:v>
                </c:pt>
                <c:pt idx="3239">
                  <c:v>39763</c:v>
                </c:pt>
                <c:pt idx="3240">
                  <c:v>39764</c:v>
                </c:pt>
                <c:pt idx="3241">
                  <c:v>39765</c:v>
                </c:pt>
                <c:pt idx="3242">
                  <c:v>39766</c:v>
                </c:pt>
                <c:pt idx="3243">
                  <c:v>39769</c:v>
                </c:pt>
                <c:pt idx="3244">
                  <c:v>39770</c:v>
                </c:pt>
                <c:pt idx="3245">
                  <c:v>39771</c:v>
                </c:pt>
                <c:pt idx="3246">
                  <c:v>39772</c:v>
                </c:pt>
                <c:pt idx="3247">
                  <c:v>39773</c:v>
                </c:pt>
                <c:pt idx="3248">
                  <c:v>39776</c:v>
                </c:pt>
                <c:pt idx="3249">
                  <c:v>39777</c:v>
                </c:pt>
                <c:pt idx="3250">
                  <c:v>39778</c:v>
                </c:pt>
                <c:pt idx="3251">
                  <c:v>39780</c:v>
                </c:pt>
                <c:pt idx="3252">
                  <c:v>39783</c:v>
                </c:pt>
                <c:pt idx="3253">
                  <c:v>39784</c:v>
                </c:pt>
                <c:pt idx="3254">
                  <c:v>39785</c:v>
                </c:pt>
                <c:pt idx="3255">
                  <c:v>39786</c:v>
                </c:pt>
                <c:pt idx="3256">
                  <c:v>39787</c:v>
                </c:pt>
                <c:pt idx="3257">
                  <c:v>39790</c:v>
                </c:pt>
                <c:pt idx="3258">
                  <c:v>39791</c:v>
                </c:pt>
                <c:pt idx="3259">
                  <c:v>39792</c:v>
                </c:pt>
                <c:pt idx="3260">
                  <c:v>39793</c:v>
                </c:pt>
                <c:pt idx="3261">
                  <c:v>39794</c:v>
                </c:pt>
                <c:pt idx="3262">
                  <c:v>39797</c:v>
                </c:pt>
                <c:pt idx="3263">
                  <c:v>39798</c:v>
                </c:pt>
                <c:pt idx="3264">
                  <c:v>39799</c:v>
                </c:pt>
                <c:pt idx="3265">
                  <c:v>39800</c:v>
                </c:pt>
                <c:pt idx="3266">
                  <c:v>39801</c:v>
                </c:pt>
                <c:pt idx="3267">
                  <c:v>39804</c:v>
                </c:pt>
                <c:pt idx="3268">
                  <c:v>39805</c:v>
                </c:pt>
                <c:pt idx="3269">
                  <c:v>39806</c:v>
                </c:pt>
                <c:pt idx="3270">
                  <c:v>39808</c:v>
                </c:pt>
                <c:pt idx="3271">
                  <c:v>39811</c:v>
                </c:pt>
                <c:pt idx="3272">
                  <c:v>39812</c:v>
                </c:pt>
                <c:pt idx="3273">
                  <c:v>39813</c:v>
                </c:pt>
                <c:pt idx="3274">
                  <c:v>39815</c:v>
                </c:pt>
                <c:pt idx="3275">
                  <c:v>39818</c:v>
                </c:pt>
                <c:pt idx="3276">
                  <c:v>39819</c:v>
                </c:pt>
                <c:pt idx="3277">
                  <c:v>39820</c:v>
                </c:pt>
                <c:pt idx="3278">
                  <c:v>39821</c:v>
                </c:pt>
                <c:pt idx="3279">
                  <c:v>39822</c:v>
                </c:pt>
                <c:pt idx="3280">
                  <c:v>39825</c:v>
                </c:pt>
                <c:pt idx="3281">
                  <c:v>39826</c:v>
                </c:pt>
                <c:pt idx="3282">
                  <c:v>39827</c:v>
                </c:pt>
                <c:pt idx="3283">
                  <c:v>39828</c:v>
                </c:pt>
                <c:pt idx="3284">
                  <c:v>39829</c:v>
                </c:pt>
                <c:pt idx="3285">
                  <c:v>39833</c:v>
                </c:pt>
                <c:pt idx="3286">
                  <c:v>39834</c:v>
                </c:pt>
                <c:pt idx="3287">
                  <c:v>39835</c:v>
                </c:pt>
                <c:pt idx="3288">
                  <c:v>39836</c:v>
                </c:pt>
                <c:pt idx="3289">
                  <c:v>39839</c:v>
                </c:pt>
                <c:pt idx="3290">
                  <c:v>39840</c:v>
                </c:pt>
                <c:pt idx="3291">
                  <c:v>39841</c:v>
                </c:pt>
                <c:pt idx="3292">
                  <c:v>39842</c:v>
                </c:pt>
                <c:pt idx="3293">
                  <c:v>39843</c:v>
                </c:pt>
                <c:pt idx="3294">
                  <c:v>39846</c:v>
                </c:pt>
                <c:pt idx="3295">
                  <c:v>39847</c:v>
                </c:pt>
                <c:pt idx="3296">
                  <c:v>39848</c:v>
                </c:pt>
                <c:pt idx="3297">
                  <c:v>39849</c:v>
                </c:pt>
                <c:pt idx="3298">
                  <c:v>39850</c:v>
                </c:pt>
                <c:pt idx="3299">
                  <c:v>39853</c:v>
                </c:pt>
                <c:pt idx="3300">
                  <c:v>39854</c:v>
                </c:pt>
                <c:pt idx="3301">
                  <c:v>39855</c:v>
                </c:pt>
                <c:pt idx="3302">
                  <c:v>39856</c:v>
                </c:pt>
                <c:pt idx="3303">
                  <c:v>39857</c:v>
                </c:pt>
                <c:pt idx="3304">
                  <c:v>39861</c:v>
                </c:pt>
                <c:pt idx="3305">
                  <c:v>39862</c:v>
                </c:pt>
                <c:pt idx="3306">
                  <c:v>39863</c:v>
                </c:pt>
                <c:pt idx="3307">
                  <c:v>39864</c:v>
                </c:pt>
                <c:pt idx="3308">
                  <c:v>39867</c:v>
                </c:pt>
                <c:pt idx="3309">
                  <c:v>39868</c:v>
                </c:pt>
                <c:pt idx="3310">
                  <c:v>39869</c:v>
                </c:pt>
                <c:pt idx="3311">
                  <c:v>39870</c:v>
                </c:pt>
                <c:pt idx="3312">
                  <c:v>39871</c:v>
                </c:pt>
                <c:pt idx="3313">
                  <c:v>39874</c:v>
                </c:pt>
                <c:pt idx="3314">
                  <c:v>39875</c:v>
                </c:pt>
                <c:pt idx="3315">
                  <c:v>39876</c:v>
                </c:pt>
                <c:pt idx="3316">
                  <c:v>39877</c:v>
                </c:pt>
                <c:pt idx="3317">
                  <c:v>39878</c:v>
                </c:pt>
                <c:pt idx="3318">
                  <c:v>39881</c:v>
                </c:pt>
                <c:pt idx="3319">
                  <c:v>39882</c:v>
                </c:pt>
                <c:pt idx="3320">
                  <c:v>39883</c:v>
                </c:pt>
                <c:pt idx="3321">
                  <c:v>39884</c:v>
                </c:pt>
                <c:pt idx="3322">
                  <c:v>39885</c:v>
                </c:pt>
                <c:pt idx="3323">
                  <c:v>39888</c:v>
                </c:pt>
                <c:pt idx="3324">
                  <c:v>39889</c:v>
                </c:pt>
                <c:pt idx="3325">
                  <c:v>39890</c:v>
                </c:pt>
                <c:pt idx="3326">
                  <c:v>39891</c:v>
                </c:pt>
                <c:pt idx="3327">
                  <c:v>39892</c:v>
                </c:pt>
                <c:pt idx="3328">
                  <c:v>39895</c:v>
                </c:pt>
                <c:pt idx="3329">
                  <c:v>39896</c:v>
                </c:pt>
                <c:pt idx="3330">
                  <c:v>39897</c:v>
                </c:pt>
                <c:pt idx="3331">
                  <c:v>39898</c:v>
                </c:pt>
                <c:pt idx="3332">
                  <c:v>39899</c:v>
                </c:pt>
                <c:pt idx="3333">
                  <c:v>39902</c:v>
                </c:pt>
                <c:pt idx="3334">
                  <c:v>39903</c:v>
                </c:pt>
                <c:pt idx="3335">
                  <c:v>39904</c:v>
                </c:pt>
                <c:pt idx="3336">
                  <c:v>39905</c:v>
                </c:pt>
                <c:pt idx="3337">
                  <c:v>39906</c:v>
                </c:pt>
                <c:pt idx="3338">
                  <c:v>39909</c:v>
                </c:pt>
                <c:pt idx="3339">
                  <c:v>39910</c:v>
                </c:pt>
                <c:pt idx="3340">
                  <c:v>39911</c:v>
                </c:pt>
                <c:pt idx="3341">
                  <c:v>39912</c:v>
                </c:pt>
                <c:pt idx="3342">
                  <c:v>39916</c:v>
                </c:pt>
                <c:pt idx="3343">
                  <c:v>39917</c:v>
                </c:pt>
                <c:pt idx="3344">
                  <c:v>39918</c:v>
                </c:pt>
                <c:pt idx="3345">
                  <c:v>39919</c:v>
                </c:pt>
                <c:pt idx="3346">
                  <c:v>39920</c:v>
                </c:pt>
                <c:pt idx="3347">
                  <c:v>39923</c:v>
                </c:pt>
                <c:pt idx="3348">
                  <c:v>39924</c:v>
                </c:pt>
                <c:pt idx="3349">
                  <c:v>39925</c:v>
                </c:pt>
                <c:pt idx="3350">
                  <c:v>39926</c:v>
                </c:pt>
                <c:pt idx="3351">
                  <c:v>39927</c:v>
                </c:pt>
                <c:pt idx="3352">
                  <c:v>39930</c:v>
                </c:pt>
                <c:pt idx="3353">
                  <c:v>39931</c:v>
                </c:pt>
                <c:pt idx="3354">
                  <c:v>39932</c:v>
                </c:pt>
                <c:pt idx="3355">
                  <c:v>39933</c:v>
                </c:pt>
                <c:pt idx="3356">
                  <c:v>39934</c:v>
                </c:pt>
                <c:pt idx="3357">
                  <c:v>39937</c:v>
                </c:pt>
                <c:pt idx="3358">
                  <c:v>39938</c:v>
                </c:pt>
                <c:pt idx="3359">
                  <c:v>39939</c:v>
                </c:pt>
                <c:pt idx="3360">
                  <c:v>39940</c:v>
                </c:pt>
                <c:pt idx="3361">
                  <c:v>39941</c:v>
                </c:pt>
                <c:pt idx="3362">
                  <c:v>39944</c:v>
                </c:pt>
                <c:pt idx="3363">
                  <c:v>39945</c:v>
                </c:pt>
                <c:pt idx="3364">
                  <c:v>39946</c:v>
                </c:pt>
                <c:pt idx="3365">
                  <c:v>39947</c:v>
                </c:pt>
                <c:pt idx="3366">
                  <c:v>39948</c:v>
                </c:pt>
                <c:pt idx="3367">
                  <c:v>39951</c:v>
                </c:pt>
                <c:pt idx="3368">
                  <c:v>39952</c:v>
                </c:pt>
                <c:pt idx="3369">
                  <c:v>39953</c:v>
                </c:pt>
                <c:pt idx="3370">
                  <c:v>39954</c:v>
                </c:pt>
                <c:pt idx="3371">
                  <c:v>39955</c:v>
                </c:pt>
                <c:pt idx="3372">
                  <c:v>39959</c:v>
                </c:pt>
                <c:pt idx="3373">
                  <c:v>39960</c:v>
                </c:pt>
                <c:pt idx="3374">
                  <c:v>39961</c:v>
                </c:pt>
                <c:pt idx="3375">
                  <c:v>39962</c:v>
                </c:pt>
                <c:pt idx="3376">
                  <c:v>39965</c:v>
                </c:pt>
                <c:pt idx="3377">
                  <c:v>39966</c:v>
                </c:pt>
                <c:pt idx="3378">
                  <c:v>39967</c:v>
                </c:pt>
                <c:pt idx="3379">
                  <c:v>39968</c:v>
                </c:pt>
                <c:pt idx="3380">
                  <c:v>39969</c:v>
                </c:pt>
                <c:pt idx="3381">
                  <c:v>39972</c:v>
                </c:pt>
                <c:pt idx="3382">
                  <c:v>39973</c:v>
                </c:pt>
                <c:pt idx="3383">
                  <c:v>39974</c:v>
                </c:pt>
                <c:pt idx="3384">
                  <c:v>39975</c:v>
                </c:pt>
                <c:pt idx="3385">
                  <c:v>39976</c:v>
                </c:pt>
                <c:pt idx="3386">
                  <c:v>39979</c:v>
                </c:pt>
                <c:pt idx="3387">
                  <c:v>39980</c:v>
                </c:pt>
                <c:pt idx="3388">
                  <c:v>39981</c:v>
                </c:pt>
                <c:pt idx="3389">
                  <c:v>39982</c:v>
                </c:pt>
                <c:pt idx="3390">
                  <c:v>39983</c:v>
                </c:pt>
                <c:pt idx="3391">
                  <c:v>39986</c:v>
                </c:pt>
                <c:pt idx="3392">
                  <c:v>39987</c:v>
                </c:pt>
                <c:pt idx="3393">
                  <c:v>39988</c:v>
                </c:pt>
                <c:pt idx="3394">
                  <c:v>39989</c:v>
                </c:pt>
                <c:pt idx="3395">
                  <c:v>39990</c:v>
                </c:pt>
                <c:pt idx="3396">
                  <c:v>39993</c:v>
                </c:pt>
                <c:pt idx="3397">
                  <c:v>39994</c:v>
                </c:pt>
                <c:pt idx="3398">
                  <c:v>39995</c:v>
                </c:pt>
                <c:pt idx="3399">
                  <c:v>39996</c:v>
                </c:pt>
                <c:pt idx="3400">
                  <c:v>40000</c:v>
                </c:pt>
                <c:pt idx="3401">
                  <c:v>40001</c:v>
                </c:pt>
                <c:pt idx="3402">
                  <c:v>40002</c:v>
                </c:pt>
                <c:pt idx="3403">
                  <c:v>40003</c:v>
                </c:pt>
                <c:pt idx="3404">
                  <c:v>40004</c:v>
                </c:pt>
                <c:pt idx="3405">
                  <c:v>40007</c:v>
                </c:pt>
                <c:pt idx="3406">
                  <c:v>40008</c:v>
                </c:pt>
                <c:pt idx="3407">
                  <c:v>40009</c:v>
                </c:pt>
                <c:pt idx="3408">
                  <c:v>40010</c:v>
                </c:pt>
                <c:pt idx="3409">
                  <c:v>40011</c:v>
                </c:pt>
                <c:pt idx="3410">
                  <c:v>40014</c:v>
                </c:pt>
                <c:pt idx="3411">
                  <c:v>40015</c:v>
                </c:pt>
                <c:pt idx="3412">
                  <c:v>40016</c:v>
                </c:pt>
                <c:pt idx="3413">
                  <c:v>40017</c:v>
                </c:pt>
                <c:pt idx="3414">
                  <c:v>40018</c:v>
                </c:pt>
                <c:pt idx="3415">
                  <c:v>40021</c:v>
                </c:pt>
                <c:pt idx="3416">
                  <c:v>40022</c:v>
                </c:pt>
                <c:pt idx="3417">
                  <c:v>40023</c:v>
                </c:pt>
                <c:pt idx="3418">
                  <c:v>40024</c:v>
                </c:pt>
                <c:pt idx="3419">
                  <c:v>40025</c:v>
                </c:pt>
                <c:pt idx="3420">
                  <c:v>40028</c:v>
                </c:pt>
                <c:pt idx="3421">
                  <c:v>40029</c:v>
                </c:pt>
                <c:pt idx="3422">
                  <c:v>40030</c:v>
                </c:pt>
                <c:pt idx="3423">
                  <c:v>40031</c:v>
                </c:pt>
                <c:pt idx="3424">
                  <c:v>40032</c:v>
                </c:pt>
                <c:pt idx="3425">
                  <c:v>40035</c:v>
                </c:pt>
                <c:pt idx="3426">
                  <c:v>40036</c:v>
                </c:pt>
                <c:pt idx="3427">
                  <c:v>40037</c:v>
                </c:pt>
                <c:pt idx="3428">
                  <c:v>40038</c:v>
                </c:pt>
                <c:pt idx="3429">
                  <c:v>40039</c:v>
                </c:pt>
                <c:pt idx="3430">
                  <c:v>40042</c:v>
                </c:pt>
                <c:pt idx="3431">
                  <c:v>40043</c:v>
                </c:pt>
                <c:pt idx="3432">
                  <c:v>40044</c:v>
                </c:pt>
                <c:pt idx="3433">
                  <c:v>40045</c:v>
                </c:pt>
                <c:pt idx="3434">
                  <c:v>40046</c:v>
                </c:pt>
                <c:pt idx="3435">
                  <c:v>40049</c:v>
                </c:pt>
                <c:pt idx="3436">
                  <c:v>40050</c:v>
                </c:pt>
                <c:pt idx="3437">
                  <c:v>40051</c:v>
                </c:pt>
                <c:pt idx="3438">
                  <c:v>40052</c:v>
                </c:pt>
                <c:pt idx="3439">
                  <c:v>40053</c:v>
                </c:pt>
                <c:pt idx="3440">
                  <c:v>40056</c:v>
                </c:pt>
                <c:pt idx="3441">
                  <c:v>40057</c:v>
                </c:pt>
                <c:pt idx="3442">
                  <c:v>40058</c:v>
                </c:pt>
                <c:pt idx="3443">
                  <c:v>40059</c:v>
                </c:pt>
                <c:pt idx="3444">
                  <c:v>40060</c:v>
                </c:pt>
                <c:pt idx="3445">
                  <c:v>40064</c:v>
                </c:pt>
                <c:pt idx="3446">
                  <c:v>40065</c:v>
                </c:pt>
                <c:pt idx="3447">
                  <c:v>40066</c:v>
                </c:pt>
                <c:pt idx="3448">
                  <c:v>40067</c:v>
                </c:pt>
                <c:pt idx="3449">
                  <c:v>40070</c:v>
                </c:pt>
                <c:pt idx="3450">
                  <c:v>40071</c:v>
                </c:pt>
                <c:pt idx="3451">
                  <c:v>40072</c:v>
                </c:pt>
                <c:pt idx="3452">
                  <c:v>40073</c:v>
                </c:pt>
                <c:pt idx="3453">
                  <c:v>40074</c:v>
                </c:pt>
                <c:pt idx="3454">
                  <c:v>40077</c:v>
                </c:pt>
                <c:pt idx="3455">
                  <c:v>40078</c:v>
                </c:pt>
                <c:pt idx="3456">
                  <c:v>40079</c:v>
                </c:pt>
                <c:pt idx="3457">
                  <c:v>40080</c:v>
                </c:pt>
                <c:pt idx="3458">
                  <c:v>40081</c:v>
                </c:pt>
                <c:pt idx="3459">
                  <c:v>40084</c:v>
                </c:pt>
                <c:pt idx="3460">
                  <c:v>40085</c:v>
                </c:pt>
                <c:pt idx="3461">
                  <c:v>40086</c:v>
                </c:pt>
                <c:pt idx="3462">
                  <c:v>40087</c:v>
                </c:pt>
                <c:pt idx="3463">
                  <c:v>40088</c:v>
                </c:pt>
                <c:pt idx="3464">
                  <c:v>40091</c:v>
                </c:pt>
                <c:pt idx="3465">
                  <c:v>40092</c:v>
                </c:pt>
                <c:pt idx="3466">
                  <c:v>40093</c:v>
                </c:pt>
                <c:pt idx="3467">
                  <c:v>40094</c:v>
                </c:pt>
                <c:pt idx="3468">
                  <c:v>40095</c:v>
                </c:pt>
                <c:pt idx="3469">
                  <c:v>40098</c:v>
                </c:pt>
                <c:pt idx="3470">
                  <c:v>40099</c:v>
                </c:pt>
                <c:pt idx="3471">
                  <c:v>40100</c:v>
                </c:pt>
                <c:pt idx="3472">
                  <c:v>40101</c:v>
                </c:pt>
                <c:pt idx="3473">
                  <c:v>40102</c:v>
                </c:pt>
                <c:pt idx="3474">
                  <c:v>40105</c:v>
                </c:pt>
                <c:pt idx="3475">
                  <c:v>40106</c:v>
                </c:pt>
                <c:pt idx="3476">
                  <c:v>40107</c:v>
                </c:pt>
                <c:pt idx="3477">
                  <c:v>40108</c:v>
                </c:pt>
                <c:pt idx="3478">
                  <c:v>40109</c:v>
                </c:pt>
                <c:pt idx="3479">
                  <c:v>40112</c:v>
                </c:pt>
                <c:pt idx="3480">
                  <c:v>40113</c:v>
                </c:pt>
                <c:pt idx="3481">
                  <c:v>40114</c:v>
                </c:pt>
                <c:pt idx="3482">
                  <c:v>40115</c:v>
                </c:pt>
                <c:pt idx="3483">
                  <c:v>40116</c:v>
                </c:pt>
                <c:pt idx="3484">
                  <c:v>40119</c:v>
                </c:pt>
                <c:pt idx="3485">
                  <c:v>40120</c:v>
                </c:pt>
                <c:pt idx="3486">
                  <c:v>40121</c:v>
                </c:pt>
                <c:pt idx="3487">
                  <c:v>40122</c:v>
                </c:pt>
                <c:pt idx="3488">
                  <c:v>40123</c:v>
                </c:pt>
                <c:pt idx="3489">
                  <c:v>40126</c:v>
                </c:pt>
                <c:pt idx="3490">
                  <c:v>40127</c:v>
                </c:pt>
                <c:pt idx="3491">
                  <c:v>40128</c:v>
                </c:pt>
                <c:pt idx="3492">
                  <c:v>40129</c:v>
                </c:pt>
                <c:pt idx="3493">
                  <c:v>40130</c:v>
                </c:pt>
                <c:pt idx="3494">
                  <c:v>40133</c:v>
                </c:pt>
                <c:pt idx="3495">
                  <c:v>40134</c:v>
                </c:pt>
                <c:pt idx="3496">
                  <c:v>40135</c:v>
                </c:pt>
                <c:pt idx="3497">
                  <c:v>40136</c:v>
                </c:pt>
                <c:pt idx="3498">
                  <c:v>40137</c:v>
                </c:pt>
                <c:pt idx="3499">
                  <c:v>40140</c:v>
                </c:pt>
                <c:pt idx="3500">
                  <c:v>40141</c:v>
                </c:pt>
                <c:pt idx="3501">
                  <c:v>40142</c:v>
                </c:pt>
                <c:pt idx="3502">
                  <c:v>40144</c:v>
                </c:pt>
                <c:pt idx="3503">
                  <c:v>40147</c:v>
                </c:pt>
                <c:pt idx="3504">
                  <c:v>40148</c:v>
                </c:pt>
                <c:pt idx="3505">
                  <c:v>40149</c:v>
                </c:pt>
                <c:pt idx="3506">
                  <c:v>40150</c:v>
                </c:pt>
                <c:pt idx="3507">
                  <c:v>40151</c:v>
                </c:pt>
                <c:pt idx="3508">
                  <c:v>40154</c:v>
                </c:pt>
                <c:pt idx="3509">
                  <c:v>40155</c:v>
                </c:pt>
                <c:pt idx="3510">
                  <c:v>40156</c:v>
                </c:pt>
                <c:pt idx="3511">
                  <c:v>40157</c:v>
                </c:pt>
                <c:pt idx="3512">
                  <c:v>40158</c:v>
                </c:pt>
                <c:pt idx="3513">
                  <c:v>40161</c:v>
                </c:pt>
                <c:pt idx="3514">
                  <c:v>40162</c:v>
                </c:pt>
                <c:pt idx="3515">
                  <c:v>40163</c:v>
                </c:pt>
                <c:pt idx="3516">
                  <c:v>40164</c:v>
                </c:pt>
                <c:pt idx="3517">
                  <c:v>40165</c:v>
                </c:pt>
                <c:pt idx="3518">
                  <c:v>40168</c:v>
                </c:pt>
                <c:pt idx="3519">
                  <c:v>40169</c:v>
                </c:pt>
                <c:pt idx="3520">
                  <c:v>40170</c:v>
                </c:pt>
                <c:pt idx="3521">
                  <c:v>40171</c:v>
                </c:pt>
                <c:pt idx="3522">
                  <c:v>40175</c:v>
                </c:pt>
                <c:pt idx="3523">
                  <c:v>40176</c:v>
                </c:pt>
                <c:pt idx="3524">
                  <c:v>40177</c:v>
                </c:pt>
                <c:pt idx="3525">
                  <c:v>40178</c:v>
                </c:pt>
                <c:pt idx="3526">
                  <c:v>40182</c:v>
                </c:pt>
                <c:pt idx="3527">
                  <c:v>40183</c:v>
                </c:pt>
                <c:pt idx="3528">
                  <c:v>40184</c:v>
                </c:pt>
                <c:pt idx="3529">
                  <c:v>40185</c:v>
                </c:pt>
                <c:pt idx="3530">
                  <c:v>40186</c:v>
                </c:pt>
                <c:pt idx="3531">
                  <c:v>40189</c:v>
                </c:pt>
                <c:pt idx="3532">
                  <c:v>40190</c:v>
                </c:pt>
                <c:pt idx="3533">
                  <c:v>40191</c:v>
                </c:pt>
                <c:pt idx="3534">
                  <c:v>40192</c:v>
                </c:pt>
                <c:pt idx="3535">
                  <c:v>40193</c:v>
                </c:pt>
                <c:pt idx="3536">
                  <c:v>40197</c:v>
                </c:pt>
                <c:pt idx="3537">
                  <c:v>40198</c:v>
                </c:pt>
                <c:pt idx="3538">
                  <c:v>40199</c:v>
                </c:pt>
                <c:pt idx="3539">
                  <c:v>40200</c:v>
                </c:pt>
                <c:pt idx="3540">
                  <c:v>40203</c:v>
                </c:pt>
                <c:pt idx="3541">
                  <c:v>40204</c:v>
                </c:pt>
                <c:pt idx="3542">
                  <c:v>40205</c:v>
                </c:pt>
                <c:pt idx="3543">
                  <c:v>40206</c:v>
                </c:pt>
                <c:pt idx="3544">
                  <c:v>40207</c:v>
                </c:pt>
                <c:pt idx="3545">
                  <c:v>40210</c:v>
                </c:pt>
                <c:pt idx="3546">
                  <c:v>40211</c:v>
                </c:pt>
                <c:pt idx="3547">
                  <c:v>40212</c:v>
                </c:pt>
                <c:pt idx="3548">
                  <c:v>40213</c:v>
                </c:pt>
                <c:pt idx="3549">
                  <c:v>40214</c:v>
                </c:pt>
                <c:pt idx="3550">
                  <c:v>40217</c:v>
                </c:pt>
                <c:pt idx="3551">
                  <c:v>40218</c:v>
                </c:pt>
                <c:pt idx="3552">
                  <c:v>40219</c:v>
                </c:pt>
                <c:pt idx="3553">
                  <c:v>40220</c:v>
                </c:pt>
                <c:pt idx="3554">
                  <c:v>40221</c:v>
                </c:pt>
                <c:pt idx="3555">
                  <c:v>40225</c:v>
                </c:pt>
                <c:pt idx="3556">
                  <c:v>40226</c:v>
                </c:pt>
                <c:pt idx="3557">
                  <c:v>40227</c:v>
                </c:pt>
                <c:pt idx="3558">
                  <c:v>40228</c:v>
                </c:pt>
                <c:pt idx="3559">
                  <c:v>40231</c:v>
                </c:pt>
                <c:pt idx="3560">
                  <c:v>40232</c:v>
                </c:pt>
                <c:pt idx="3561">
                  <c:v>40233</c:v>
                </c:pt>
                <c:pt idx="3562">
                  <c:v>40234</c:v>
                </c:pt>
                <c:pt idx="3563">
                  <c:v>40235</c:v>
                </c:pt>
                <c:pt idx="3564">
                  <c:v>40238</c:v>
                </c:pt>
                <c:pt idx="3565">
                  <c:v>40239</c:v>
                </c:pt>
                <c:pt idx="3566">
                  <c:v>40240</c:v>
                </c:pt>
                <c:pt idx="3567">
                  <c:v>40241</c:v>
                </c:pt>
                <c:pt idx="3568">
                  <c:v>40242</c:v>
                </c:pt>
                <c:pt idx="3569">
                  <c:v>40245</c:v>
                </c:pt>
                <c:pt idx="3570">
                  <c:v>40246</c:v>
                </c:pt>
                <c:pt idx="3571">
                  <c:v>40247</c:v>
                </c:pt>
                <c:pt idx="3572">
                  <c:v>40248</c:v>
                </c:pt>
                <c:pt idx="3573">
                  <c:v>40249</c:v>
                </c:pt>
                <c:pt idx="3574">
                  <c:v>40252</c:v>
                </c:pt>
                <c:pt idx="3575">
                  <c:v>40253</c:v>
                </c:pt>
                <c:pt idx="3576">
                  <c:v>40254</c:v>
                </c:pt>
                <c:pt idx="3577">
                  <c:v>40255</c:v>
                </c:pt>
                <c:pt idx="3578">
                  <c:v>40256</c:v>
                </c:pt>
                <c:pt idx="3579">
                  <c:v>40259</c:v>
                </c:pt>
                <c:pt idx="3580">
                  <c:v>40260</c:v>
                </c:pt>
                <c:pt idx="3581">
                  <c:v>40261</c:v>
                </c:pt>
                <c:pt idx="3582">
                  <c:v>40262</c:v>
                </c:pt>
                <c:pt idx="3583">
                  <c:v>40263</c:v>
                </c:pt>
                <c:pt idx="3584">
                  <c:v>40266</c:v>
                </c:pt>
                <c:pt idx="3585">
                  <c:v>40267</c:v>
                </c:pt>
                <c:pt idx="3586">
                  <c:v>40268</c:v>
                </c:pt>
                <c:pt idx="3587">
                  <c:v>40269</c:v>
                </c:pt>
                <c:pt idx="3588">
                  <c:v>40273</c:v>
                </c:pt>
                <c:pt idx="3589">
                  <c:v>40274</c:v>
                </c:pt>
                <c:pt idx="3590">
                  <c:v>40275</c:v>
                </c:pt>
                <c:pt idx="3591">
                  <c:v>40276</c:v>
                </c:pt>
                <c:pt idx="3592">
                  <c:v>40277</c:v>
                </c:pt>
                <c:pt idx="3593">
                  <c:v>40280</c:v>
                </c:pt>
                <c:pt idx="3594">
                  <c:v>40281</c:v>
                </c:pt>
                <c:pt idx="3595">
                  <c:v>40282</c:v>
                </c:pt>
                <c:pt idx="3596">
                  <c:v>40283</c:v>
                </c:pt>
                <c:pt idx="3597">
                  <c:v>40284</c:v>
                </c:pt>
                <c:pt idx="3598">
                  <c:v>40287</c:v>
                </c:pt>
                <c:pt idx="3599">
                  <c:v>40288</c:v>
                </c:pt>
                <c:pt idx="3600">
                  <c:v>40289</c:v>
                </c:pt>
                <c:pt idx="3601">
                  <c:v>40290</c:v>
                </c:pt>
                <c:pt idx="3602">
                  <c:v>40291</c:v>
                </c:pt>
                <c:pt idx="3603">
                  <c:v>40294</c:v>
                </c:pt>
                <c:pt idx="3604">
                  <c:v>40295</c:v>
                </c:pt>
                <c:pt idx="3605">
                  <c:v>40296</c:v>
                </c:pt>
                <c:pt idx="3606">
                  <c:v>40297</c:v>
                </c:pt>
                <c:pt idx="3607">
                  <c:v>40298</c:v>
                </c:pt>
                <c:pt idx="3608">
                  <c:v>40301</c:v>
                </c:pt>
                <c:pt idx="3609">
                  <c:v>40302</c:v>
                </c:pt>
                <c:pt idx="3610">
                  <c:v>40303</c:v>
                </c:pt>
                <c:pt idx="3611">
                  <c:v>40304</c:v>
                </c:pt>
                <c:pt idx="3612">
                  <c:v>40305</c:v>
                </c:pt>
                <c:pt idx="3613">
                  <c:v>40308</c:v>
                </c:pt>
                <c:pt idx="3614">
                  <c:v>40309</c:v>
                </c:pt>
                <c:pt idx="3615">
                  <c:v>40310</c:v>
                </c:pt>
                <c:pt idx="3616">
                  <c:v>40311</c:v>
                </c:pt>
                <c:pt idx="3617">
                  <c:v>40312</c:v>
                </c:pt>
                <c:pt idx="3618">
                  <c:v>40315</c:v>
                </c:pt>
                <c:pt idx="3619">
                  <c:v>40316</c:v>
                </c:pt>
                <c:pt idx="3620">
                  <c:v>40317</c:v>
                </c:pt>
                <c:pt idx="3621">
                  <c:v>40318</c:v>
                </c:pt>
                <c:pt idx="3622">
                  <c:v>40319</c:v>
                </c:pt>
                <c:pt idx="3623">
                  <c:v>40322</c:v>
                </c:pt>
                <c:pt idx="3624">
                  <c:v>40323</c:v>
                </c:pt>
                <c:pt idx="3625">
                  <c:v>40324</c:v>
                </c:pt>
                <c:pt idx="3626">
                  <c:v>40325</c:v>
                </c:pt>
                <c:pt idx="3627">
                  <c:v>40326</c:v>
                </c:pt>
                <c:pt idx="3628">
                  <c:v>40330</c:v>
                </c:pt>
                <c:pt idx="3629">
                  <c:v>40331</c:v>
                </c:pt>
                <c:pt idx="3630">
                  <c:v>40332</c:v>
                </c:pt>
                <c:pt idx="3631">
                  <c:v>40333</c:v>
                </c:pt>
                <c:pt idx="3632">
                  <c:v>40336</c:v>
                </c:pt>
                <c:pt idx="3633">
                  <c:v>40337</c:v>
                </c:pt>
                <c:pt idx="3634">
                  <c:v>40338</c:v>
                </c:pt>
                <c:pt idx="3635">
                  <c:v>40339</c:v>
                </c:pt>
                <c:pt idx="3636">
                  <c:v>40340</c:v>
                </c:pt>
                <c:pt idx="3637">
                  <c:v>40343</c:v>
                </c:pt>
                <c:pt idx="3638">
                  <c:v>40344</c:v>
                </c:pt>
                <c:pt idx="3639">
                  <c:v>40345</c:v>
                </c:pt>
                <c:pt idx="3640">
                  <c:v>40346</c:v>
                </c:pt>
                <c:pt idx="3641">
                  <c:v>40347</c:v>
                </c:pt>
                <c:pt idx="3642">
                  <c:v>40350</c:v>
                </c:pt>
                <c:pt idx="3643">
                  <c:v>40351</c:v>
                </c:pt>
                <c:pt idx="3644">
                  <c:v>40352</c:v>
                </c:pt>
                <c:pt idx="3645">
                  <c:v>40353</c:v>
                </c:pt>
                <c:pt idx="3646">
                  <c:v>40354</c:v>
                </c:pt>
                <c:pt idx="3647">
                  <c:v>40357</c:v>
                </c:pt>
                <c:pt idx="3648">
                  <c:v>40358</c:v>
                </c:pt>
                <c:pt idx="3649">
                  <c:v>40359</c:v>
                </c:pt>
                <c:pt idx="3650">
                  <c:v>40360</c:v>
                </c:pt>
                <c:pt idx="3651">
                  <c:v>40361</c:v>
                </c:pt>
                <c:pt idx="3652">
                  <c:v>40365</c:v>
                </c:pt>
                <c:pt idx="3653">
                  <c:v>40366</c:v>
                </c:pt>
                <c:pt idx="3654">
                  <c:v>40367</c:v>
                </c:pt>
                <c:pt idx="3655">
                  <c:v>40368</c:v>
                </c:pt>
                <c:pt idx="3656">
                  <c:v>40371</c:v>
                </c:pt>
                <c:pt idx="3657">
                  <c:v>40372</c:v>
                </c:pt>
                <c:pt idx="3658">
                  <c:v>40373</c:v>
                </c:pt>
                <c:pt idx="3659">
                  <c:v>40374</c:v>
                </c:pt>
                <c:pt idx="3660">
                  <c:v>40375</c:v>
                </c:pt>
                <c:pt idx="3661">
                  <c:v>40378</c:v>
                </c:pt>
                <c:pt idx="3662">
                  <c:v>40379</c:v>
                </c:pt>
                <c:pt idx="3663">
                  <c:v>40380</c:v>
                </c:pt>
                <c:pt idx="3664">
                  <c:v>40381</c:v>
                </c:pt>
                <c:pt idx="3665">
                  <c:v>40382</c:v>
                </c:pt>
                <c:pt idx="3666">
                  <c:v>40385</c:v>
                </c:pt>
                <c:pt idx="3667">
                  <c:v>40386</c:v>
                </c:pt>
                <c:pt idx="3668">
                  <c:v>40387</c:v>
                </c:pt>
                <c:pt idx="3669">
                  <c:v>40388</c:v>
                </c:pt>
                <c:pt idx="3670">
                  <c:v>40389</c:v>
                </c:pt>
                <c:pt idx="3671">
                  <c:v>40392</c:v>
                </c:pt>
                <c:pt idx="3672">
                  <c:v>40393</c:v>
                </c:pt>
                <c:pt idx="3673">
                  <c:v>40394</c:v>
                </c:pt>
                <c:pt idx="3674">
                  <c:v>40395</c:v>
                </c:pt>
                <c:pt idx="3675">
                  <c:v>40396</c:v>
                </c:pt>
                <c:pt idx="3676">
                  <c:v>40399</c:v>
                </c:pt>
                <c:pt idx="3677">
                  <c:v>40400</c:v>
                </c:pt>
                <c:pt idx="3678">
                  <c:v>40401</c:v>
                </c:pt>
                <c:pt idx="3679">
                  <c:v>40402</c:v>
                </c:pt>
                <c:pt idx="3680">
                  <c:v>40403</c:v>
                </c:pt>
                <c:pt idx="3681">
                  <c:v>40406</c:v>
                </c:pt>
                <c:pt idx="3682">
                  <c:v>40407</c:v>
                </c:pt>
                <c:pt idx="3683">
                  <c:v>40408</c:v>
                </c:pt>
                <c:pt idx="3684">
                  <c:v>40409</c:v>
                </c:pt>
                <c:pt idx="3685">
                  <c:v>40410</c:v>
                </c:pt>
                <c:pt idx="3686">
                  <c:v>40413</c:v>
                </c:pt>
                <c:pt idx="3687">
                  <c:v>40414</c:v>
                </c:pt>
                <c:pt idx="3688">
                  <c:v>40415</c:v>
                </c:pt>
                <c:pt idx="3689">
                  <c:v>40416</c:v>
                </c:pt>
                <c:pt idx="3690">
                  <c:v>40417</c:v>
                </c:pt>
                <c:pt idx="3691">
                  <c:v>40420</c:v>
                </c:pt>
                <c:pt idx="3692">
                  <c:v>40421</c:v>
                </c:pt>
                <c:pt idx="3693">
                  <c:v>40422</c:v>
                </c:pt>
                <c:pt idx="3694">
                  <c:v>40423</c:v>
                </c:pt>
                <c:pt idx="3695">
                  <c:v>40424</c:v>
                </c:pt>
                <c:pt idx="3696">
                  <c:v>40428</c:v>
                </c:pt>
                <c:pt idx="3697">
                  <c:v>40429</c:v>
                </c:pt>
                <c:pt idx="3698">
                  <c:v>40430</c:v>
                </c:pt>
                <c:pt idx="3699">
                  <c:v>40431</c:v>
                </c:pt>
                <c:pt idx="3700">
                  <c:v>40434</c:v>
                </c:pt>
                <c:pt idx="3701">
                  <c:v>40435</c:v>
                </c:pt>
                <c:pt idx="3702">
                  <c:v>40436</c:v>
                </c:pt>
                <c:pt idx="3703">
                  <c:v>40437</c:v>
                </c:pt>
                <c:pt idx="3704">
                  <c:v>40438</c:v>
                </c:pt>
                <c:pt idx="3705">
                  <c:v>40441</c:v>
                </c:pt>
                <c:pt idx="3706">
                  <c:v>40442</c:v>
                </c:pt>
                <c:pt idx="3707">
                  <c:v>40443</c:v>
                </c:pt>
                <c:pt idx="3708">
                  <c:v>40444</c:v>
                </c:pt>
                <c:pt idx="3709">
                  <c:v>40445</c:v>
                </c:pt>
                <c:pt idx="3710">
                  <c:v>40448</c:v>
                </c:pt>
                <c:pt idx="3711">
                  <c:v>40449</c:v>
                </c:pt>
                <c:pt idx="3712">
                  <c:v>40450</c:v>
                </c:pt>
                <c:pt idx="3713">
                  <c:v>40451</c:v>
                </c:pt>
                <c:pt idx="3714">
                  <c:v>40452</c:v>
                </c:pt>
                <c:pt idx="3715">
                  <c:v>40455</c:v>
                </c:pt>
                <c:pt idx="3716">
                  <c:v>40456</c:v>
                </c:pt>
                <c:pt idx="3717">
                  <c:v>40457</c:v>
                </c:pt>
                <c:pt idx="3718">
                  <c:v>40458</c:v>
                </c:pt>
                <c:pt idx="3719">
                  <c:v>40459</c:v>
                </c:pt>
                <c:pt idx="3720">
                  <c:v>40462</c:v>
                </c:pt>
                <c:pt idx="3721">
                  <c:v>40463</c:v>
                </c:pt>
                <c:pt idx="3722">
                  <c:v>40464</c:v>
                </c:pt>
                <c:pt idx="3723">
                  <c:v>40465</c:v>
                </c:pt>
                <c:pt idx="3724">
                  <c:v>40466</c:v>
                </c:pt>
                <c:pt idx="3725">
                  <c:v>40469</c:v>
                </c:pt>
                <c:pt idx="3726">
                  <c:v>40470</c:v>
                </c:pt>
                <c:pt idx="3727">
                  <c:v>40471</c:v>
                </c:pt>
                <c:pt idx="3728">
                  <c:v>40472</c:v>
                </c:pt>
                <c:pt idx="3729">
                  <c:v>40473</c:v>
                </c:pt>
                <c:pt idx="3730">
                  <c:v>40476</c:v>
                </c:pt>
                <c:pt idx="3731">
                  <c:v>40477</c:v>
                </c:pt>
                <c:pt idx="3732">
                  <c:v>40478</c:v>
                </c:pt>
                <c:pt idx="3733">
                  <c:v>40479</c:v>
                </c:pt>
                <c:pt idx="3734">
                  <c:v>40480</c:v>
                </c:pt>
                <c:pt idx="3735">
                  <c:v>40483</c:v>
                </c:pt>
                <c:pt idx="3736">
                  <c:v>40484</c:v>
                </c:pt>
                <c:pt idx="3737">
                  <c:v>40485</c:v>
                </c:pt>
                <c:pt idx="3738">
                  <c:v>40486</c:v>
                </c:pt>
                <c:pt idx="3739">
                  <c:v>40487</c:v>
                </c:pt>
                <c:pt idx="3740">
                  <c:v>40490</c:v>
                </c:pt>
                <c:pt idx="3741">
                  <c:v>40491</c:v>
                </c:pt>
                <c:pt idx="3742">
                  <c:v>40492</c:v>
                </c:pt>
                <c:pt idx="3743">
                  <c:v>40493</c:v>
                </c:pt>
                <c:pt idx="3744">
                  <c:v>40494</c:v>
                </c:pt>
                <c:pt idx="3745">
                  <c:v>40497</c:v>
                </c:pt>
                <c:pt idx="3746">
                  <c:v>40498</c:v>
                </c:pt>
                <c:pt idx="3747">
                  <c:v>40499</c:v>
                </c:pt>
                <c:pt idx="3748">
                  <c:v>40500</c:v>
                </c:pt>
                <c:pt idx="3749">
                  <c:v>40501</c:v>
                </c:pt>
                <c:pt idx="3750">
                  <c:v>40504</c:v>
                </c:pt>
                <c:pt idx="3751">
                  <c:v>40505</c:v>
                </c:pt>
                <c:pt idx="3752">
                  <c:v>40506</c:v>
                </c:pt>
                <c:pt idx="3753">
                  <c:v>40508</c:v>
                </c:pt>
                <c:pt idx="3754">
                  <c:v>40511</c:v>
                </c:pt>
                <c:pt idx="3755">
                  <c:v>40512</c:v>
                </c:pt>
                <c:pt idx="3756">
                  <c:v>40513</c:v>
                </c:pt>
                <c:pt idx="3757">
                  <c:v>40514</c:v>
                </c:pt>
                <c:pt idx="3758">
                  <c:v>40515</c:v>
                </c:pt>
                <c:pt idx="3759">
                  <c:v>40518</c:v>
                </c:pt>
                <c:pt idx="3760">
                  <c:v>40519</c:v>
                </c:pt>
                <c:pt idx="3761">
                  <c:v>40520</c:v>
                </c:pt>
                <c:pt idx="3762">
                  <c:v>40521</c:v>
                </c:pt>
                <c:pt idx="3763">
                  <c:v>40522</c:v>
                </c:pt>
                <c:pt idx="3764">
                  <c:v>40525</c:v>
                </c:pt>
                <c:pt idx="3765">
                  <c:v>40526</c:v>
                </c:pt>
                <c:pt idx="3766">
                  <c:v>40527</c:v>
                </c:pt>
                <c:pt idx="3767">
                  <c:v>40528</c:v>
                </c:pt>
                <c:pt idx="3768">
                  <c:v>40529</c:v>
                </c:pt>
                <c:pt idx="3769">
                  <c:v>40532</c:v>
                </c:pt>
                <c:pt idx="3770">
                  <c:v>40533</c:v>
                </c:pt>
                <c:pt idx="3771">
                  <c:v>40534</c:v>
                </c:pt>
                <c:pt idx="3772">
                  <c:v>40535</c:v>
                </c:pt>
                <c:pt idx="3773">
                  <c:v>40539</c:v>
                </c:pt>
                <c:pt idx="3774">
                  <c:v>40540</c:v>
                </c:pt>
                <c:pt idx="3775">
                  <c:v>40541</c:v>
                </c:pt>
                <c:pt idx="3776">
                  <c:v>40542</c:v>
                </c:pt>
                <c:pt idx="3777">
                  <c:v>40543</c:v>
                </c:pt>
                <c:pt idx="3778">
                  <c:v>40546</c:v>
                </c:pt>
                <c:pt idx="3779">
                  <c:v>40547</c:v>
                </c:pt>
                <c:pt idx="3780">
                  <c:v>40548</c:v>
                </c:pt>
                <c:pt idx="3781">
                  <c:v>40549</c:v>
                </c:pt>
                <c:pt idx="3782">
                  <c:v>40550</c:v>
                </c:pt>
                <c:pt idx="3783">
                  <c:v>40553</c:v>
                </c:pt>
                <c:pt idx="3784">
                  <c:v>40554</c:v>
                </c:pt>
                <c:pt idx="3785">
                  <c:v>40555</c:v>
                </c:pt>
                <c:pt idx="3786">
                  <c:v>40556</c:v>
                </c:pt>
                <c:pt idx="3787">
                  <c:v>40557</c:v>
                </c:pt>
                <c:pt idx="3788">
                  <c:v>40561</c:v>
                </c:pt>
                <c:pt idx="3789">
                  <c:v>40562</c:v>
                </c:pt>
                <c:pt idx="3790">
                  <c:v>40563</c:v>
                </c:pt>
                <c:pt idx="3791">
                  <c:v>40564</c:v>
                </c:pt>
                <c:pt idx="3792">
                  <c:v>40567</c:v>
                </c:pt>
                <c:pt idx="3793">
                  <c:v>40568</c:v>
                </c:pt>
                <c:pt idx="3794">
                  <c:v>40569</c:v>
                </c:pt>
                <c:pt idx="3795">
                  <c:v>40570</c:v>
                </c:pt>
                <c:pt idx="3796">
                  <c:v>40571</c:v>
                </c:pt>
                <c:pt idx="3797">
                  <c:v>40574</c:v>
                </c:pt>
                <c:pt idx="3798">
                  <c:v>40575</c:v>
                </c:pt>
                <c:pt idx="3799">
                  <c:v>40576</c:v>
                </c:pt>
                <c:pt idx="3800">
                  <c:v>40577</c:v>
                </c:pt>
                <c:pt idx="3801">
                  <c:v>40578</c:v>
                </c:pt>
                <c:pt idx="3802">
                  <c:v>40581</c:v>
                </c:pt>
                <c:pt idx="3803">
                  <c:v>40582</c:v>
                </c:pt>
                <c:pt idx="3804">
                  <c:v>40583</c:v>
                </c:pt>
                <c:pt idx="3805">
                  <c:v>40584</c:v>
                </c:pt>
                <c:pt idx="3806">
                  <c:v>40585</c:v>
                </c:pt>
                <c:pt idx="3807">
                  <c:v>40588</c:v>
                </c:pt>
                <c:pt idx="3808">
                  <c:v>40589</c:v>
                </c:pt>
                <c:pt idx="3809">
                  <c:v>40590</c:v>
                </c:pt>
                <c:pt idx="3810">
                  <c:v>40591</c:v>
                </c:pt>
                <c:pt idx="3811">
                  <c:v>40592</c:v>
                </c:pt>
                <c:pt idx="3812">
                  <c:v>40596</c:v>
                </c:pt>
                <c:pt idx="3813">
                  <c:v>40597</c:v>
                </c:pt>
                <c:pt idx="3814">
                  <c:v>40598</c:v>
                </c:pt>
                <c:pt idx="3815">
                  <c:v>40599</c:v>
                </c:pt>
                <c:pt idx="3816">
                  <c:v>40602</c:v>
                </c:pt>
                <c:pt idx="3817">
                  <c:v>40603</c:v>
                </c:pt>
                <c:pt idx="3818">
                  <c:v>40604</c:v>
                </c:pt>
                <c:pt idx="3819">
                  <c:v>40605</c:v>
                </c:pt>
                <c:pt idx="3820">
                  <c:v>40606</c:v>
                </c:pt>
                <c:pt idx="3821">
                  <c:v>40609</c:v>
                </c:pt>
                <c:pt idx="3822">
                  <c:v>40610</c:v>
                </c:pt>
                <c:pt idx="3823">
                  <c:v>40611</c:v>
                </c:pt>
                <c:pt idx="3824">
                  <c:v>40612</c:v>
                </c:pt>
                <c:pt idx="3825">
                  <c:v>40613</c:v>
                </c:pt>
                <c:pt idx="3826">
                  <c:v>40616</c:v>
                </c:pt>
                <c:pt idx="3827">
                  <c:v>40617</c:v>
                </c:pt>
                <c:pt idx="3828">
                  <c:v>40618</c:v>
                </c:pt>
                <c:pt idx="3829">
                  <c:v>40619</c:v>
                </c:pt>
                <c:pt idx="3830">
                  <c:v>40620</c:v>
                </c:pt>
                <c:pt idx="3831">
                  <c:v>40623</c:v>
                </c:pt>
                <c:pt idx="3832">
                  <c:v>40624</c:v>
                </c:pt>
                <c:pt idx="3833">
                  <c:v>40625</c:v>
                </c:pt>
                <c:pt idx="3834">
                  <c:v>40626</c:v>
                </c:pt>
                <c:pt idx="3835">
                  <c:v>40627</c:v>
                </c:pt>
                <c:pt idx="3836">
                  <c:v>40630</c:v>
                </c:pt>
                <c:pt idx="3837">
                  <c:v>40631</c:v>
                </c:pt>
                <c:pt idx="3838">
                  <c:v>40632</c:v>
                </c:pt>
                <c:pt idx="3839">
                  <c:v>40633</c:v>
                </c:pt>
                <c:pt idx="3840">
                  <c:v>40634</c:v>
                </c:pt>
                <c:pt idx="3841">
                  <c:v>40637</c:v>
                </c:pt>
                <c:pt idx="3842">
                  <c:v>40638</c:v>
                </c:pt>
                <c:pt idx="3843">
                  <c:v>40639</c:v>
                </c:pt>
                <c:pt idx="3844">
                  <c:v>40640</c:v>
                </c:pt>
                <c:pt idx="3845">
                  <c:v>40641</c:v>
                </c:pt>
                <c:pt idx="3846">
                  <c:v>40644</c:v>
                </c:pt>
                <c:pt idx="3847">
                  <c:v>40645</c:v>
                </c:pt>
                <c:pt idx="3848">
                  <c:v>40646</c:v>
                </c:pt>
                <c:pt idx="3849">
                  <c:v>40647</c:v>
                </c:pt>
                <c:pt idx="3850">
                  <c:v>40648</c:v>
                </c:pt>
                <c:pt idx="3851">
                  <c:v>40651</c:v>
                </c:pt>
                <c:pt idx="3852">
                  <c:v>40652</c:v>
                </c:pt>
                <c:pt idx="3853">
                  <c:v>40653</c:v>
                </c:pt>
                <c:pt idx="3854">
                  <c:v>40654</c:v>
                </c:pt>
                <c:pt idx="3855">
                  <c:v>40658</c:v>
                </c:pt>
                <c:pt idx="3856">
                  <c:v>40659</c:v>
                </c:pt>
                <c:pt idx="3857">
                  <c:v>40660</c:v>
                </c:pt>
                <c:pt idx="3858">
                  <c:v>40661</c:v>
                </c:pt>
                <c:pt idx="3859">
                  <c:v>40662</c:v>
                </c:pt>
                <c:pt idx="3860">
                  <c:v>40665</c:v>
                </c:pt>
                <c:pt idx="3861">
                  <c:v>40666</c:v>
                </c:pt>
                <c:pt idx="3862">
                  <c:v>40667</c:v>
                </c:pt>
                <c:pt idx="3863">
                  <c:v>40668</c:v>
                </c:pt>
                <c:pt idx="3864">
                  <c:v>40669</c:v>
                </c:pt>
                <c:pt idx="3865">
                  <c:v>40672</c:v>
                </c:pt>
                <c:pt idx="3866">
                  <c:v>40673</c:v>
                </c:pt>
                <c:pt idx="3867">
                  <c:v>40674</c:v>
                </c:pt>
                <c:pt idx="3868">
                  <c:v>40675</c:v>
                </c:pt>
                <c:pt idx="3869">
                  <c:v>40676</c:v>
                </c:pt>
                <c:pt idx="3870">
                  <c:v>40679</c:v>
                </c:pt>
                <c:pt idx="3871">
                  <c:v>40680</c:v>
                </c:pt>
                <c:pt idx="3872">
                  <c:v>40681</c:v>
                </c:pt>
                <c:pt idx="3873">
                  <c:v>40682</c:v>
                </c:pt>
                <c:pt idx="3874">
                  <c:v>40683</c:v>
                </c:pt>
                <c:pt idx="3875">
                  <c:v>40686</c:v>
                </c:pt>
                <c:pt idx="3876">
                  <c:v>40687</c:v>
                </c:pt>
                <c:pt idx="3877">
                  <c:v>40688</c:v>
                </c:pt>
                <c:pt idx="3878">
                  <c:v>40689</c:v>
                </c:pt>
                <c:pt idx="3879">
                  <c:v>40690</c:v>
                </c:pt>
                <c:pt idx="3880">
                  <c:v>40694</c:v>
                </c:pt>
                <c:pt idx="3881">
                  <c:v>40695</c:v>
                </c:pt>
                <c:pt idx="3882">
                  <c:v>40696</c:v>
                </c:pt>
                <c:pt idx="3883">
                  <c:v>40697</c:v>
                </c:pt>
                <c:pt idx="3884">
                  <c:v>40700</c:v>
                </c:pt>
                <c:pt idx="3885">
                  <c:v>40701</c:v>
                </c:pt>
                <c:pt idx="3886">
                  <c:v>40702</c:v>
                </c:pt>
                <c:pt idx="3887">
                  <c:v>40703</c:v>
                </c:pt>
                <c:pt idx="3888">
                  <c:v>40704</c:v>
                </c:pt>
                <c:pt idx="3889">
                  <c:v>40707</c:v>
                </c:pt>
                <c:pt idx="3890">
                  <c:v>40708</c:v>
                </c:pt>
                <c:pt idx="3891">
                  <c:v>40709</c:v>
                </c:pt>
                <c:pt idx="3892">
                  <c:v>40710</c:v>
                </c:pt>
                <c:pt idx="3893">
                  <c:v>40711</c:v>
                </c:pt>
                <c:pt idx="3894">
                  <c:v>40714</c:v>
                </c:pt>
                <c:pt idx="3895">
                  <c:v>40715</c:v>
                </c:pt>
                <c:pt idx="3896">
                  <c:v>40716</c:v>
                </c:pt>
                <c:pt idx="3897">
                  <c:v>40717</c:v>
                </c:pt>
                <c:pt idx="3898">
                  <c:v>40718</c:v>
                </c:pt>
                <c:pt idx="3899">
                  <c:v>40721</c:v>
                </c:pt>
                <c:pt idx="3900">
                  <c:v>40722</c:v>
                </c:pt>
                <c:pt idx="3901">
                  <c:v>40723</c:v>
                </c:pt>
                <c:pt idx="3902">
                  <c:v>40724</c:v>
                </c:pt>
                <c:pt idx="3903">
                  <c:v>40725</c:v>
                </c:pt>
                <c:pt idx="3904">
                  <c:v>40729</c:v>
                </c:pt>
                <c:pt idx="3905">
                  <c:v>40730</c:v>
                </c:pt>
                <c:pt idx="3906">
                  <c:v>40731</c:v>
                </c:pt>
                <c:pt idx="3907">
                  <c:v>40732</c:v>
                </c:pt>
                <c:pt idx="3908">
                  <c:v>40735</c:v>
                </c:pt>
                <c:pt idx="3909">
                  <c:v>40736</c:v>
                </c:pt>
                <c:pt idx="3910">
                  <c:v>40737</c:v>
                </c:pt>
                <c:pt idx="3911">
                  <c:v>40738</c:v>
                </c:pt>
                <c:pt idx="3912">
                  <c:v>40739</c:v>
                </c:pt>
                <c:pt idx="3913">
                  <c:v>40742</c:v>
                </c:pt>
                <c:pt idx="3914">
                  <c:v>40743</c:v>
                </c:pt>
                <c:pt idx="3915">
                  <c:v>40744</c:v>
                </c:pt>
                <c:pt idx="3916">
                  <c:v>40745</c:v>
                </c:pt>
                <c:pt idx="3917">
                  <c:v>40746</c:v>
                </c:pt>
                <c:pt idx="3918">
                  <c:v>40749</c:v>
                </c:pt>
                <c:pt idx="3919">
                  <c:v>40750</c:v>
                </c:pt>
                <c:pt idx="3920">
                  <c:v>40751</c:v>
                </c:pt>
                <c:pt idx="3921">
                  <c:v>40752</c:v>
                </c:pt>
                <c:pt idx="3922">
                  <c:v>40753</c:v>
                </c:pt>
                <c:pt idx="3923">
                  <c:v>40756</c:v>
                </c:pt>
                <c:pt idx="3924">
                  <c:v>40757</c:v>
                </c:pt>
                <c:pt idx="3925">
                  <c:v>40758</c:v>
                </c:pt>
                <c:pt idx="3926">
                  <c:v>40759</c:v>
                </c:pt>
                <c:pt idx="3927">
                  <c:v>40760</c:v>
                </c:pt>
                <c:pt idx="3928">
                  <c:v>40763</c:v>
                </c:pt>
                <c:pt idx="3929">
                  <c:v>40764</c:v>
                </c:pt>
                <c:pt idx="3930">
                  <c:v>40765</c:v>
                </c:pt>
                <c:pt idx="3931">
                  <c:v>40766</c:v>
                </c:pt>
                <c:pt idx="3932">
                  <c:v>40767</c:v>
                </c:pt>
                <c:pt idx="3933">
                  <c:v>40770</c:v>
                </c:pt>
                <c:pt idx="3934">
                  <c:v>40771</c:v>
                </c:pt>
                <c:pt idx="3935">
                  <c:v>40772</c:v>
                </c:pt>
                <c:pt idx="3936">
                  <c:v>40773</c:v>
                </c:pt>
                <c:pt idx="3937">
                  <c:v>40774</c:v>
                </c:pt>
                <c:pt idx="3938">
                  <c:v>40777</c:v>
                </c:pt>
                <c:pt idx="3939">
                  <c:v>40778</c:v>
                </c:pt>
                <c:pt idx="3940">
                  <c:v>40779</c:v>
                </c:pt>
                <c:pt idx="3941">
                  <c:v>40780</c:v>
                </c:pt>
                <c:pt idx="3942">
                  <c:v>40781</c:v>
                </c:pt>
                <c:pt idx="3943">
                  <c:v>40784</c:v>
                </c:pt>
                <c:pt idx="3944">
                  <c:v>40785</c:v>
                </c:pt>
                <c:pt idx="3945">
                  <c:v>40786</c:v>
                </c:pt>
                <c:pt idx="3946">
                  <c:v>40787</c:v>
                </c:pt>
                <c:pt idx="3947">
                  <c:v>40788</c:v>
                </c:pt>
                <c:pt idx="3948">
                  <c:v>40792</c:v>
                </c:pt>
                <c:pt idx="3949">
                  <c:v>40793</c:v>
                </c:pt>
                <c:pt idx="3950">
                  <c:v>40794</c:v>
                </c:pt>
                <c:pt idx="3951">
                  <c:v>40795</c:v>
                </c:pt>
                <c:pt idx="3952">
                  <c:v>40798</c:v>
                </c:pt>
                <c:pt idx="3953">
                  <c:v>40799</c:v>
                </c:pt>
                <c:pt idx="3954">
                  <c:v>40800</c:v>
                </c:pt>
                <c:pt idx="3955">
                  <c:v>40801</c:v>
                </c:pt>
                <c:pt idx="3956">
                  <c:v>40802</c:v>
                </c:pt>
                <c:pt idx="3957">
                  <c:v>40805</c:v>
                </c:pt>
                <c:pt idx="3958">
                  <c:v>40806</c:v>
                </c:pt>
                <c:pt idx="3959">
                  <c:v>40807</c:v>
                </c:pt>
                <c:pt idx="3960">
                  <c:v>40808</c:v>
                </c:pt>
                <c:pt idx="3961">
                  <c:v>40809</c:v>
                </c:pt>
                <c:pt idx="3962">
                  <c:v>40812</c:v>
                </c:pt>
                <c:pt idx="3963">
                  <c:v>40813</c:v>
                </c:pt>
                <c:pt idx="3964">
                  <c:v>40814</c:v>
                </c:pt>
                <c:pt idx="3965">
                  <c:v>40815</c:v>
                </c:pt>
                <c:pt idx="3966">
                  <c:v>40816</c:v>
                </c:pt>
                <c:pt idx="3967">
                  <c:v>40819</c:v>
                </c:pt>
                <c:pt idx="3968">
                  <c:v>40820</c:v>
                </c:pt>
                <c:pt idx="3969">
                  <c:v>40821</c:v>
                </c:pt>
                <c:pt idx="3970">
                  <c:v>40822</c:v>
                </c:pt>
                <c:pt idx="3971">
                  <c:v>40823</c:v>
                </c:pt>
                <c:pt idx="3972">
                  <c:v>40826</c:v>
                </c:pt>
                <c:pt idx="3973">
                  <c:v>40827</c:v>
                </c:pt>
                <c:pt idx="3974">
                  <c:v>40828</c:v>
                </c:pt>
                <c:pt idx="3975">
                  <c:v>40829</c:v>
                </c:pt>
                <c:pt idx="3976">
                  <c:v>40830</c:v>
                </c:pt>
                <c:pt idx="3977">
                  <c:v>40833</c:v>
                </c:pt>
                <c:pt idx="3978">
                  <c:v>40834</c:v>
                </c:pt>
                <c:pt idx="3979">
                  <c:v>40835</c:v>
                </c:pt>
                <c:pt idx="3980">
                  <c:v>40836</c:v>
                </c:pt>
                <c:pt idx="3981">
                  <c:v>40837</c:v>
                </c:pt>
                <c:pt idx="3982">
                  <c:v>40840</c:v>
                </c:pt>
                <c:pt idx="3983">
                  <c:v>40841</c:v>
                </c:pt>
                <c:pt idx="3984">
                  <c:v>40842</c:v>
                </c:pt>
                <c:pt idx="3985">
                  <c:v>40843</c:v>
                </c:pt>
                <c:pt idx="3986">
                  <c:v>40844</c:v>
                </c:pt>
                <c:pt idx="3987">
                  <c:v>40847</c:v>
                </c:pt>
                <c:pt idx="3988">
                  <c:v>40848</c:v>
                </c:pt>
                <c:pt idx="3989">
                  <c:v>40849</c:v>
                </c:pt>
                <c:pt idx="3990">
                  <c:v>40850</c:v>
                </c:pt>
                <c:pt idx="3991">
                  <c:v>40851</c:v>
                </c:pt>
                <c:pt idx="3992">
                  <c:v>40854</c:v>
                </c:pt>
                <c:pt idx="3993">
                  <c:v>40855</c:v>
                </c:pt>
                <c:pt idx="3994">
                  <c:v>40856</c:v>
                </c:pt>
                <c:pt idx="3995">
                  <c:v>40857</c:v>
                </c:pt>
                <c:pt idx="3996">
                  <c:v>40858</c:v>
                </c:pt>
                <c:pt idx="3997">
                  <c:v>40861</c:v>
                </c:pt>
                <c:pt idx="3998">
                  <c:v>40862</c:v>
                </c:pt>
                <c:pt idx="3999">
                  <c:v>40863</c:v>
                </c:pt>
                <c:pt idx="4000">
                  <c:v>40864</c:v>
                </c:pt>
                <c:pt idx="4001">
                  <c:v>40865</c:v>
                </c:pt>
                <c:pt idx="4002">
                  <c:v>40868</c:v>
                </c:pt>
                <c:pt idx="4003">
                  <c:v>40869</c:v>
                </c:pt>
                <c:pt idx="4004">
                  <c:v>40870</c:v>
                </c:pt>
                <c:pt idx="4005">
                  <c:v>40872</c:v>
                </c:pt>
                <c:pt idx="4006">
                  <c:v>40875</c:v>
                </c:pt>
                <c:pt idx="4007">
                  <c:v>40876</c:v>
                </c:pt>
                <c:pt idx="4008">
                  <c:v>40877</c:v>
                </c:pt>
                <c:pt idx="4009">
                  <c:v>40878</c:v>
                </c:pt>
                <c:pt idx="4010">
                  <c:v>40879</c:v>
                </c:pt>
                <c:pt idx="4011">
                  <c:v>40882</c:v>
                </c:pt>
                <c:pt idx="4012">
                  <c:v>40883</c:v>
                </c:pt>
                <c:pt idx="4013">
                  <c:v>40884</c:v>
                </c:pt>
                <c:pt idx="4014">
                  <c:v>40885</c:v>
                </c:pt>
                <c:pt idx="4015">
                  <c:v>40886</c:v>
                </c:pt>
                <c:pt idx="4016">
                  <c:v>40889</c:v>
                </c:pt>
                <c:pt idx="4017">
                  <c:v>40890</c:v>
                </c:pt>
                <c:pt idx="4018">
                  <c:v>40891</c:v>
                </c:pt>
                <c:pt idx="4019">
                  <c:v>40892</c:v>
                </c:pt>
                <c:pt idx="4020">
                  <c:v>40893</c:v>
                </c:pt>
                <c:pt idx="4021">
                  <c:v>40896</c:v>
                </c:pt>
                <c:pt idx="4022">
                  <c:v>40897</c:v>
                </c:pt>
                <c:pt idx="4023">
                  <c:v>40898</c:v>
                </c:pt>
                <c:pt idx="4024">
                  <c:v>40899</c:v>
                </c:pt>
                <c:pt idx="4025">
                  <c:v>40900</c:v>
                </c:pt>
                <c:pt idx="4026">
                  <c:v>40904</c:v>
                </c:pt>
                <c:pt idx="4027">
                  <c:v>40905</c:v>
                </c:pt>
                <c:pt idx="4028">
                  <c:v>40906</c:v>
                </c:pt>
                <c:pt idx="4029">
                  <c:v>40907</c:v>
                </c:pt>
                <c:pt idx="4030">
                  <c:v>40911</c:v>
                </c:pt>
                <c:pt idx="4031">
                  <c:v>40912</c:v>
                </c:pt>
                <c:pt idx="4032">
                  <c:v>40913</c:v>
                </c:pt>
                <c:pt idx="4033">
                  <c:v>40914</c:v>
                </c:pt>
                <c:pt idx="4034">
                  <c:v>40917</c:v>
                </c:pt>
                <c:pt idx="4035">
                  <c:v>40918</c:v>
                </c:pt>
                <c:pt idx="4036">
                  <c:v>40919</c:v>
                </c:pt>
                <c:pt idx="4037">
                  <c:v>40920</c:v>
                </c:pt>
                <c:pt idx="4038">
                  <c:v>40921</c:v>
                </c:pt>
                <c:pt idx="4039">
                  <c:v>40925</c:v>
                </c:pt>
                <c:pt idx="4040">
                  <c:v>40926</c:v>
                </c:pt>
                <c:pt idx="4041">
                  <c:v>40927</c:v>
                </c:pt>
                <c:pt idx="4042">
                  <c:v>40928</c:v>
                </c:pt>
                <c:pt idx="4043">
                  <c:v>40931</c:v>
                </c:pt>
                <c:pt idx="4044">
                  <c:v>40932</c:v>
                </c:pt>
                <c:pt idx="4045">
                  <c:v>40933</c:v>
                </c:pt>
                <c:pt idx="4046">
                  <c:v>40934</c:v>
                </c:pt>
                <c:pt idx="4047">
                  <c:v>40935</c:v>
                </c:pt>
                <c:pt idx="4048">
                  <c:v>40938</c:v>
                </c:pt>
                <c:pt idx="4049">
                  <c:v>40939</c:v>
                </c:pt>
                <c:pt idx="4050">
                  <c:v>40940</c:v>
                </c:pt>
                <c:pt idx="4051">
                  <c:v>40941</c:v>
                </c:pt>
                <c:pt idx="4052">
                  <c:v>40942</c:v>
                </c:pt>
                <c:pt idx="4053">
                  <c:v>40945</c:v>
                </c:pt>
                <c:pt idx="4054">
                  <c:v>40946</c:v>
                </c:pt>
                <c:pt idx="4055">
                  <c:v>40947</c:v>
                </c:pt>
                <c:pt idx="4056">
                  <c:v>40948</c:v>
                </c:pt>
                <c:pt idx="4057">
                  <c:v>40949</c:v>
                </c:pt>
                <c:pt idx="4058">
                  <c:v>40952</c:v>
                </c:pt>
                <c:pt idx="4059">
                  <c:v>40953</c:v>
                </c:pt>
                <c:pt idx="4060">
                  <c:v>40954</c:v>
                </c:pt>
                <c:pt idx="4061">
                  <c:v>40955</c:v>
                </c:pt>
                <c:pt idx="4062">
                  <c:v>40956</c:v>
                </c:pt>
                <c:pt idx="4063">
                  <c:v>40960</c:v>
                </c:pt>
                <c:pt idx="4064">
                  <c:v>40961</c:v>
                </c:pt>
                <c:pt idx="4065">
                  <c:v>40962</c:v>
                </c:pt>
                <c:pt idx="4066">
                  <c:v>40963</c:v>
                </c:pt>
                <c:pt idx="4067">
                  <c:v>40966</c:v>
                </c:pt>
                <c:pt idx="4068">
                  <c:v>40967</c:v>
                </c:pt>
                <c:pt idx="4069">
                  <c:v>40968</c:v>
                </c:pt>
                <c:pt idx="4070">
                  <c:v>40969</c:v>
                </c:pt>
                <c:pt idx="4071">
                  <c:v>40970</c:v>
                </c:pt>
                <c:pt idx="4072">
                  <c:v>40973</c:v>
                </c:pt>
                <c:pt idx="4073">
                  <c:v>40974</c:v>
                </c:pt>
                <c:pt idx="4074">
                  <c:v>40975</c:v>
                </c:pt>
                <c:pt idx="4075">
                  <c:v>40976</c:v>
                </c:pt>
                <c:pt idx="4076">
                  <c:v>40977</c:v>
                </c:pt>
                <c:pt idx="4077">
                  <c:v>40980</c:v>
                </c:pt>
                <c:pt idx="4078">
                  <c:v>40981</c:v>
                </c:pt>
                <c:pt idx="4079">
                  <c:v>40982</c:v>
                </c:pt>
                <c:pt idx="4080">
                  <c:v>40983</c:v>
                </c:pt>
                <c:pt idx="4081">
                  <c:v>40984</c:v>
                </c:pt>
                <c:pt idx="4082">
                  <c:v>40987</c:v>
                </c:pt>
                <c:pt idx="4083">
                  <c:v>40988</c:v>
                </c:pt>
                <c:pt idx="4084">
                  <c:v>40989</c:v>
                </c:pt>
                <c:pt idx="4085">
                  <c:v>40990</c:v>
                </c:pt>
                <c:pt idx="4086">
                  <c:v>40991</c:v>
                </c:pt>
                <c:pt idx="4087">
                  <c:v>40994</c:v>
                </c:pt>
                <c:pt idx="4088">
                  <c:v>40995</c:v>
                </c:pt>
                <c:pt idx="4089">
                  <c:v>40996</c:v>
                </c:pt>
                <c:pt idx="4090">
                  <c:v>40997</c:v>
                </c:pt>
                <c:pt idx="4091">
                  <c:v>40998</c:v>
                </c:pt>
                <c:pt idx="4092">
                  <c:v>41001</c:v>
                </c:pt>
                <c:pt idx="4093">
                  <c:v>41002</c:v>
                </c:pt>
                <c:pt idx="4094">
                  <c:v>41003</c:v>
                </c:pt>
                <c:pt idx="4095">
                  <c:v>41004</c:v>
                </c:pt>
                <c:pt idx="4096">
                  <c:v>41008</c:v>
                </c:pt>
                <c:pt idx="4097">
                  <c:v>41009</c:v>
                </c:pt>
                <c:pt idx="4098">
                  <c:v>41010</c:v>
                </c:pt>
                <c:pt idx="4099">
                  <c:v>41011</c:v>
                </c:pt>
                <c:pt idx="4100">
                  <c:v>41012</c:v>
                </c:pt>
                <c:pt idx="4101">
                  <c:v>41015</c:v>
                </c:pt>
                <c:pt idx="4102">
                  <c:v>41016</c:v>
                </c:pt>
                <c:pt idx="4103">
                  <c:v>41017</c:v>
                </c:pt>
                <c:pt idx="4104">
                  <c:v>41018</c:v>
                </c:pt>
                <c:pt idx="4105">
                  <c:v>41019</c:v>
                </c:pt>
                <c:pt idx="4106">
                  <c:v>41022</c:v>
                </c:pt>
                <c:pt idx="4107">
                  <c:v>41023</c:v>
                </c:pt>
                <c:pt idx="4108">
                  <c:v>41024</c:v>
                </c:pt>
                <c:pt idx="4109">
                  <c:v>41025</c:v>
                </c:pt>
                <c:pt idx="4110">
                  <c:v>41026</c:v>
                </c:pt>
                <c:pt idx="4111">
                  <c:v>41029</c:v>
                </c:pt>
                <c:pt idx="4112">
                  <c:v>41030</c:v>
                </c:pt>
                <c:pt idx="4113">
                  <c:v>41031</c:v>
                </c:pt>
                <c:pt idx="4114">
                  <c:v>41032</c:v>
                </c:pt>
                <c:pt idx="4115">
                  <c:v>41033</c:v>
                </c:pt>
                <c:pt idx="4116">
                  <c:v>41036</c:v>
                </c:pt>
                <c:pt idx="4117">
                  <c:v>41037</c:v>
                </c:pt>
                <c:pt idx="4118">
                  <c:v>41038</c:v>
                </c:pt>
                <c:pt idx="4119">
                  <c:v>41039</c:v>
                </c:pt>
                <c:pt idx="4120">
                  <c:v>41040</c:v>
                </c:pt>
                <c:pt idx="4121">
                  <c:v>41043</c:v>
                </c:pt>
                <c:pt idx="4122">
                  <c:v>41044</c:v>
                </c:pt>
                <c:pt idx="4123">
                  <c:v>41045</c:v>
                </c:pt>
                <c:pt idx="4124">
                  <c:v>41046</c:v>
                </c:pt>
                <c:pt idx="4125">
                  <c:v>41047</c:v>
                </c:pt>
                <c:pt idx="4126">
                  <c:v>41050</c:v>
                </c:pt>
                <c:pt idx="4127">
                  <c:v>41051</c:v>
                </c:pt>
                <c:pt idx="4128">
                  <c:v>41052</c:v>
                </c:pt>
                <c:pt idx="4129">
                  <c:v>41053</c:v>
                </c:pt>
                <c:pt idx="4130">
                  <c:v>41054</c:v>
                </c:pt>
                <c:pt idx="4131">
                  <c:v>41058</c:v>
                </c:pt>
                <c:pt idx="4132">
                  <c:v>41059</c:v>
                </c:pt>
                <c:pt idx="4133">
                  <c:v>41060</c:v>
                </c:pt>
                <c:pt idx="4134">
                  <c:v>41061</c:v>
                </c:pt>
                <c:pt idx="4135">
                  <c:v>41064</c:v>
                </c:pt>
                <c:pt idx="4136">
                  <c:v>41065</c:v>
                </c:pt>
                <c:pt idx="4137">
                  <c:v>41066</c:v>
                </c:pt>
                <c:pt idx="4138">
                  <c:v>41067</c:v>
                </c:pt>
                <c:pt idx="4139">
                  <c:v>41068</c:v>
                </c:pt>
                <c:pt idx="4140">
                  <c:v>41071</c:v>
                </c:pt>
                <c:pt idx="4141">
                  <c:v>41072</c:v>
                </c:pt>
                <c:pt idx="4142">
                  <c:v>41073</c:v>
                </c:pt>
                <c:pt idx="4143">
                  <c:v>41074</c:v>
                </c:pt>
                <c:pt idx="4144">
                  <c:v>41075</c:v>
                </c:pt>
                <c:pt idx="4145">
                  <c:v>41078</c:v>
                </c:pt>
                <c:pt idx="4146">
                  <c:v>41079</c:v>
                </c:pt>
                <c:pt idx="4147">
                  <c:v>41080</c:v>
                </c:pt>
                <c:pt idx="4148">
                  <c:v>41081</c:v>
                </c:pt>
                <c:pt idx="4149">
                  <c:v>41082</c:v>
                </c:pt>
                <c:pt idx="4150">
                  <c:v>41085</c:v>
                </c:pt>
                <c:pt idx="4151">
                  <c:v>41086</c:v>
                </c:pt>
                <c:pt idx="4152">
                  <c:v>41087</c:v>
                </c:pt>
                <c:pt idx="4153">
                  <c:v>41088</c:v>
                </c:pt>
                <c:pt idx="4154">
                  <c:v>41089</c:v>
                </c:pt>
                <c:pt idx="4155">
                  <c:v>41092</c:v>
                </c:pt>
                <c:pt idx="4156">
                  <c:v>41093</c:v>
                </c:pt>
                <c:pt idx="4157">
                  <c:v>41095</c:v>
                </c:pt>
                <c:pt idx="4158">
                  <c:v>41096</c:v>
                </c:pt>
                <c:pt idx="4159">
                  <c:v>41099</c:v>
                </c:pt>
                <c:pt idx="4160">
                  <c:v>41100</c:v>
                </c:pt>
                <c:pt idx="4161">
                  <c:v>41101</c:v>
                </c:pt>
                <c:pt idx="4162">
                  <c:v>41102</c:v>
                </c:pt>
                <c:pt idx="4163">
                  <c:v>41103</c:v>
                </c:pt>
                <c:pt idx="4164">
                  <c:v>41106</c:v>
                </c:pt>
                <c:pt idx="4165">
                  <c:v>41107</c:v>
                </c:pt>
                <c:pt idx="4166">
                  <c:v>41108</c:v>
                </c:pt>
                <c:pt idx="4167">
                  <c:v>41109</c:v>
                </c:pt>
                <c:pt idx="4168">
                  <c:v>41110</c:v>
                </c:pt>
                <c:pt idx="4169">
                  <c:v>41113</c:v>
                </c:pt>
                <c:pt idx="4170">
                  <c:v>41114</c:v>
                </c:pt>
                <c:pt idx="4171">
                  <c:v>41115</c:v>
                </c:pt>
                <c:pt idx="4172">
                  <c:v>41116</c:v>
                </c:pt>
                <c:pt idx="4173">
                  <c:v>41117</c:v>
                </c:pt>
                <c:pt idx="4174">
                  <c:v>41120</c:v>
                </c:pt>
                <c:pt idx="4175">
                  <c:v>41121</c:v>
                </c:pt>
                <c:pt idx="4176">
                  <c:v>41122</c:v>
                </c:pt>
                <c:pt idx="4177">
                  <c:v>41123</c:v>
                </c:pt>
                <c:pt idx="4178">
                  <c:v>41124</c:v>
                </c:pt>
                <c:pt idx="4179">
                  <c:v>41127</c:v>
                </c:pt>
                <c:pt idx="4180">
                  <c:v>41128</c:v>
                </c:pt>
                <c:pt idx="4181">
                  <c:v>41129</c:v>
                </c:pt>
                <c:pt idx="4182">
                  <c:v>41130</c:v>
                </c:pt>
                <c:pt idx="4183">
                  <c:v>41131</c:v>
                </c:pt>
                <c:pt idx="4184">
                  <c:v>41134</c:v>
                </c:pt>
                <c:pt idx="4185">
                  <c:v>41135</c:v>
                </c:pt>
                <c:pt idx="4186">
                  <c:v>41136</c:v>
                </c:pt>
                <c:pt idx="4187">
                  <c:v>41137</c:v>
                </c:pt>
                <c:pt idx="4188">
                  <c:v>41138</c:v>
                </c:pt>
                <c:pt idx="4189">
                  <c:v>41141</c:v>
                </c:pt>
                <c:pt idx="4190">
                  <c:v>41142</c:v>
                </c:pt>
                <c:pt idx="4191">
                  <c:v>41143</c:v>
                </c:pt>
                <c:pt idx="4192">
                  <c:v>41144</c:v>
                </c:pt>
                <c:pt idx="4193">
                  <c:v>41145</c:v>
                </c:pt>
                <c:pt idx="4194">
                  <c:v>41148</c:v>
                </c:pt>
                <c:pt idx="4195">
                  <c:v>41149</c:v>
                </c:pt>
                <c:pt idx="4196">
                  <c:v>41150</c:v>
                </c:pt>
                <c:pt idx="4197">
                  <c:v>41151</c:v>
                </c:pt>
                <c:pt idx="4198">
                  <c:v>41152</c:v>
                </c:pt>
                <c:pt idx="4199">
                  <c:v>41156</c:v>
                </c:pt>
                <c:pt idx="4200">
                  <c:v>41157</c:v>
                </c:pt>
                <c:pt idx="4201">
                  <c:v>41158</c:v>
                </c:pt>
                <c:pt idx="4202">
                  <c:v>41159</c:v>
                </c:pt>
                <c:pt idx="4203">
                  <c:v>41162</c:v>
                </c:pt>
                <c:pt idx="4204">
                  <c:v>41163</c:v>
                </c:pt>
                <c:pt idx="4205">
                  <c:v>41164</c:v>
                </c:pt>
                <c:pt idx="4206">
                  <c:v>41165</c:v>
                </c:pt>
                <c:pt idx="4207">
                  <c:v>41166</c:v>
                </c:pt>
                <c:pt idx="4208">
                  <c:v>41169</c:v>
                </c:pt>
                <c:pt idx="4209">
                  <c:v>41170</c:v>
                </c:pt>
                <c:pt idx="4210">
                  <c:v>41171</c:v>
                </c:pt>
                <c:pt idx="4211">
                  <c:v>41172</c:v>
                </c:pt>
                <c:pt idx="4212">
                  <c:v>41173</c:v>
                </c:pt>
                <c:pt idx="4213">
                  <c:v>41176</c:v>
                </c:pt>
                <c:pt idx="4214">
                  <c:v>41177</c:v>
                </c:pt>
                <c:pt idx="4215">
                  <c:v>41178</c:v>
                </c:pt>
                <c:pt idx="4216">
                  <c:v>41179</c:v>
                </c:pt>
                <c:pt idx="4217">
                  <c:v>41180</c:v>
                </c:pt>
                <c:pt idx="4218">
                  <c:v>41183</c:v>
                </c:pt>
                <c:pt idx="4219">
                  <c:v>41184</c:v>
                </c:pt>
                <c:pt idx="4220">
                  <c:v>41185</c:v>
                </c:pt>
                <c:pt idx="4221">
                  <c:v>41186</c:v>
                </c:pt>
                <c:pt idx="4222">
                  <c:v>41187</c:v>
                </c:pt>
                <c:pt idx="4223">
                  <c:v>41190</c:v>
                </c:pt>
                <c:pt idx="4224">
                  <c:v>41191</c:v>
                </c:pt>
                <c:pt idx="4225">
                  <c:v>41192</c:v>
                </c:pt>
                <c:pt idx="4226">
                  <c:v>41193</c:v>
                </c:pt>
                <c:pt idx="4227">
                  <c:v>41194</c:v>
                </c:pt>
                <c:pt idx="4228">
                  <c:v>41197</c:v>
                </c:pt>
                <c:pt idx="4229">
                  <c:v>41198</c:v>
                </c:pt>
                <c:pt idx="4230">
                  <c:v>41199</c:v>
                </c:pt>
                <c:pt idx="4231">
                  <c:v>41200</c:v>
                </c:pt>
                <c:pt idx="4232">
                  <c:v>41201</c:v>
                </c:pt>
                <c:pt idx="4233">
                  <c:v>41204</c:v>
                </c:pt>
                <c:pt idx="4234">
                  <c:v>41205</c:v>
                </c:pt>
                <c:pt idx="4235">
                  <c:v>41206</c:v>
                </c:pt>
                <c:pt idx="4236">
                  <c:v>41207</c:v>
                </c:pt>
                <c:pt idx="4237">
                  <c:v>41208</c:v>
                </c:pt>
                <c:pt idx="4238">
                  <c:v>41213</c:v>
                </c:pt>
                <c:pt idx="4239">
                  <c:v>41214</c:v>
                </c:pt>
                <c:pt idx="4240">
                  <c:v>41215</c:v>
                </c:pt>
                <c:pt idx="4241">
                  <c:v>41218</c:v>
                </c:pt>
                <c:pt idx="4242">
                  <c:v>41219</c:v>
                </c:pt>
                <c:pt idx="4243">
                  <c:v>41220</c:v>
                </c:pt>
                <c:pt idx="4244">
                  <c:v>41221</c:v>
                </c:pt>
                <c:pt idx="4245">
                  <c:v>41222</c:v>
                </c:pt>
                <c:pt idx="4246">
                  <c:v>41225</c:v>
                </c:pt>
                <c:pt idx="4247">
                  <c:v>41226</c:v>
                </c:pt>
                <c:pt idx="4248">
                  <c:v>41227</c:v>
                </c:pt>
                <c:pt idx="4249">
                  <c:v>41228</c:v>
                </c:pt>
                <c:pt idx="4250">
                  <c:v>41229</c:v>
                </c:pt>
                <c:pt idx="4251">
                  <c:v>41232</c:v>
                </c:pt>
                <c:pt idx="4252">
                  <c:v>41233</c:v>
                </c:pt>
                <c:pt idx="4253">
                  <c:v>41234</c:v>
                </c:pt>
                <c:pt idx="4254">
                  <c:v>41236</c:v>
                </c:pt>
                <c:pt idx="4255">
                  <c:v>41239</c:v>
                </c:pt>
                <c:pt idx="4256">
                  <c:v>41240</c:v>
                </c:pt>
                <c:pt idx="4257">
                  <c:v>41241</c:v>
                </c:pt>
                <c:pt idx="4258">
                  <c:v>41242</c:v>
                </c:pt>
                <c:pt idx="4259">
                  <c:v>41243</c:v>
                </c:pt>
                <c:pt idx="4260">
                  <c:v>41246</c:v>
                </c:pt>
                <c:pt idx="4261">
                  <c:v>41247</c:v>
                </c:pt>
                <c:pt idx="4262">
                  <c:v>41248</c:v>
                </c:pt>
                <c:pt idx="4263">
                  <c:v>41249</c:v>
                </c:pt>
                <c:pt idx="4264">
                  <c:v>41250</c:v>
                </c:pt>
                <c:pt idx="4265">
                  <c:v>41253</c:v>
                </c:pt>
                <c:pt idx="4266">
                  <c:v>41254</c:v>
                </c:pt>
                <c:pt idx="4267">
                  <c:v>41255</c:v>
                </c:pt>
                <c:pt idx="4268">
                  <c:v>41256</c:v>
                </c:pt>
                <c:pt idx="4269">
                  <c:v>41257</c:v>
                </c:pt>
                <c:pt idx="4270">
                  <c:v>41260</c:v>
                </c:pt>
                <c:pt idx="4271">
                  <c:v>41261</c:v>
                </c:pt>
                <c:pt idx="4272">
                  <c:v>41262</c:v>
                </c:pt>
                <c:pt idx="4273">
                  <c:v>41263</c:v>
                </c:pt>
                <c:pt idx="4274">
                  <c:v>41264</c:v>
                </c:pt>
                <c:pt idx="4275">
                  <c:v>41267</c:v>
                </c:pt>
                <c:pt idx="4276">
                  <c:v>41269</c:v>
                </c:pt>
                <c:pt idx="4277">
                  <c:v>41270</c:v>
                </c:pt>
                <c:pt idx="4278">
                  <c:v>41271</c:v>
                </c:pt>
                <c:pt idx="4279">
                  <c:v>41274</c:v>
                </c:pt>
                <c:pt idx="4280">
                  <c:v>41276</c:v>
                </c:pt>
                <c:pt idx="4281">
                  <c:v>41277</c:v>
                </c:pt>
                <c:pt idx="4282">
                  <c:v>41278</c:v>
                </c:pt>
                <c:pt idx="4283">
                  <c:v>41281</c:v>
                </c:pt>
                <c:pt idx="4284">
                  <c:v>41282</c:v>
                </c:pt>
                <c:pt idx="4285">
                  <c:v>41283</c:v>
                </c:pt>
                <c:pt idx="4286">
                  <c:v>41284</c:v>
                </c:pt>
                <c:pt idx="4287">
                  <c:v>41285</c:v>
                </c:pt>
                <c:pt idx="4288">
                  <c:v>41288</c:v>
                </c:pt>
                <c:pt idx="4289">
                  <c:v>41289</c:v>
                </c:pt>
                <c:pt idx="4290">
                  <c:v>41290</c:v>
                </c:pt>
                <c:pt idx="4291">
                  <c:v>41291</c:v>
                </c:pt>
                <c:pt idx="4292">
                  <c:v>41292</c:v>
                </c:pt>
                <c:pt idx="4293">
                  <c:v>41296</c:v>
                </c:pt>
                <c:pt idx="4294">
                  <c:v>41297</c:v>
                </c:pt>
                <c:pt idx="4295">
                  <c:v>41298</c:v>
                </c:pt>
                <c:pt idx="4296">
                  <c:v>41299</c:v>
                </c:pt>
                <c:pt idx="4297">
                  <c:v>41302</c:v>
                </c:pt>
                <c:pt idx="4298">
                  <c:v>41303</c:v>
                </c:pt>
                <c:pt idx="4299">
                  <c:v>41304</c:v>
                </c:pt>
                <c:pt idx="4300">
                  <c:v>41305</c:v>
                </c:pt>
                <c:pt idx="4301">
                  <c:v>41306</c:v>
                </c:pt>
                <c:pt idx="4302">
                  <c:v>41309</c:v>
                </c:pt>
                <c:pt idx="4303">
                  <c:v>41310</c:v>
                </c:pt>
                <c:pt idx="4304">
                  <c:v>41311</c:v>
                </c:pt>
                <c:pt idx="4305">
                  <c:v>41312</c:v>
                </c:pt>
                <c:pt idx="4306">
                  <c:v>41313</c:v>
                </c:pt>
                <c:pt idx="4307">
                  <c:v>41316</c:v>
                </c:pt>
                <c:pt idx="4308">
                  <c:v>41317</c:v>
                </c:pt>
                <c:pt idx="4309">
                  <c:v>41318</c:v>
                </c:pt>
                <c:pt idx="4310">
                  <c:v>41319</c:v>
                </c:pt>
                <c:pt idx="4311">
                  <c:v>41320</c:v>
                </c:pt>
                <c:pt idx="4312">
                  <c:v>41324</c:v>
                </c:pt>
                <c:pt idx="4313">
                  <c:v>41325</c:v>
                </c:pt>
                <c:pt idx="4314">
                  <c:v>41326</c:v>
                </c:pt>
                <c:pt idx="4315">
                  <c:v>41327</c:v>
                </c:pt>
                <c:pt idx="4316">
                  <c:v>41330</c:v>
                </c:pt>
                <c:pt idx="4317">
                  <c:v>41331</c:v>
                </c:pt>
                <c:pt idx="4318">
                  <c:v>41332</c:v>
                </c:pt>
                <c:pt idx="4319">
                  <c:v>41333</c:v>
                </c:pt>
                <c:pt idx="4320">
                  <c:v>41334</c:v>
                </c:pt>
                <c:pt idx="4321">
                  <c:v>41337</c:v>
                </c:pt>
                <c:pt idx="4322">
                  <c:v>41338</c:v>
                </c:pt>
                <c:pt idx="4323">
                  <c:v>41339</c:v>
                </c:pt>
                <c:pt idx="4324">
                  <c:v>41340</c:v>
                </c:pt>
                <c:pt idx="4325">
                  <c:v>41341</c:v>
                </c:pt>
                <c:pt idx="4326">
                  <c:v>41344</c:v>
                </c:pt>
                <c:pt idx="4327">
                  <c:v>41345</c:v>
                </c:pt>
                <c:pt idx="4328">
                  <c:v>41346</c:v>
                </c:pt>
                <c:pt idx="4329">
                  <c:v>41347</c:v>
                </c:pt>
                <c:pt idx="4330">
                  <c:v>41348</c:v>
                </c:pt>
                <c:pt idx="4331">
                  <c:v>41351</c:v>
                </c:pt>
                <c:pt idx="4332">
                  <c:v>41352</c:v>
                </c:pt>
                <c:pt idx="4333">
                  <c:v>41353</c:v>
                </c:pt>
                <c:pt idx="4334">
                  <c:v>41354</c:v>
                </c:pt>
                <c:pt idx="4335">
                  <c:v>41355</c:v>
                </c:pt>
                <c:pt idx="4336">
                  <c:v>41358</c:v>
                </c:pt>
                <c:pt idx="4337">
                  <c:v>41359</c:v>
                </c:pt>
                <c:pt idx="4338">
                  <c:v>41360</c:v>
                </c:pt>
                <c:pt idx="4339">
                  <c:v>41361</c:v>
                </c:pt>
                <c:pt idx="4340">
                  <c:v>41365</c:v>
                </c:pt>
                <c:pt idx="4341">
                  <c:v>41366</c:v>
                </c:pt>
                <c:pt idx="4342">
                  <c:v>41367</c:v>
                </c:pt>
                <c:pt idx="4343">
                  <c:v>41368</c:v>
                </c:pt>
                <c:pt idx="4344">
                  <c:v>41369</c:v>
                </c:pt>
                <c:pt idx="4345">
                  <c:v>41372</c:v>
                </c:pt>
                <c:pt idx="4346">
                  <c:v>41373</c:v>
                </c:pt>
                <c:pt idx="4347">
                  <c:v>41374</c:v>
                </c:pt>
                <c:pt idx="4348">
                  <c:v>41375</c:v>
                </c:pt>
                <c:pt idx="4349">
                  <c:v>41376</c:v>
                </c:pt>
                <c:pt idx="4350">
                  <c:v>41379</c:v>
                </c:pt>
                <c:pt idx="4351">
                  <c:v>41380</c:v>
                </c:pt>
                <c:pt idx="4352">
                  <c:v>41381</c:v>
                </c:pt>
                <c:pt idx="4353">
                  <c:v>41382</c:v>
                </c:pt>
                <c:pt idx="4354">
                  <c:v>41383</c:v>
                </c:pt>
                <c:pt idx="4355">
                  <c:v>41386</c:v>
                </c:pt>
                <c:pt idx="4356">
                  <c:v>41387</c:v>
                </c:pt>
                <c:pt idx="4357">
                  <c:v>41388</c:v>
                </c:pt>
                <c:pt idx="4358">
                  <c:v>41389</c:v>
                </c:pt>
                <c:pt idx="4359">
                  <c:v>41390</c:v>
                </c:pt>
                <c:pt idx="4360">
                  <c:v>41393</c:v>
                </c:pt>
                <c:pt idx="4361">
                  <c:v>41394</c:v>
                </c:pt>
                <c:pt idx="4362">
                  <c:v>41395</c:v>
                </c:pt>
                <c:pt idx="4363">
                  <c:v>41396</c:v>
                </c:pt>
                <c:pt idx="4364">
                  <c:v>41397</c:v>
                </c:pt>
                <c:pt idx="4365">
                  <c:v>41400</c:v>
                </c:pt>
                <c:pt idx="4366">
                  <c:v>41401</c:v>
                </c:pt>
                <c:pt idx="4367">
                  <c:v>41402</c:v>
                </c:pt>
                <c:pt idx="4368">
                  <c:v>41403</c:v>
                </c:pt>
                <c:pt idx="4369">
                  <c:v>41404</c:v>
                </c:pt>
                <c:pt idx="4370">
                  <c:v>41407</c:v>
                </c:pt>
                <c:pt idx="4371">
                  <c:v>41408</c:v>
                </c:pt>
                <c:pt idx="4372">
                  <c:v>41409</c:v>
                </c:pt>
                <c:pt idx="4373">
                  <c:v>41410</c:v>
                </c:pt>
                <c:pt idx="4374">
                  <c:v>41411</c:v>
                </c:pt>
                <c:pt idx="4375">
                  <c:v>41414</c:v>
                </c:pt>
                <c:pt idx="4376">
                  <c:v>41415</c:v>
                </c:pt>
                <c:pt idx="4377">
                  <c:v>41416</c:v>
                </c:pt>
                <c:pt idx="4378">
                  <c:v>41417</c:v>
                </c:pt>
                <c:pt idx="4379">
                  <c:v>41418</c:v>
                </c:pt>
                <c:pt idx="4380">
                  <c:v>41422</c:v>
                </c:pt>
                <c:pt idx="4381">
                  <c:v>41423</c:v>
                </c:pt>
                <c:pt idx="4382">
                  <c:v>41424</c:v>
                </c:pt>
                <c:pt idx="4383">
                  <c:v>41425</c:v>
                </c:pt>
                <c:pt idx="4384">
                  <c:v>41428</c:v>
                </c:pt>
                <c:pt idx="4385">
                  <c:v>41429</c:v>
                </c:pt>
                <c:pt idx="4386">
                  <c:v>41430</c:v>
                </c:pt>
                <c:pt idx="4387">
                  <c:v>41431</c:v>
                </c:pt>
                <c:pt idx="4388">
                  <c:v>41432</c:v>
                </c:pt>
                <c:pt idx="4389">
                  <c:v>41435</c:v>
                </c:pt>
                <c:pt idx="4390">
                  <c:v>41436</c:v>
                </c:pt>
                <c:pt idx="4391">
                  <c:v>41437</c:v>
                </c:pt>
                <c:pt idx="4392">
                  <c:v>41438</c:v>
                </c:pt>
                <c:pt idx="4393">
                  <c:v>41439</c:v>
                </c:pt>
                <c:pt idx="4394">
                  <c:v>41442</c:v>
                </c:pt>
                <c:pt idx="4395">
                  <c:v>41443</c:v>
                </c:pt>
                <c:pt idx="4396">
                  <c:v>41444</c:v>
                </c:pt>
                <c:pt idx="4397">
                  <c:v>41445</c:v>
                </c:pt>
                <c:pt idx="4398">
                  <c:v>41446</c:v>
                </c:pt>
                <c:pt idx="4399">
                  <c:v>41449</c:v>
                </c:pt>
                <c:pt idx="4400">
                  <c:v>41450</c:v>
                </c:pt>
                <c:pt idx="4401">
                  <c:v>41451</c:v>
                </c:pt>
                <c:pt idx="4402">
                  <c:v>41452</c:v>
                </c:pt>
                <c:pt idx="4403">
                  <c:v>41453</c:v>
                </c:pt>
                <c:pt idx="4404">
                  <c:v>41456</c:v>
                </c:pt>
                <c:pt idx="4405">
                  <c:v>41457</c:v>
                </c:pt>
                <c:pt idx="4406">
                  <c:v>41458</c:v>
                </c:pt>
                <c:pt idx="4407">
                  <c:v>41460</c:v>
                </c:pt>
                <c:pt idx="4408">
                  <c:v>41463</c:v>
                </c:pt>
                <c:pt idx="4409">
                  <c:v>41464</c:v>
                </c:pt>
                <c:pt idx="4410">
                  <c:v>41465</c:v>
                </c:pt>
                <c:pt idx="4411">
                  <c:v>41466</c:v>
                </c:pt>
                <c:pt idx="4412">
                  <c:v>41467</c:v>
                </c:pt>
                <c:pt idx="4413">
                  <c:v>41470</c:v>
                </c:pt>
                <c:pt idx="4414">
                  <c:v>41471</c:v>
                </c:pt>
                <c:pt idx="4415">
                  <c:v>41472</c:v>
                </c:pt>
                <c:pt idx="4416">
                  <c:v>41473</c:v>
                </c:pt>
                <c:pt idx="4417">
                  <c:v>41474</c:v>
                </c:pt>
                <c:pt idx="4418">
                  <c:v>41477</c:v>
                </c:pt>
                <c:pt idx="4419">
                  <c:v>41478</c:v>
                </c:pt>
                <c:pt idx="4420">
                  <c:v>41479</c:v>
                </c:pt>
                <c:pt idx="4421">
                  <c:v>41480</c:v>
                </c:pt>
                <c:pt idx="4422">
                  <c:v>41481</c:v>
                </c:pt>
                <c:pt idx="4423">
                  <c:v>41484</c:v>
                </c:pt>
                <c:pt idx="4424">
                  <c:v>41485</c:v>
                </c:pt>
                <c:pt idx="4425">
                  <c:v>41486</c:v>
                </c:pt>
                <c:pt idx="4426">
                  <c:v>41487</c:v>
                </c:pt>
                <c:pt idx="4427">
                  <c:v>41488</c:v>
                </c:pt>
                <c:pt idx="4428">
                  <c:v>41491</c:v>
                </c:pt>
                <c:pt idx="4429">
                  <c:v>41492</c:v>
                </c:pt>
                <c:pt idx="4430">
                  <c:v>41493</c:v>
                </c:pt>
                <c:pt idx="4431">
                  <c:v>41494</c:v>
                </c:pt>
                <c:pt idx="4432">
                  <c:v>41495</c:v>
                </c:pt>
                <c:pt idx="4433">
                  <c:v>41498</c:v>
                </c:pt>
                <c:pt idx="4434">
                  <c:v>41499</c:v>
                </c:pt>
                <c:pt idx="4435">
                  <c:v>41500</c:v>
                </c:pt>
                <c:pt idx="4436">
                  <c:v>41501</c:v>
                </c:pt>
                <c:pt idx="4437">
                  <c:v>41502</c:v>
                </c:pt>
                <c:pt idx="4438">
                  <c:v>41505</c:v>
                </c:pt>
                <c:pt idx="4439">
                  <c:v>41506</c:v>
                </c:pt>
                <c:pt idx="4440">
                  <c:v>41507</c:v>
                </c:pt>
                <c:pt idx="4441">
                  <c:v>41508</c:v>
                </c:pt>
                <c:pt idx="4442">
                  <c:v>41509</c:v>
                </c:pt>
                <c:pt idx="4443">
                  <c:v>41512</c:v>
                </c:pt>
                <c:pt idx="4444">
                  <c:v>41513</c:v>
                </c:pt>
                <c:pt idx="4445">
                  <c:v>41514</c:v>
                </c:pt>
                <c:pt idx="4446">
                  <c:v>41515</c:v>
                </c:pt>
                <c:pt idx="4447">
                  <c:v>41516</c:v>
                </c:pt>
                <c:pt idx="4448">
                  <c:v>41520</c:v>
                </c:pt>
                <c:pt idx="4449">
                  <c:v>41521</c:v>
                </c:pt>
                <c:pt idx="4450">
                  <c:v>41522</c:v>
                </c:pt>
                <c:pt idx="4451">
                  <c:v>41523</c:v>
                </c:pt>
                <c:pt idx="4452">
                  <c:v>41526</c:v>
                </c:pt>
                <c:pt idx="4453">
                  <c:v>41527</c:v>
                </c:pt>
                <c:pt idx="4454">
                  <c:v>41528</c:v>
                </c:pt>
                <c:pt idx="4455">
                  <c:v>41529</c:v>
                </c:pt>
                <c:pt idx="4456">
                  <c:v>41530</c:v>
                </c:pt>
                <c:pt idx="4457">
                  <c:v>41533</c:v>
                </c:pt>
                <c:pt idx="4458">
                  <c:v>41534</c:v>
                </c:pt>
                <c:pt idx="4459">
                  <c:v>41535</c:v>
                </c:pt>
                <c:pt idx="4460">
                  <c:v>41536</c:v>
                </c:pt>
                <c:pt idx="4461">
                  <c:v>41537</c:v>
                </c:pt>
                <c:pt idx="4462">
                  <c:v>41540</c:v>
                </c:pt>
                <c:pt idx="4463">
                  <c:v>41541</c:v>
                </c:pt>
                <c:pt idx="4464">
                  <c:v>41542</c:v>
                </c:pt>
                <c:pt idx="4465">
                  <c:v>41543</c:v>
                </c:pt>
                <c:pt idx="4466">
                  <c:v>41544</c:v>
                </c:pt>
                <c:pt idx="4467">
                  <c:v>41547</c:v>
                </c:pt>
                <c:pt idx="4468">
                  <c:v>41548</c:v>
                </c:pt>
                <c:pt idx="4469">
                  <c:v>41549</c:v>
                </c:pt>
                <c:pt idx="4470">
                  <c:v>41550</c:v>
                </c:pt>
                <c:pt idx="4471">
                  <c:v>41551</c:v>
                </c:pt>
                <c:pt idx="4472">
                  <c:v>41554</c:v>
                </c:pt>
                <c:pt idx="4473">
                  <c:v>41555</c:v>
                </c:pt>
                <c:pt idx="4474">
                  <c:v>41556</c:v>
                </c:pt>
                <c:pt idx="4475">
                  <c:v>41557</c:v>
                </c:pt>
                <c:pt idx="4476">
                  <c:v>41558</c:v>
                </c:pt>
                <c:pt idx="4477">
                  <c:v>41561</c:v>
                </c:pt>
                <c:pt idx="4478">
                  <c:v>41562</c:v>
                </c:pt>
                <c:pt idx="4479">
                  <c:v>41563</c:v>
                </c:pt>
                <c:pt idx="4480">
                  <c:v>41564</c:v>
                </c:pt>
                <c:pt idx="4481">
                  <c:v>41565</c:v>
                </c:pt>
                <c:pt idx="4482">
                  <c:v>41568</c:v>
                </c:pt>
                <c:pt idx="4483">
                  <c:v>41569</c:v>
                </c:pt>
                <c:pt idx="4484">
                  <c:v>41570</c:v>
                </c:pt>
                <c:pt idx="4485">
                  <c:v>41571</c:v>
                </c:pt>
                <c:pt idx="4486">
                  <c:v>41572</c:v>
                </c:pt>
                <c:pt idx="4487">
                  <c:v>41575</c:v>
                </c:pt>
                <c:pt idx="4488">
                  <c:v>41576</c:v>
                </c:pt>
                <c:pt idx="4489">
                  <c:v>41577</c:v>
                </c:pt>
                <c:pt idx="4490">
                  <c:v>41578</c:v>
                </c:pt>
                <c:pt idx="4491">
                  <c:v>41579</c:v>
                </c:pt>
                <c:pt idx="4492">
                  <c:v>41582</c:v>
                </c:pt>
                <c:pt idx="4493">
                  <c:v>41583</c:v>
                </c:pt>
                <c:pt idx="4494">
                  <c:v>41584</c:v>
                </c:pt>
                <c:pt idx="4495">
                  <c:v>41585</c:v>
                </c:pt>
                <c:pt idx="4496">
                  <c:v>41586</c:v>
                </c:pt>
                <c:pt idx="4497">
                  <c:v>41589</c:v>
                </c:pt>
                <c:pt idx="4498">
                  <c:v>41590</c:v>
                </c:pt>
                <c:pt idx="4499">
                  <c:v>41591</c:v>
                </c:pt>
                <c:pt idx="4500">
                  <c:v>41592</c:v>
                </c:pt>
                <c:pt idx="4501">
                  <c:v>41593</c:v>
                </c:pt>
                <c:pt idx="4502">
                  <c:v>41596</c:v>
                </c:pt>
                <c:pt idx="4503">
                  <c:v>41597</c:v>
                </c:pt>
                <c:pt idx="4504">
                  <c:v>41598</c:v>
                </c:pt>
                <c:pt idx="4505">
                  <c:v>41599</c:v>
                </c:pt>
                <c:pt idx="4506">
                  <c:v>41600</c:v>
                </c:pt>
                <c:pt idx="4507">
                  <c:v>41603</c:v>
                </c:pt>
                <c:pt idx="4508">
                  <c:v>41604</c:v>
                </c:pt>
                <c:pt idx="4509">
                  <c:v>41605</c:v>
                </c:pt>
                <c:pt idx="4510">
                  <c:v>41607</c:v>
                </c:pt>
                <c:pt idx="4511">
                  <c:v>41610</c:v>
                </c:pt>
                <c:pt idx="4512">
                  <c:v>41611</c:v>
                </c:pt>
                <c:pt idx="4513">
                  <c:v>41612</c:v>
                </c:pt>
                <c:pt idx="4514">
                  <c:v>41613</c:v>
                </c:pt>
                <c:pt idx="4515">
                  <c:v>41614</c:v>
                </c:pt>
                <c:pt idx="4516">
                  <c:v>41617</c:v>
                </c:pt>
                <c:pt idx="4517">
                  <c:v>41618</c:v>
                </c:pt>
                <c:pt idx="4518">
                  <c:v>41619</c:v>
                </c:pt>
                <c:pt idx="4519">
                  <c:v>41620</c:v>
                </c:pt>
                <c:pt idx="4520">
                  <c:v>41621</c:v>
                </c:pt>
                <c:pt idx="4521">
                  <c:v>41624</c:v>
                </c:pt>
                <c:pt idx="4522">
                  <c:v>41625</c:v>
                </c:pt>
                <c:pt idx="4523">
                  <c:v>41626</c:v>
                </c:pt>
                <c:pt idx="4524">
                  <c:v>41627</c:v>
                </c:pt>
                <c:pt idx="4525">
                  <c:v>41628</c:v>
                </c:pt>
                <c:pt idx="4526">
                  <c:v>41631</c:v>
                </c:pt>
                <c:pt idx="4527">
                  <c:v>41632</c:v>
                </c:pt>
                <c:pt idx="4528">
                  <c:v>41634</c:v>
                </c:pt>
                <c:pt idx="4529">
                  <c:v>41635</c:v>
                </c:pt>
                <c:pt idx="4530">
                  <c:v>41638</c:v>
                </c:pt>
                <c:pt idx="4531">
                  <c:v>41639</c:v>
                </c:pt>
                <c:pt idx="4532">
                  <c:v>41641</c:v>
                </c:pt>
                <c:pt idx="4533">
                  <c:v>41642</c:v>
                </c:pt>
                <c:pt idx="4534">
                  <c:v>41645</c:v>
                </c:pt>
                <c:pt idx="4535">
                  <c:v>41646</c:v>
                </c:pt>
                <c:pt idx="4536">
                  <c:v>41647</c:v>
                </c:pt>
                <c:pt idx="4537">
                  <c:v>41648</c:v>
                </c:pt>
                <c:pt idx="4538">
                  <c:v>41649</c:v>
                </c:pt>
                <c:pt idx="4539">
                  <c:v>41652</c:v>
                </c:pt>
                <c:pt idx="4540">
                  <c:v>41653</c:v>
                </c:pt>
                <c:pt idx="4541">
                  <c:v>41654</c:v>
                </c:pt>
                <c:pt idx="4542">
                  <c:v>41655</c:v>
                </c:pt>
                <c:pt idx="4543">
                  <c:v>41656</c:v>
                </c:pt>
                <c:pt idx="4544">
                  <c:v>41660</c:v>
                </c:pt>
                <c:pt idx="4545">
                  <c:v>41661</c:v>
                </c:pt>
                <c:pt idx="4546">
                  <c:v>41662</c:v>
                </c:pt>
                <c:pt idx="4547">
                  <c:v>41663</c:v>
                </c:pt>
                <c:pt idx="4548">
                  <c:v>41666</c:v>
                </c:pt>
                <c:pt idx="4549">
                  <c:v>41667</c:v>
                </c:pt>
                <c:pt idx="4550">
                  <c:v>41668</c:v>
                </c:pt>
                <c:pt idx="4551">
                  <c:v>41669</c:v>
                </c:pt>
                <c:pt idx="4552">
                  <c:v>41670</c:v>
                </c:pt>
                <c:pt idx="4553">
                  <c:v>41673</c:v>
                </c:pt>
                <c:pt idx="4554">
                  <c:v>41674</c:v>
                </c:pt>
                <c:pt idx="4555">
                  <c:v>41675</c:v>
                </c:pt>
                <c:pt idx="4556">
                  <c:v>41676</c:v>
                </c:pt>
                <c:pt idx="4557">
                  <c:v>41677</c:v>
                </c:pt>
                <c:pt idx="4558">
                  <c:v>41680</c:v>
                </c:pt>
                <c:pt idx="4559">
                  <c:v>41681</c:v>
                </c:pt>
                <c:pt idx="4560">
                  <c:v>41682</c:v>
                </c:pt>
                <c:pt idx="4561">
                  <c:v>41683</c:v>
                </c:pt>
                <c:pt idx="4562">
                  <c:v>41684</c:v>
                </c:pt>
                <c:pt idx="4563">
                  <c:v>41688</c:v>
                </c:pt>
                <c:pt idx="4564">
                  <c:v>41689</c:v>
                </c:pt>
                <c:pt idx="4565">
                  <c:v>41690</c:v>
                </c:pt>
                <c:pt idx="4566">
                  <c:v>41691</c:v>
                </c:pt>
                <c:pt idx="4567">
                  <c:v>41694</c:v>
                </c:pt>
                <c:pt idx="4568">
                  <c:v>41695</c:v>
                </c:pt>
                <c:pt idx="4569">
                  <c:v>41696</c:v>
                </c:pt>
                <c:pt idx="4570">
                  <c:v>41697</c:v>
                </c:pt>
                <c:pt idx="4571">
                  <c:v>41698</c:v>
                </c:pt>
                <c:pt idx="4572">
                  <c:v>41701</c:v>
                </c:pt>
                <c:pt idx="4573">
                  <c:v>41702</c:v>
                </c:pt>
                <c:pt idx="4574">
                  <c:v>41703</c:v>
                </c:pt>
                <c:pt idx="4575">
                  <c:v>41704</c:v>
                </c:pt>
                <c:pt idx="4576">
                  <c:v>41705</c:v>
                </c:pt>
                <c:pt idx="4577">
                  <c:v>41708</c:v>
                </c:pt>
                <c:pt idx="4578">
                  <c:v>41709</c:v>
                </c:pt>
                <c:pt idx="4579">
                  <c:v>41710</c:v>
                </c:pt>
                <c:pt idx="4580">
                  <c:v>41711</c:v>
                </c:pt>
                <c:pt idx="4581">
                  <c:v>41712</c:v>
                </c:pt>
                <c:pt idx="4582">
                  <c:v>41715</c:v>
                </c:pt>
                <c:pt idx="4583">
                  <c:v>41716</c:v>
                </c:pt>
                <c:pt idx="4584">
                  <c:v>41717</c:v>
                </c:pt>
                <c:pt idx="4585">
                  <c:v>41718</c:v>
                </c:pt>
                <c:pt idx="4586">
                  <c:v>41719</c:v>
                </c:pt>
                <c:pt idx="4587">
                  <c:v>41722</c:v>
                </c:pt>
                <c:pt idx="4588">
                  <c:v>41723</c:v>
                </c:pt>
                <c:pt idx="4589">
                  <c:v>41724</c:v>
                </c:pt>
                <c:pt idx="4590">
                  <c:v>41725</c:v>
                </c:pt>
                <c:pt idx="4591">
                  <c:v>41726</c:v>
                </c:pt>
                <c:pt idx="4592">
                  <c:v>41729</c:v>
                </c:pt>
                <c:pt idx="4593">
                  <c:v>41730</c:v>
                </c:pt>
                <c:pt idx="4594">
                  <c:v>41731</c:v>
                </c:pt>
                <c:pt idx="4595">
                  <c:v>41732</c:v>
                </c:pt>
                <c:pt idx="4596">
                  <c:v>41733</c:v>
                </c:pt>
                <c:pt idx="4597">
                  <c:v>41736</c:v>
                </c:pt>
                <c:pt idx="4598">
                  <c:v>41737</c:v>
                </c:pt>
                <c:pt idx="4599">
                  <c:v>41738</c:v>
                </c:pt>
                <c:pt idx="4600">
                  <c:v>41739</c:v>
                </c:pt>
                <c:pt idx="4601">
                  <c:v>41740</c:v>
                </c:pt>
                <c:pt idx="4602">
                  <c:v>41743</c:v>
                </c:pt>
                <c:pt idx="4603">
                  <c:v>41744</c:v>
                </c:pt>
                <c:pt idx="4604">
                  <c:v>41745</c:v>
                </c:pt>
                <c:pt idx="4605">
                  <c:v>41746</c:v>
                </c:pt>
                <c:pt idx="4606">
                  <c:v>41750</c:v>
                </c:pt>
                <c:pt idx="4607">
                  <c:v>41751</c:v>
                </c:pt>
                <c:pt idx="4608">
                  <c:v>41752</c:v>
                </c:pt>
                <c:pt idx="4609">
                  <c:v>41753</c:v>
                </c:pt>
                <c:pt idx="4610">
                  <c:v>41754</c:v>
                </c:pt>
                <c:pt idx="4611">
                  <c:v>41757</c:v>
                </c:pt>
                <c:pt idx="4612">
                  <c:v>41758</c:v>
                </c:pt>
                <c:pt idx="4613">
                  <c:v>41759</c:v>
                </c:pt>
                <c:pt idx="4614">
                  <c:v>41760</c:v>
                </c:pt>
                <c:pt idx="4615">
                  <c:v>41761</c:v>
                </c:pt>
                <c:pt idx="4616">
                  <c:v>41764</c:v>
                </c:pt>
                <c:pt idx="4617">
                  <c:v>41765</c:v>
                </c:pt>
                <c:pt idx="4618">
                  <c:v>41766</c:v>
                </c:pt>
                <c:pt idx="4619">
                  <c:v>41767</c:v>
                </c:pt>
                <c:pt idx="4620">
                  <c:v>41768</c:v>
                </c:pt>
                <c:pt idx="4621">
                  <c:v>41771</c:v>
                </c:pt>
                <c:pt idx="4622">
                  <c:v>41772</c:v>
                </c:pt>
                <c:pt idx="4623">
                  <c:v>41773</c:v>
                </c:pt>
                <c:pt idx="4624">
                  <c:v>41774</c:v>
                </c:pt>
                <c:pt idx="4625">
                  <c:v>41775</c:v>
                </c:pt>
                <c:pt idx="4626">
                  <c:v>41778</c:v>
                </c:pt>
                <c:pt idx="4627">
                  <c:v>41779</c:v>
                </c:pt>
                <c:pt idx="4628">
                  <c:v>41780</c:v>
                </c:pt>
                <c:pt idx="4629">
                  <c:v>41781</c:v>
                </c:pt>
                <c:pt idx="4630">
                  <c:v>41782</c:v>
                </c:pt>
                <c:pt idx="4631">
                  <c:v>41786</c:v>
                </c:pt>
                <c:pt idx="4632">
                  <c:v>41787</c:v>
                </c:pt>
                <c:pt idx="4633">
                  <c:v>41788</c:v>
                </c:pt>
                <c:pt idx="4634">
                  <c:v>41789</c:v>
                </c:pt>
                <c:pt idx="4635">
                  <c:v>41792</c:v>
                </c:pt>
                <c:pt idx="4636">
                  <c:v>41793</c:v>
                </c:pt>
                <c:pt idx="4637">
                  <c:v>41794</c:v>
                </c:pt>
                <c:pt idx="4638">
                  <c:v>41795</c:v>
                </c:pt>
                <c:pt idx="4639">
                  <c:v>41796</c:v>
                </c:pt>
                <c:pt idx="4640">
                  <c:v>41799</c:v>
                </c:pt>
                <c:pt idx="4641">
                  <c:v>41800</c:v>
                </c:pt>
                <c:pt idx="4642">
                  <c:v>41801</c:v>
                </c:pt>
                <c:pt idx="4643">
                  <c:v>41802</c:v>
                </c:pt>
                <c:pt idx="4644">
                  <c:v>41803</c:v>
                </c:pt>
                <c:pt idx="4645">
                  <c:v>41806</c:v>
                </c:pt>
                <c:pt idx="4646">
                  <c:v>41807</c:v>
                </c:pt>
                <c:pt idx="4647">
                  <c:v>41808</c:v>
                </c:pt>
                <c:pt idx="4648">
                  <c:v>41809</c:v>
                </c:pt>
                <c:pt idx="4649">
                  <c:v>41810</c:v>
                </c:pt>
                <c:pt idx="4650">
                  <c:v>41813</c:v>
                </c:pt>
                <c:pt idx="4651">
                  <c:v>41814</c:v>
                </c:pt>
                <c:pt idx="4652">
                  <c:v>41815</c:v>
                </c:pt>
                <c:pt idx="4653">
                  <c:v>41816</c:v>
                </c:pt>
                <c:pt idx="4654">
                  <c:v>41817</c:v>
                </c:pt>
                <c:pt idx="4655">
                  <c:v>41820</c:v>
                </c:pt>
                <c:pt idx="4656">
                  <c:v>41821</c:v>
                </c:pt>
                <c:pt idx="4657">
                  <c:v>41822</c:v>
                </c:pt>
                <c:pt idx="4658">
                  <c:v>41823</c:v>
                </c:pt>
                <c:pt idx="4659">
                  <c:v>41827</c:v>
                </c:pt>
                <c:pt idx="4660">
                  <c:v>41828</c:v>
                </c:pt>
                <c:pt idx="4661">
                  <c:v>41829</c:v>
                </c:pt>
                <c:pt idx="4662">
                  <c:v>41830</c:v>
                </c:pt>
                <c:pt idx="4663">
                  <c:v>41831</c:v>
                </c:pt>
                <c:pt idx="4664">
                  <c:v>41834</c:v>
                </c:pt>
                <c:pt idx="4665">
                  <c:v>41835</c:v>
                </c:pt>
                <c:pt idx="4666">
                  <c:v>41836</c:v>
                </c:pt>
                <c:pt idx="4667">
                  <c:v>41837</c:v>
                </c:pt>
                <c:pt idx="4668">
                  <c:v>41838</c:v>
                </c:pt>
                <c:pt idx="4669">
                  <c:v>41841</c:v>
                </c:pt>
                <c:pt idx="4670">
                  <c:v>41842</c:v>
                </c:pt>
                <c:pt idx="4671">
                  <c:v>41843</c:v>
                </c:pt>
                <c:pt idx="4672">
                  <c:v>41844</c:v>
                </c:pt>
                <c:pt idx="4673">
                  <c:v>41845</c:v>
                </c:pt>
                <c:pt idx="4674">
                  <c:v>41848</c:v>
                </c:pt>
                <c:pt idx="4675">
                  <c:v>41849</c:v>
                </c:pt>
                <c:pt idx="4676">
                  <c:v>41850</c:v>
                </c:pt>
                <c:pt idx="4677">
                  <c:v>41851</c:v>
                </c:pt>
                <c:pt idx="4678">
                  <c:v>41852</c:v>
                </c:pt>
                <c:pt idx="4679">
                  <c:v>41855</c:v>
                </c:pt>
                <c:pt idx="4680">
                  <c:v>41856</c:v>
                </c:pt>
                <c:pt idx="4681">
                  <c:v>41857</c:v>
                </c:pt>
                <c:pt idx="4682">
                  <c:v>41858</c:v>
                </c:pt>
                <c:pt idx="4683">
                  <c:v>41859</c:v>
                </c:pt>
                <c:pt idx="4684">
                  <c:v>41862</c:v>
                </c:pt>
                <c:pt idx="4685">
                  <c:v>41863</c:v>
                </c:pt>
                <c:pt idx="4686">
                  <c:v>41864</c:v>
                </c:pt>
                <c:pt idx="4687">
                  <c:v>41865</c:v>
                </c:pt>
                <c:pt idx="4688">
                  <c:v>41866</c:v>
                </c:pt>
                <c:pt idx="4689">
                  <c:v>41869</c:v>
                </c:pt>
                <c:pt idx="4690">
                  <c:v>41870</c:v>
                </c:pt>
                <c:pt idx="4691">
                  <c:v>41871</c:v>
                </c:pt>
                <c:pt idx="4692">
                  <c:v>41872</c:v>
                </c:pt>
                <c:pt idx="4693">
                  <c:v>41873</c:v>
                </c:pt>
                <c:pt idx="4694">
                  <c:v>41876</c:v>
                </c:pt>
                <c:pt idx="4695">
                  <c:v>41877</c:v>
                </c:pt>
                <c:pt idx="4696">
                  <c:v>41878</c:v>
                </c:pt>
                <c:pt idx="4697">
                  <c:v>41879</c:v>
                </c:pt>
                <c:pt idx="4698">
                  <c:v>41880</c:v>
                </c:pt>
                <c:pt idx="4699">
                  <c:v>41884</c:v>
                </c:pt>
                <c:pt idx="4700">
                  <c:v>41885</c:v>
                </c:pt>
                <c:pt idx="4701">
                  <c:v>41886</c:v>
                </c:pt>
                <c:pt idx="4702">
                  <c:v>41887</c:v>
                </c:pt>
                <c:pt idx="4703">
                  <c:v>41890</c:v>
                </c:pt>
                <c:pt idx="4704">
                  <c:v>41891</c:v>
                </c:pt>
                <c:pt idx="4705">
                  <c:v>41892</c:v>
                </c:pt>
                <c:pt idx="4706">
                  <c:v>41893</c:v>
                </c:pt>
                <c:pt idx="4707">
                  <c:v>41894</c:v>
                </c:pt>
                <c:pt idx="4708">
                  <c:v>41897</c:v>
                </c:pt>
                <c:pt idx="4709">
                  <c:v>41898</c:v>
                </c:pt>
                <c:pt idx="4710">
                  <c:v>41899</c:v>
                </c:pt>
                <c:pt idx="4711">
                  <c:v>41900</c:v>
                </c:pt>
                <c:pt idx="4712">
                  <c:v>41901</c:v>
                </c:pt>
                <c:pt idx="4713">
                  <c:v>41904</c:v>
                </c:pt>
                <c:pt idx="4714">
                  <c:v>41905</c:v>
                </c:pt>
                <c:pt idx="4715">
                  <c:v>41906</c:v>
                </c:pt>
                <c:pt idx="4716">
                  <c:v>41907</c:v>
                </c:pt>
                <c:pt idx="4717">
                  <c:v>41908</c:v>
                </c:pt>
                <c:pt idx="4718">
                  <c:v>41911</c:v>
                </c:pt>
                <c:pt idx="4719">
                  <c:v>41912</c:v>
                </c:pt>
                <c:pt idx="4720">
                  <c:v>41913</c:v>
                </c:pt>
                <c:pt idx="4721">
                  <c:v>41914</c:v>
                </c:pt>
                <c:pt idx="4722">
                  <c:v>41915</c:v>
                </c:pt>
                <c:pt idx="4723">
                  <c:v>41918</c:v>
                </c:pt>
                <c:pt idx="4724">
                  <c:v>41919</c:v>
                </c:pt>
                <c:pt idx="4725">
                  <c:v>41920</c:v>
                </c:pt>
                <c:pt idx="4726">
                  <c:v>41921</c:v>
                </c:pt>
                <c:pt idx="4727">
                  <c:v>41922</c:v>
                </c:pt>
                <c:pt idx="4728">
                  <c:v>41925</c:v>
                </c:pt>
                <c:pt idx="4729">
                  <c:v>41926</c:v>
                </c:pt>
                <c:pt idx="4730">
                  <c:v>41927</c:v>
                </c:pt>
                <c:pt idx="4731">
                  <c:v>41928</c:v>
                </c:pt>
                <c:pt idx="4732">
                  <c:v>41929</c:v>
                </c:pt>
                <c:pt idx="4733">
                  <c:v>41932</c:v>
                </c:pt>
                <c:pt idx="4734">
                  <c:v>41933</c:v>
                </c:pt>
                <c:pt idx="4735">
                  <c:v>41934</c:v>
                </c:pt>
                <c:pt idx="4736">
                  <c:v>41935</c:v>
                </c:pt>
                <c:pt idx="4737">
                  <c:v>41936</c:v>
                </c:pt>
                <c:pt idx="4738">
                  <c:v>41939</c:v>
                </c:pt>
                <c:pt idx="4739">
                  <c:v>41940</c:v>
                </c:pt>
                <c:pt idx="4740">
                  <c:v>41941</c:v>
                </c:pt>
                <c:pt idx="4741">
                  <c:v>41942</c:v>
                </c:pt>
                <c:pt idx="4742">
                  <c:v>41943</c:v>
                </c:pt>
                <c:pt idx="4743">
                  <c:v>41946</c:v>
                </c:pt>
                <c:pt idx="4744">
                  <c:v>41947</c:v>
                </c:pt>
                <c:pt idx="4745">
                  <c:v>41948</c:v>
                </c:pt>
                <c:pt idx="4746">
                  <c:v>41949</c:v>
                </c:pt>
                <c:pt idx="4747">
                  <c:v>41950</c:v>
                </c:pt>
                <c:pt idx="4748">
                  <c:v>41953</c:v>
                </c:pt>
                <c:pt idx="4749">
                  <c:v>41954</c:v>
                </c:pt>
                <c:pt idx="4750">
                  <c:v>41955</c:v>
                </c:pt>
                <c:pt idx="4751">
                  <c:v>41956</c:v>
                </c:pt>
                <c:pt idx="4752">
                  <c:v>41957</c:v>
                </c:pt>
                <c:pt idx="4753">
                  <c:v>41960</c:v>
                </c:pt>
                <c:pt idx="4754">
                  <c:v>41961</c:v>
                </c:pt>
                <c:pt idx="4755">
                  <c:v>41962</c:v>
                </c:pt>
                <c:pt idx="4756">
                  <c:v>41963</c:v>
                </c:pt>
                <c:pt idx="4757">
                  <c:v>41964</c:v>
                </c:pt>
                <c:pt idx="4758">
                  <c:v>41967</c:v>
                </c:pt>
                <c:pt idx="4759">
                  <c:v>41968</c:v>
                </c:pt>
                <c:pt idx="4760">
                  <c:v>41969</c:v>
                </c:pt>
                <c:pt idx="4761">
                  <c:v>41971</c:v>
                </c:pt>
                <c:pt idx="4762">
                  <c:v>41974</c:v>
                </c:pt>
                <c:pt idx="4763">
                  <c:v>41975</c:v>
                </c:pt>
                <c:pt idx="4764">
                  <c:v>41976</c:v>
                </c:pt>
                <c:pt idx="4765">
                  <c:v>41977</c:v>
                </c:pt>
                <c:pt idx="4766">
                  <c:v>41978</c:v>
                </c:pt>
                <c:pt idx="4767">
                  <c:v>41981</c:v>
                </c:pt>
                <c:pt idx="4768">
                  <c:v>41982</c:v>
                </c:pt>
                <c:pt idx="4769">
                  <c:v>41983</c:v>
                </c:pt>
                <c:pt idx="4770">
                  <c:v>41984</c:v>
                </c:pt>
                <c:pt idx="4771">
                  <c:v>41985</c:v>
                </c:pt>
                <c:pt idx="4772">
                  <c:v>41988</c:v>
                </c:pt>
                <c:pt idx="4773">
                  <c:v>41989</c:v>
                </c:pt>
                <c:pt idx="4774">
                  <c:v>41990</c:v>
                </c:pt>
                <c:pt idx="4775">
                  <c:v>41991</c:v>
                </c:pt>
                <c:pt idx="4776">
                  <c:v>41992</c:v>
                </c:pt>
                <c:pt idx="4777">
                  <c:v>41995</c:v>
                </c:pt>
                <c:pt idx="4778">
                  <c:v>41996</c:v>
                </c:pt>
                <c:pt idx="4779">
                  <c:v>41997</c:v>
                </c:pt>
                <c:pt idx="4780">
                  <c:v>41999</c:v>
                </c:pt>
                <c:pt idx="4781">
                  <c:v>42002</c:v>
                </c:pt>
                <c:pt idx="4782">
                  <c:v>42003</c:v>
                </c:pt>
                <c:pt idx="4783">
                  <c:v>42004</c:v>
                </c:pt>
                <c:pt idx="4784">
                  <c:v>42006</c:v>
                </c:pt>
                <c:pt idx="4785">
                  <c:v>42009</c:v>
                </c:pt>
                <c:pt idx="4786">
                  <c:v>42010</c:v>
                </c:pt>
                <c:pt idx="4787">
                  <c:v>42011</c:v>
                </c:pt>
                <c:pt idx="4788">
                  <c:v>42012</c:v>
                </c:pt>
                <c:pt idx="4789">
                  <c:v>42013</c:v>
                </c:pt>
                <c:pt idx="4790">
                  <c:v>42016</c:v>
                </c:pt>
                <c:pt idx="4791">
                  <c:v>42017</c:v>
                </c:pt>
                <c:pt idx="4792">
                  <c:v>42018</c:v>
                </c:pt>
                <c:pt idx="4793">
                  <c:v>42019</c:v>
                </c:pt>
                <c:pt idx="4794">
                  <c:v>42020</c:v>
                </c:pt>
                <c:pt idx="4795">
                  <c:v>42024</c:v>
                </c:pt>
                <c:pt idx="4796">
                  <c:v>42025</c:v>
                </c:pt>
                <c:pt idx="4797">
                  <c:v>42026</c:v>
                </c:pt>
                <c:pt idx="4798">
                  <c:v>42027</c:v>
                </c:pt>
                <c:pt idx="4799">
                  <c:v>42030</c:v>
                </c:pt>
                <c:pt idx="4800">
                  <c:v>42031</c:v>
                </c:pt>
                <c:pt idx="4801">
                  <c:v>42032</c:v>
                </c:pt>
                <c:pt idx="4802">
                  <c:v>42033</c:v>
                </c:pt>
                <c:pt idx="4803">
                  <c:v>42034</c:v>
                </c:pt>
                <c:pt idx="4804">
                  <c:v>42037</c:v>
                </c:pt>
                <c:pt idx="4805">
                  <c:v>42038</c:v>
                </c:pt>
                <c:pt idx="4806">
                  <c:v>42039</c:v>
                </c:pt>
                <c:pt idx="4807">
                  <c:v>42040</c:v>
                </c:pt>
                <c:pt idx="4808">
                  <c:v>42041</c:v>
                </c:pt>
                <c:pt idx="4809">
                  <c:v>42044</c:v>
                </c:pt>
                <c:pt idx="4810">
                  <c:v>42045</c:v>
                </c:pt>
                <c:pt idx="4811">
                  <c:v>42046</c:v>
                </c:pt>
                <c:pt idx="4812">
                  <c:v>42047</c:v>
                </c:pt>
                <c:pt idx="4813">
                  <c:v>42048</c:v>
                </c:pt>
                <c:pt idx="4814">
                  <c:v>42052</c:v>
                </c:pt>
                <c:pt idx="4815">
                  <c:v>42053</c:v>
                </c:pt>
                <c:pt idx="4816">
                  <c:v>42054</c:v>
                </c:pt>
                <c:pt idx="4817">
                  <c:v>42055</c:v>
                </c:pt>
                <c:pt idx="4818">
                  <c:v>42058</c:v>
                </c:pt>
                <c:pt idx="4819">
                  <c:v>42059</c:v>
                </c:pt>
                <c:pt idx="4820">
                  <c:v>42060</c:v>
                </c:pt>
                <c:pt idx="4821">
                  <c:v>42061</c:v>
                </c:pt>
                <c:pt idx="4822">
                  <c:v>42062</c:v>
                </c:pt>
                <c:pt idx="4823">
                  <c:v>42065</c:v>
                </c:pt>
                <c:pt idx="4824">
                  <c:v>42066</c:v>
                </c:pt>
                <c:pt idx="4825">
                  <c:v>42067</c:v>
                </c:pt>
                <c:pt idx="4826">
                  <c:v>42068</c:v>
                </c:pt>
                <c:pt idx="4827">
                  <c:v>42069</c:v>
                </c:pt>
                <c:pt idx="4828">
                  <c:v>42072</c:v>
                </c:pt>
                <c:pt idx="4829">
                  <c:v>42073</c:v>
                </c:pt>
                <c:pt idx="4830">
                  <c:v>42074</c:v>
                </c:pt>
                <c:pt idx="4831">
                  <c:v>42075</c:v>
                </c:pt>
                <c:pt idx="4832">
                  <c:v>42076</c:v>
                </c:pt>
                <c:pt idx="4833">
                  <c:v>42079</c:v>
                </c:pt>
                <c:pt idx="4834">
                  <c:v>42080</c:v>
                </c:pt>
                <c:pt idx="4835">
                  <c:v>42081</c:v>
                </c:pt>
                <c:pt idx="4836">
                  <c:v>42082</c:v>
                </c:pt>
                <c:pt idx="4837">
                  <c:v>42083</c:v>
                </c:pt>
                <c:pt idx="4838">
                  <c:v>42086</c:v>
                </c:pt>
                <c:pt idx="4839">
                  <c:v>42087</c:v>
                </c:pt>
                <c:pt idx="4840">
                  <c:v>42088</c:v>
                </c:pt>
                <c:pt idx="4841">
                  <c:v>42089</c:v>
                </c:pt>
                <c:pt idx="4842">
                  <c:v>42090</c:v>
                </c:pt>
                <c:pt idx="4843">
                  <c:v>42093</c:v>
                </c:pt>
                <c:pt idx="4844">
                  <c:v>42094</c:v>
                </c:pt>
                <c:pt idx="4845">
                  <c:v>42095</c:v>
                </c:pt>
                <c:pt idx="4846">
                  <c:v>42096</c:v>
                </c:pt>
                <c:pt idx="4847">
                  <c:v>42100</c:v>
                </c:pt>
                <c:pt idx="4848">
                  <c:v>42101</c:v>
                </c:pt>
                <c:pt idx="4849">
                  <c:v>42102</c:v>
                </c:pt>
                <c:pt idx="4850">
                  <c:v>42103</c:v>
                </c:pt>
                <c:pt idx="4851">
                  <c:v>42104</c:v>
                </c:pt>
                <c:pt idx="4852">
                  <c:v>42107</c:v>
                </c:pt>
                <c:pt idx="4853">
                  <c:v>42108</c:v>
                </c:pt>
                <c:pt idx="4854">
                  <c:v>42109</c:v>
                </c:pt>
                <c:pt idx="4855">
                  <c:v>42110</c:v>
                </c:pt>
                <c:pt idx="4856">
                  <c:v>42111</c:v>
                </c:pt>
                <c:pt idx="4857">
                  <c:v>42114</c:v>
                </c:pt>
                <c:pt idx="4858">
                  <c:v>42115</c:v>
                </c:pt>
                <c:pt idx="4859">
                  <c:v>42116</c:v>
                </c:pt>
                <c:pt idx="4860">
                  <c:v>42117</c:v>
                </c:pt>
                <c:pt idx="4861">
                  <c:v>42118</c:v>
                </c:pt>
                <c:pt idx="4862">
                  <c:v>42121</c:v>
                </c:pt>
                <c:pt idx="4863">
                  <c:v>42122</c:v>
                </c:pt>
                <c:pt idx="4864">
                  <c:v>42123</c:v>
                </c:pt>
                <c:pt idx="4865">
                  <c:v>42124</c:v>
                </c:pt>
                <c:pt idx="4866">
                  <c:v>42125</c:v>
                </c:pt>
                <c:pt idx="4867">
                  <c:v>42128</c:v>
                </c:pt>
                <c:pt idx="4868">
                  <c:v>42129</c:v>
                </c:pt>
                <c:pt idx="4869">
                  <c:v>42130</c:v>
                </c:pt>
                <c:pt idx="4870">
                  <c:v>42131</c:v>
                </c:pt>
                <c:pt idx="4871">
                  <c:v>42132</c:v>
                </c:pt>
                <c:pt idx="4872">
                  <c:v>42135</c:v>
                </c:pt>
                <c:pt idx="4873">
                  <c:v>42136</c:v>
                </c:pt>
                <c:pt idx="4874">
                  <c:v>42137</c:v>
                </c:pt>
                <c:pt idx="4875">
                  <c:v>42138</c:v>
                </c:pt>
                <c:pt idx="4876">
                  <c:v>42139</c:v>
                </c:pt>
                <c:pt idx="4877">
                  <c:v>42142</c:v>
                </c:pt>
                <c:pt idx="4878">
                  <c:v>42143</c:v>
                </c:pt>
                <c:pt idx="4879">
                  <c:v>42144</c:v>
                </c:pt>
                <c:pt idx="4880">
                  <c:v>42145</c:v>
                </c:pt>
                <c:pt idx="4881">
                  <c:v>42146</c:v>
                </c:pt>
                <c:pt idx="4882">
                  <c:v>42150</c:v>
                </c:pt>
                <c:pt idx="4883">
                  <c:v>42151</c:v>
                </c:pt>
                <c:pt idx="4884">
                  <c:v>42152</c:v>
                </c:pt>
                <c:pt idx="4885">
                  <c:v>42153</c:v>
                </c:pt>
                <c:pt idx="4886">
                  <c:v>42156</c:v>
                </c:pt>
                <c:pt idx="4887">
                  <c:v>42157</c:v>
                </c:pt>
                <c:pt idx="4888">
                  <c:v>42158</c:v>
                </c:pt>
                <c:pt idx="4889">
                  <c:v>42159</c:v>
                </c:pt>
                <c:pt idx="4890">
                  <c:v>42160</c:v>
                </c:pt>
                <c:pt idx="4891">
                  <c:v>42163</c:v>
                </c:pt>
                <c:pt idx="4892">
                  <c:v>42164</c:v>
                </c:pt>
                <c:pt idx="4893">
                  <c:v>42165</c:v>
                </c:pt>
                <c:pt idx="4894">
                  <c:v>42166</c:v>
                </c:pt>
                <c:pt idx="4895">
                  <c:v>42167</c:v>
                </c:pt>
                <c:pt idx="4896">
                  <c:v>42170</c:v>
                </c:pt>
                <c:pt idx="4897">
                  <c:v>42171</c:v>
                </c:pt>
                <c:pt idx="4898">
                  <c:v>42172</c:v>
                </c:pt>
                <c:pt idx="4899">
                  <c:v>42173</c:v>
                </c:pt>
                <c:pt idx="4900">
                  <c:v>42174</c:v>
                </c:pt>
                <c:pt idx="4901">
                  <c:v>42177</c:v>
                </c:pt>
                <c:pt idx="4902">
                  <c:v>42178</c:v>
                </c:pt>
                <c:pt idx="4903">
                  <c:v>42179</c:v>
                </c:pt>
                <c:pt idx="4904">
                  <c:v>42180</c:v>
                </c:pt>
                <c:pt idx="4905">
                  <c:v>42181</c:v>
                </c:pt>
                <c:pt idx="4906">
                  <c:v>42184</c:v>
                </c:pt>
                <c:pt idx="4907">
                  <c:v>42185</c:v>
                </c:pt>
                <c:pt idx="4908">
                  <c:v>42186</c:v>
                </c:pt>
                <c:pt idx="4909">
                  <c:v>42187</c:v>
                </c:pt>
                <c:pt idx="4910">
                  <c:v>42191</c:v>
                </c:pt>
                <c:pt idx="4911">
                  <c:v>42192</c:v>
                </c:pt>
                <c:pt idx="4912">
                  <c:v>42193</c:v>
                </c:pt>
                <c:pt idx="4913">
                  <c:v>42194</c:v>
                </c:pt>
                <c:pt idx="4914">
                  <c:v>42195</c:v>
                </c:pt>
                <c:pt idx="4915">
                  <c:v>42198</c:v>
                </c:pt>
                <c:pt idx="4916">
                  <c:v>42199</c:v>
                </c:pt>
                <c:pt idx="4917">
                  <c:v>42200</c:v>
                </c:pt>
                <c:pt idx="4918">
                  <c:v>42201</c:v>
                </c:pt>
                <c:pt idx="4919">
                  <c:v>42202</c:v>
                </c:pt>
                <c:pt idx="4920">
                  <c:v>42205</c:v>
                </c:pt>
                <c:pt idx="4921">
                  <c:v>42206</c:v>
                </c:pt>
                <c:pt idx="4922">
                  <c:v>42207</c:v>
                </c:pt>
                <c:pt idx="4923">
                  <c:v>42208</c:v>
                </c:pt>
                <c:pt idx="4924">
                  <c:v>42209</c:v>
                </c:pt>
                <c:pt idx="4925">
                  <c:v>42212</c:v>
                </c:pt>
                <c:pt idx="4926">
                  <c:v>42213</c:v>
                </c:pt>
                <c:pt idx="4927">
                  <c:v>42214</c:v>
                </c:pt>
                <c:pt idx="4928">
                  <c:v>42215</c:v>
                </c:pt>
                <c:pt idx="4929">
                  <c:v>42216</c:v>
                </c:pt>
                <c:pt idx="4930">
                  <c:v>42219</c:v>
                </c:pt>
                <c:pt idx="4931">
                  <c:v>42220</c:v>
                </c:pt>
                <c:pt idx="4932">
                  <c:v>42221</c:v>
                </c:pt>
                <c:pt idx="4933">
                  <c:v>42222</c:v>
                </c:pt>
                <c:pt idx="4934">
                  <c:v>42223</c:v>
                </c:pt>
                <c:pt idx="4935">
                  <c:v>42226</c:v>
                </c:pt>
                <c:pt idx="4936">
                  <c:v>42227</c:v>
                </c:pt>
                <c:pt idx="4937">
                  <c:v>42228</c:v>
                </c:pt>
                <c:pt idx="4938">
                  <c:v>42229</c:v>
                </c:pt>
                <c:pt idx="4939">
                  <c:v>42230</c:v>
                </c:pt>
                <c:pt idx="4940">
                  <c:v>42233</c:v>
                </c:pt>
                <c:pt idx="4941">
                  <c:v>42234</c:v>
                </c:pt>
                <c:pt idx="4942">
                  <c:v>42235</c:v>
                </c:pt>
                <c:pt idx="4943">
                  <c:v>42236</c:v>
                </c:pt>
                <c:pt idx="4944">
                  <c:v>42237</c:v>
                </c:pt>
                <c:pt idx="4945">
                  <c:v>42240</c:v>
                </c:pt>
                <c:pt idx="4946">
                  <c:v>42241</c:v>
                </c:pt>
                <c:pt idx="4947">
                  <c:v>42242</c:v>
                </c:pt>
                <c:pt idx="4948">
                  <c:v>42243</c:v>
                </c:pt>
                <c:pt idx="4949">
                  <c:v>42244</c:v>
                </c:pt>
                <c:pt idx="4950">
                  <c:v>42247</c:v>
                </c:pt>
                <c:pt idx="4951">
                  <c:v>42248</c:v>
                </c:pt>
                <c:pt idx="4952">
                  <c:v>42249</c:v>
                </c:pt>
                <c:pt idx="4953">
                  <c:v>42250</c:v>
                </c:pt>
                <c:pt idx="4954">
                  <c:v>42251</c:v>
                </c:pt>
                <c:pt idx="4955">
                  <c:v>42255</c:v>
                </c:pt>
                <c:pt idx="4956">
                  <c:v>42256</c:v>
                </c:pt>
                <c:pt idx="4957">
                  <c:v>42257</c:v>
                </c:pt>
                <c:pt idx="4958">
                  <c:v>42258</c:v>
                </c:pt>
                <c:pt idx="4959">
                  <c:v>42261</c:v>
                </c:pt>
                <c:pt idx="4960">
                  <c:v>42262</c:v>
                </c:pt>
                <c:pt idx="4961">
                  <c:v>42263</c:v>
                </c:pt>
                <c:pt idx="4962">
                  <c:v>42264</c:v>
                </c:pt>
                <c:pt idx="4963">
                  <c:v>42265</c:v>
                </c:pt>
                <c:pt idx="4964">
                  <c:v>42268</c:v>
                </c:pt>
                <c:pt idx="4965">
                  <c:v>42269</c:v>
                </c:pt>
                <c:pt idx="4966">
                  <c:v>42270</c:v>
                </c:pt>
                <c:pt idx="4967">
                  <c:v>42271</c:v>
                </c:pt>
                <c:pt idx="4968">
                  <c:v>42272</c:v>
                </c:pt>
                <c:pt idx="4969">
                  <c:v>42275</c:v>
                </c:pt>
                <c:pt idx="4970">
                  <c:v>42276</c:v>
                </c:pt>
                <c:pt idx="4971">
                  <c:v>42277</c:v>
                </c:pt>
                <c:pt idx="4972">
                  <c:v>42278</c:v>
                </c:pt>
                <c:pt idx="4973">
                  <c:v>42279</c:v>
                </c:pt>
                <c:pt idx="4974">
                  <c:v>42282</c:v>
                </c:pt>
                <c:pt idx="4975">
                  <c:v>42283</c:v>
                </c:pt>
                <c:pt idx="4976">
                  <c:v>42284</c:v>
                </c:pt>
                <c:pt idx="4977">
                  <c:v>42285</c:v>
                </c:pt>
                <c:pt idx="4978">
                  <c:v>42286</c:v>
                </c:pt>
                <c:pt idx="4979">
                  <c:v>42289</c:v>
                </c:pt>
                <c:pt idx="4980">
                  <c:v>42290</c:v>
                </c:pt>
                <c:pt idx="4981">
                  <c:v>42291</c:v>
                </c:pt>
                <c:pt idx="4982">
                  <c:v>42292</c:v>
                </c:pt>
                <c:pt idx="4983">
                  <c:v>42293</c:v>
                </c:pt>
                <c:pt idx="4984">
                  <c:v>42296</c:v>
                </c:pt>
                <c:pt idx="4985">
                  <c:v>42297</c:v>
                </c:pt>
                <c:pt idx="4986">
                  <c:v>42298</c:v>
                </c:pt>
                <c:pt idx="4987">
                  <c:v>42299</c:v>
                </c:pt>
                <c:pt idx="4988">
                  <c:v>42300</c:v>
                </c:pt>
                <c:pt idx="4989">
                  <c:v>42303</c:v>
                </c:pt>
                <c:pt idx="4990">
                  <c:v>42304</c:v>
                </c:pt>
                <c:pt idx="4991">
                  <c:v>42305</c:v>
                </c:pt>
                <c:pt idx="4992">
                  <c:v>42306</c:v>
                </c:pt>
                <c:pt idx="4993">
                  <c:v>42307</c:v>
                </c:pt>
                <c:pt idx="4994">
                  <c:v>42310</c:v>
                </c:pt>
                <c:pt idx="4995">
                  <c:v>42311</c:v>
                </c:pt>
                <c:pt idx="4996">
                  <c:v>42312</c:v>
                </c:pt>
                <c:pt idx="4997">
                  <c:v>42313</c:v>
                </c:pt>
                <c:pt idx="4998">
                  <c:v>42314</c:v>
                </c:pt>
                <c:pt idx="4999">
                  <c:v>42317</c:v>
                </c:pt>
                <c:pt idx="5000">
                  <c:v>42318</c:v>
                </c:pt>
                <c:pt idx="5001">
                  <c:v>42319</c:v>
                </c:pt>
                <c:pt idx="5002">
                  <c:v>42320</c:v>
                </c:pt>
                <c:pt idx="5003">
                  <c:v>42321</c:v>
                </c:pt>
                <c:pt idx="5004">
                  <c:v>42324</c:v>
                </c:pt>
                <c:pt idx="5005">
                  <c:v>42325</c:v>
                </c:pt>
                <c:pt idx="5006">
                  <c:v>42326</c:v>
                </c:pt>
                <c:pt idx="5007">
                  <c:v>42327</c:v>
                </c:pt>
                <c:pt idx="5008">
                  <c:v>42328</c:v>
                </c:pt>
                <c:pt idx="5009">
                  <c:v>42331</c:v>
                </c:pt>
                <c:pt idx="5010">
                  <c:v>42332</c:v>
                </c:pt>
                <c:pt idx="5011">
                  <c:v>42333</c:v>
                </c:pt>
                <c:pt idx="5012">
                  <c:v>42335</c:v>
                </c:pt>
                <c:pt idx="5013">
                  <c:v>42338</c:v>
                </c:pt>
                <c:pt idx="5014">
                  <c:v>42339</c:v>
                </c:pt>
                <c:pt idx="5015">
                  <c:v>42340</c:v>
                </c:pt>
                <c:pt idx="5016">
                  <c:v>42341</c:v>
                </c:pt>
                <c:pt idx="5017">
                  <c:v>42342</c:v>
                </c:pt>
                <c:pt idx="5018">
                  <c:v>42345</c:v>
                </c:pt>
                <c:pt idx="5019">
                  <c:v>42346</c:v>
                </c:pt>
                <c:pt idx="5020">
                  <c:v>42347</c:v>
                </c:pt>
                <c:pt idx="5021">
                  <c:v>42348</c:v>
                </c:pt>
                <c:pt idx="5022">
                  <c:v>42349</c:v>
                </c:pt>
                <c:pt idx="5023">
                  <c:v>42352</c:v>
                </c:pt>
                <c:pt idx="5024">
                  <c:v>42353</c:v>
                </c:pt>
                <c:pt idx="5025">
                  <c:v>42354</c:v>
                </c:pt>
                <c:pt idx="5026">
                  <c:v>42355</c:v>
                </c:pt>
                <c:pt idx="5027">
                  <c:v>42356</c:v>
                </c:pt>
                <c:pt idx="5028">
                  <c:v>42359</c:v>
                </c:pt>
                <c:pt idx="5029">
                  <c:v>42360</c:v>
                </c:pt>
                <c:pt idx="5030">
                  <c:v>42361</c:v>
                </c:pt>
                <c:pt idx="5031">
                  <c:v>42362</c:v>
                </c:pt>
                <c:pt idx="5032">
                  <c:v>42366</c:v>
                </c:pt>
                <c:pt idx="5033">
                  <c:v>42367</c:v>
                </c:pt>
                <c:pt idx="5034">
                  <c:v>42368</c:v>
                </c:pt>
                <c:pt idx="5035">
                  <c:v>42369</c:v>
                </c:pt>
                <c:pt idx="5036">
                  <c:v>42373</c:v>
                </c:pt>
                <c:pt idx="5037">
                  <c:v>42374</c:v>
                </c:pt>
                <c:pt idx="5038">
                  <c:v>42375</c:v>
                </c:pt>
                <c:pt idx="5039">
                  <c:v>42376</c:v>
                </c:pt>
                <c:pt idx="5040">
                  <c:v>42377</c:v>
                </c:pt>
                <c:pt idx="5041">
                  <c:v>42380</c:v>
                </c:pt>
                <c:pt idx="5042">
                  <c:v>42381</c:v>
                </c:pt>
                <c:pt idx="5043">
                  <c:v>42382</c:v>
                </c:pt>
                <c:pt idx="5044">
                  <c:v>42383</c:v>
                </c:pt>
                <c:pt idx="5045">
                  <c:v>42384</c:v>
                </c:pt>
                <c:pt idx="5046">
                  <c:v>42388</c:v>
                </c:pt>
                <c:pt idx="5047">
                  <c:v>42389</c:v>
                </c:pt>
                <c:pt idx="5048">
                  <c:v>42390</c:v>
                </c:pt>
                <c:pt idx="5049">
                  <c:v>42391</c:v>
                </c:pt>
                <c:pt idx="5050">
                  <c:v>42394</c:v>
                </c:pt>
                <c:pt idx="5051">
                  <c:v>42395</c:v>
                </c:pt>
                <c:pt idx="5052">
                  <c:v>42396</c:v>
                </c:pt>
                <c:pt idx="5053">
                  <c:v>42397</c:v>
                </c:pt>
                <c:pt idx="5054">
                  <c:v>42398</c:v>
                </c:pt>
                <c:pt idx="5055">
                  <c:v>42401</c:v>
                </c:pt>
                <c:pt idx="5056">
                  <c:v>42402</c:v>
                </c:pt>
                <c:pt idx="5057">
                  <c:v>42403</c:v>
                </c:pt>
                <c:pt idx="5058">
                  <c:v>42404</c:v>
                </c:pt>
                <c:pt idx="5059">
                  <c:v>42405</c:v>
                </c:pt>
                <c:pt idx="5060">
                  <c:v>42408</c:v>
                </c:pt>
                <c:pt idx="5061">
                  <c:v>42409</c:v>
                </c:pt>
                <c:pt idx="5062">
                  <c:v>42410</c:v>
                </c:pt>
                <c:pt idx="5063">
                  <c:v>42411</c:v>
                </c:pt>
                <c:pt idx="5064">
                  <c:v>42412</c:v>
                </c:pt>
                <c:pt idx="5065">
                  <c:v>42416</c:v>
                </c:pt>
                <c:pt idx="5066">
                  <c:v>42417</c:v>
                </c:pt>
                <c:pt idx="5067">
                  <c:v>42418</c:v>
                </c:pt>
                <c:pt idx="5068">
                  <c:v>42419</c:v>
                </c:pt>
                <c:pt idx="5069">
                  <c:v>42422</c:v>
                </c:pt>
                <c:pt idx="5070">
                  <c:v>42423</c:v>
                </c:pt>
                <c:pt idx="5071">
                  <c:v>42424</c:v>
                </c:pt>
                <c:pt idx="5072">
                  <c:v>42425</c:v>
                </c:pt>
                <c:pt idx="5073">
                  <c:v>42426</c:v>
                </c:pt>
                <c:pt idx="5074">
                  <c:v>42429</c:v>
                </c:pt>
                <c:pt idx="5075">
                  <c:v>42430</c:v>
                </c:pt>
                <c:pt idx="5076">
                  <c:v>42431</c:v>
                </c:pt>
                <c:pt idx="5077">
                  <c:v>42432</c:v>
                </c:pt>
                <c:pt idx="5078">
                  <c:v>42433</c:v>
                </c:pt>
                <c:pt idx="5079">
                  <c:v>42436</c:v>
                </c:pt>
                <c:pt idx="5080">
                  <c:v>42437</c:v>
                </c:pt>
                <c:pt idx="5081">
                  <c:v>42438</c:v>
                </c:pt>
                <c:pt idx="5082">
                  <c:v>42439</c:v>
                </c:pt>
                <c:pt idx="5083">
                  <c:v>42440</c:v>
                </c:pt>
                <c:pt idx="5084">
                  <c:v>42443</c:v>
                </c:pt>
                <c:pt idx="5085">
                  <c:v>42444</c:v>
                </c:pt>
                <c:pt idx="5086">
                  <c:v>42445</c:v>
                </c:pt>
                <c:pt idx="5087">
                  <c:v>42446</c:v>
                </c:pt>
                <c:pt idx="5088">
                  <c:v>42447</c:v>
                </c:pt>
                <c:pt idx="5089">
                  <c:v>42450</c:v>
                </c:pt>
                <c:pt idx="5090">
                  <c:v>42451</c:v>
                </c:pt>
                <c:pt idx="5091">
                  <c:v>42452</c:v>
                </c:pt>
                <c:pt idx="5092">
                  <c:v>42453</c:v>
                </c:pt>
                <c:pt idx="5093">
                  <c:v>42457</c:v>
                </c:pt>
                <c:pt idx="5094">
                  <c:v>42458</c:v>
                </c:pt>
                <c:pt idx="5095">
                  <c:v>42459</c:v>
                </c:pt>
                <c:pt idx="5096">
                  <c:v>42460</c:v>
                </c:pt>
                <c:pt idx="5097">
                  <c:v>42461</c:v>
                </c:pt>
                <c:pt idx="5098">
                  <c:v>42464</c:v>
                </c:pt>
                <c:pt idx="5099">
                  <c:v>42465</c:v>
                </c:pt>
                <c:pt idx="5100">
                  <c:v>42466</c:v>
                </c:pt>
                <c:pt idx="5101">
                  <c:v>42467</c:v>
                </c:pt>
                <c:pt idx="5102">
                  <c:v>42468</c:v>
                </c:pt>
                <c:pt idx="5103">
                  <c:v>42471</c:v>
                </c:pt>
                <c:pt idx="5104">
                  <c:v>42472</c:v>
                </c:pt>
                <c:pt idx="5105">
                  <c:v>42473</c:v>
                </c:pt>
                <c:pt idx="5106">
                  <c:v>42474</c:v>
                </c:pt>
                <c:pt idx="5107">
                  <c:v>42475</c:v>
                </c:pt>
                <c:pt idx="5108">
                  <c:v>42478</c:v>
                </c:pt>
                <c:pt idx="5109">
                  <c:v>42479</c:v>
                </c:pt>
                <c:pt idx="5110">
                  <c:v>42480</c:v>
                </c:pt>
                <c:pt idx="5111">
                  <c:v>42481</c:v>
                </c:pt>
                <c:pt idx="5112">
                  <c:v>42482</c:v>
                </c:pt>
                <c:pt idx="5113">
                  <c:v>42485</c:v>
                </c:pt>
                <c:pt idx="5114">
                  <c:v>42486</c:v>
                </c:pt>
                <c:pt idx="5115">
                  <c:v>42487</c:v>
                </c:pt>
                <c:pt idx="5116">
                  <c:v>42488</c:v>
                </c:pt>
                <c:pt idx="5117">
                  <c:v>42489</c:v>
                </c:pt>
                <c:pt idx="5118">
                  <c:v>42492</c:v>
                </c:pt>
                <c:pt idx="5119">
                  <c:v>42493</c:v>
                </c:pt>
                <c:pt idx="5120">
                  <c:v>42494</c:v>
                </c:pt>
                <c:pt idx="5121">
                  <c:v>42495</c:v>
                </c:pt>
                <c:pt idx="5122">
                  <c:v>42496</c:v>
                </c:pt>
                <c:pt idx="5123">
                  <c:v>42499</c:v>
                </c:pt>
                <c:pt idx="5124">
                  <c:v>42500</c:v>
                </c:pt>
                <c:pt idx="5125">
                  <c:v>42501</c:v>
                </c:pt>
                <c:pt idx="5126">
                  <c:v>42502</c:v>
                </c:pt>
                <c:pt idx="5127">
                  <c:v>42503</c:v>
                </c:pt>
                <c:pt idx="5128">
                  <c:v>42506</c:v>
                </c:pt>
                <c:pt idx="5129">
                  <c:v>42507</c:v>
                </c:pt>
                <c:pt idx="5130">
                  <c:v>42508</c:v>
                </c:pt>
                <c:pt idx="5131">
                  <c:v>42509</c:v>
                </c:pt>
                <c:pt idx="5132">
                  <c:v>42510</c:v>
                </c:pt>
                <c:pt idx="5133">
                  <c:v>42513</c:v>
                </c:pt>
                <c:pt idx="5134">
                  <c:v>42514</c:v>
                </c:pt>
                <c:pt idx="5135">
                  <c:v>42515</c:v>
                </c:pt>
                <c:pt idx="5136">
                  <c:v>42516</c:v>
                </c:pt>
                <c:pt idx="5137">
                  <c:v>42517</c:v>
                </c:pt>
                <c:pt idx="5138">
                  <c:v>42521</c:v>
                </c:pt>
                <c:pt idx="5139">
                  <c:v>42522</c:v>
                </c:pt>
                <c:pt idx="5140">
                  <c:v>42523</c:v>
                </c:pt>
                <c:pt idx="5141">
                  <c:v>42524</c:v>
                </c:pt>
                <c:pt idx="5142">
                  <c:v>42527</c:v>
                </c:pt>
                <c:pt idx="5143">
                  <c:v>42528</c:v>
                </c:pt>
                <c:pt idx="5144">
                  <c:v>42529</c:v>
                </c:pt>
                <c:pt idx="5145">
                  <c:v>42530</c:v>
                </c:pt>
                <c:pt idx="5146">
                  <c:v>42531</c:v>
                </c:pt>
                <c:pt idx="5147">
                  <c:v>42534</c:v>
                </c:pt>
                <c:pt idx="5148">
                  <c:v>42535</c:v>
                </c:pt>
                <c:pt idx="5149">
                  <c:v>42536</c:v>
                </c:pt>
                <c:pt idx="5150">
                  <c:v>42537</c:v>
                </c:pt>
                <c:pt idx="5151">
                  <c:v>42538</c:v>
                </c:pt>
                <c:pt idx="5152">
                  <c:v>42541</c:v>
                </c:pt>
                <c:pt idx="5153">
                  <c:v>42542</c:v>
                </c:pt>
                <c:pt idx="5154">
                  <c:v>42543</c:v>
                </c:pt>
                <c:pt idx="5155">
                  <c:v>42544</c:v>
                </c:pt>
                <c:pt idx="5156">
                  <c:v>42545</c:v>
                </c:pt>
                <c:pt idx="5157">
                  <c:v>42548</c:v>
                </c:pt>
                <c:pt idx="5158">
                  <c:v>42549</c:v>
                </c:pt>
                <c:pt idx="5159">
                  <c:v>42550</c:v>
                </c:pt>
                <c:pt idx="5160">
                  <c:v>42551</c:v>
                </c:pt>
                <c:pt idx="5161">
                  <c:v>42552</c:v>
                </c:pt>
                <c:pt idx="5162">
                  <c:v>42556</c:v>
                </c:pt>
                <c:pt idx="5163">
                  <c:v>42557</c:v>
                </c:pt>
                <c:pt idx="5164">
                  <c:v>42558</c:v>
                </c:pt>
                <c:pt idx="5165">
                  <c:v>42559</c:v>
                </c:pt>
                <c:pt idx="5166">
                  <c:v>42562</c:v>
                </c:pt>
                <c:pt idx="5167">
                  <c:v>42563</c:v>
                </c:pt>
                <c:pt idx="5168">
                  <c:v>42564</c:v>
                </c:pt>
                <c:pt idx="5169">
                  <c:v>42565</c:v>
                </c:pt>
                <c:pt idx="5170">
                  <c:v>42566</c:v>
                </c:pt>
                <c:pt idx="5171">
                  <c:v>42569</c:v>
                </c:pt>
                <c:pt idx="5172">
                  <c:v>42570</c:v>
                </c:pt>
                <c:pt idx="5173">
                  <c:v>42571</c:v>
                </c:pt>
                <c:pt idx="5174">
                  <c:v>42572</c:v>
                </c:pt>
                <c:pt idx="5175">
                  <c:v>42573</c:v>
                </c:pt>
                <c:pt idx="5176">
                  <c:v>42576</c:v>
                </c:pt>
                <c:pt idx="5177">
                  <c:v>42577</c:v>
                </c:pt>
                <c:pt idx="5178">
                  <c:v>42578</c:v>
                </c:pt>
                <c:pt idx="5179">
                  <c:v>42579</c:v>
                </c:pt>
                <c:pt idx="5180">
                  <c:v>42580</c:v>
                </c:pt>
                <c:pt idx="5181">
                  <c:v>42583</c:v>
                </c:pt>
                <c:pt idx="5182">
                  <c:v>42584</c:v>
                </c:pt>
                <c:pt idx="5183">
                  <c:v>42585</c:v>
                </c:pt>
                <c:pt idx="5184">
                  <c:v>42586</c:v>
                </c:pt>
                <c:pt idx="5185">
                  <c:v>42587</c:v>
                </c:pt>
                <c:pt idx="5186">
                  <c:v>42590</c:v>
                </c:pt>
                <c:pt idx="5187">
                  <c:v>42591</c:v>
                </c:pt>
                <c:pt idx="5188">
                  <c:v>42592</c:v>
                </c:pt>
                <c:pt idx="5189">
                  <c:v>42593</c:v>
                </c:pt>
                <c:pt idx="5190">
                  <c:v>42594</c:v>
                </c:pt>
                <c:pt idx="5191">
                  <c:v>42597</c:v>
                </c:pt>
                <c:pt idx="5192">
                  <c:v>42598</c:v>
                </c:pt>
                <c:pt idx="5193">
                  <c:v>42599</c:v>
                </c:pt>
                <c:pt idx="5194">
                  <c:v>42600</c:v>
                </c:pt>
                <c:pt idx="5195">
                  <c:v>42601</c:v>
                </c:pt>
                <c:pt idx="5196">
                  <c:v>42604</c:v>
                </c:pt>
                <c:pt idx="5197">
                  <c:v>42605</c:v>
                </c:pt>
                <c:pt idx="5198">
                  <c:v>42606</c:v>
                </c:pt>
                <c:pt idx="5199">
                  <c:v>42607</c:v>
                </c:pt>
                <c:pt idx="5200">
                  <c:v>42608</c:v>
                </c:pt>
                <c:pt idx="5201">
                  <c:v>42611</c:v>
                </c:pt>
                <c:pt idx="5202">
                  <c:v>42612</c:v>
                </c:pt>
                <c:pt idx="5203">
                  <c:v>42613</c:v>
                </c:pt>
                <c:pt idx="5204">
                  <c:v>42614</c:v>
                </c:pt>
                <c:pt idx="5205">
                  <c:v>42615</c:v>
                </c:pt>
                <c:pt idx="5206">
                  <c:v>42619</c:v>
                </c:pt>
                <c:pt idx="5207">
                  <c:v>42620</c:v>
                </c:pt>
                <c:pt idx="5208">
                  <c:v>42621</c:v>
                </c:pt>
                <c:pt idx="5209">
                  <c:v>42622</c:v>
                </c:pt>
                <c:pt idx="5210">
                  <c:v>42625</c:v>
                </c:pt>
                <c:pt idx="5211">
                  <c:v>42626</c:v>
                </c:pt>
                <c:pt idx="5212">
                  <c:v>42627</c:v>
                </c:pt>
                <c:pt idx="5213">
                  <c:v>42628</c:v>
                </c:pt>
                <c:pt idx="5214">
                  <c:v>42629</c:v>
                </c:pt>
                <c:pt idx="5215">
                  <c:v>42632</c:v>
                </c:pt>
                <c:pt idx="5216">
                  <c:v>42633</c:v>
                </c:pt>
                <c:pt idx="5217">
                  <c:v>42634</c:v>
                </c:pt>
                <c:pt idx="5218">
                  <c:v>42635</c:v>
                </c:pt>
                <c:pt idx="5219">
                  <c:v>42636</c:v>
                </c:pt>
                <c:pt idx="5220">
                  <c:v>42639</c:v>
                </c:pt>
                <c:pt idx="5221">
                  <c:v>42640</c:v>
                </c:pt>
                <c:pt idx="5222">
                  <c:v>42641</c:v>
                </c:pt>
                <c:pt idx="5223">
                  <c:v>42642</c:v>
                </c:pt>
                <c:pt idx="5224">
                  <c:v>42643</c:v>
                </c:pt>
                <c:pt idx="5225">
                  <c:v>42646</c:v>
                </c:pt>
                <c:pt idx="5226">
                  <c:v>42647</c:v>
                </c:pt>
                <c:pt idx="5227">
                  <c:v>42648</c:v>
                </c:pt>
                <c:pt idx="5228">
                  <c:v>42649</c:v>
                </c:pt>
                <c:pt idx="5229">
                  <c:v>42650</c:v>
                </c:pt>
                <c:pt idx="5230">
                  <c:v>42653</c:v>
                </c:pt>
                <c:pt idx="5231">
                  <c:v>42654</c:v>
                </c:pt>
                <c:pt idx="5232">
                  <c:v>42655</c:v>
                </c:pt>
                <c:pt idx="5233">
                  <c:v>42656</c:v>
                </c:pt>
                <c:pt idx="5234">
                  <c:v>42657</c:v>
                </c:pt>
                <c:pt idx="5235">
                  <c:v>42660</c:v>
                </c:pt>
                <c:pt idx="5236">
                  <c:v>42661</c:v>
                </c:pt>
                <c:pt idx="5237">
                  <c:v>42662</c:v>
                </c:pt>
                <c:pt idx="5238">
                  <c:v>42663</c:v>
                </c:pt>
                <c:pt idx="5239">
                  <c:v>42664</c:v>
                </c:pt>
                <c:pt idx="5240">
                  <c:v>42667</c:v>
                </c:pt>
                <c:pt idx="5241">
                  <c:v>42668</c:v>
                </c:pt>
                <c:pt idx="5242">
                  <c:v>42669</c:v>
                </c:pt>
                <c:pt idx="5243">
                  <c:v>42670</c:v>
                </c:pt>
                <c:pt idx="5244">
                  <c:v>42671</c:v>
                </c:pt>
                <c:pt idx="5245">
                  <c:v>42674</c:v>
                </c:pt>
                <c:pt idx="5246">
                  <c:v>42675</c:v>
                </c:pt>
                <c:pt idx="5247">
                  <c:v>42676</c:v>
                </c:pt>
                <c:pt idx="5248">
                  <c:v>42677</c:v>
                </c:pt>
                <c:pt idx="5249">
                  <c:v>42678</c:v>
                </c:pt>
                <c:pt idx="5250">
                  <c:v>42681</c:v>
                </c:pt>
                <c:pt idx="5251">
                  <c:v>42682</c:v>
                </c:pt>
                <c:pt idx="5252">
                  <c:v>42683</c:v>
                </c:pt>
                <c:pt idx="5253">
                  <c:v>42684</c:v>
                </c:pt>
                <c:pt idx="5254">
                  <c:v>42685</c:v>
                </c:pt>
                <c:pt idx="5255">
                  <c:v>42688</c:v>
                </c:pt>
                <c:pt idx="5256">
                  <c:v>42689</c:v>
                </c:pt>
                <c:pt idx="5257">
                  <c:v>42690</c:v>
                </c:pt>
                <c:pt idx="5258">
                  <c:v>42691</c:v>
                </c:pt>
                <c:pt idx="5259">
                  <c:v>42692</c:v>
                </c:pt>
                <c:pt idx="5260">
                  <c:v>42695</c:v>
                </c:pt>
                <c:pt idx="5261">
                  <c:v>42696</c:v>
                </c:pt>
                <c:pt idx="5262">
                  <c:v>42697</c:v>
                </c:pt>
                <c:pt idx="5263">
                  <c:v>42699</c:v>
                </c:pt>
                <c:pt idx="5264">
                  <c:v>42702</c:v>
                </c:pt>
                <c:pt idx="5265">
                  <c:v>42703</c:v>
                </c:pt>
                <c:pt idx="5266">
                  <c:v>42704</c:v>
                </c:pt>
                <c:pt idx="5267">
                  <c:v>42705</c:v>
                </c:pt>
                <c:pt idx="5268">
                  <c:v>42706</c:v>
                </c:pt>
                <c:pt idx="5269">
                  <c:v>42709</c:v>
                </c:pt>
                <c:pt idx="5270">
                  <c:v>42710</c:v>
                </c:pt>
                <c:pt idx="5271">
                  <c:v>42711</c:v>
                </c:pt>
                <c:pt idx="5272">
                  <c:v>42712</c:v>
                </c:pt>
                <c:pt idx="5273">
                  <c:v>42713</c:v>
                </c:pt>
                <c:pt idx="5274">
                  <c:v>42716</c:v>
                </c:pt>
                <c:pt idx="5275">
                  <c:v>42717</c:v>
                </c:pt>
                <c:pt idx="5276">
                  <c:v>42718</c:v>
                </c:pt>
                <c:pt idx="5277">
                  <c:v>42719</c:v>
                </c:pt>
                <c:pt idx="5278">
                  <c:v>42720</c:v>
                </c:pt>
                <c:pt idx="5279">
                  <c:v>42723</c:v>
                </c:pt>
                <c:pt idx="5280">
                  <c:v>42724</c:v>
                </c:pt>
                <c:pt idx="5281">
                  <c:v>42725</c:v>
                </c:pt>
                <c:pt idx="5282">
                  <c:v>42726</c:v>
                </c:pt>
                <c:pt idx="5283">
                  <c:v>42727</c:v>
                </c:pt>
                <c:pt idx="5284">
                  <c:v>42731</c:v>
                </c:pt>
                <c:pt idx="5285">
                  <c:v>42732</c:v>
                </c:pt>
                <c:pt idx="5286">
                  <c:v>42733</c:v>
                </c:pt>
                <c:pt idx="5287">
                  <c:v>42734</c:v>
                </c:pt>
                <c:pt idx="5288">
                  <c:v>42738</c:v>
                </c:pt>
                <c:pt idx="5289">
                  <c:v>42739</c:v>
                </c:pt>
                <c:pt idx="5290">
                  <c:v>42740</c:v>
                </c:pt>
                <c:pt idx="5291">
                  <c:v>42741</c:v>
                </c:pt>
                <c:pt idx="5292">
                  <c:v>42744</c:v>
                </c:pt>
                <c:pt idx="5293">
                  <c:v>42745</c:v>
                </c:pt>
                <c:pt idx="5294">
                  <c:v>42746</c:v>
                </c:pt>
                <c:pt idx="5295">
                  <c:v>42747</c:v>
                </c:pt>
                <c:pt idx="5296">
                  <c:v>42748</c:v>
                </c:pt>
                <c:pt idx="5297">
                  <c:v>42752</c:v>
                </c:pt>
                <c:pt idx="5298">
                  <c:v>42753</c:v>
                </c:pt>
                <c:pt idx="5299">
                  <c:v>42754</c:v>
                </c:pt>
                <c:pt idx="5300">
                  <c:v>42755</c:v>
                </c:pt>
                <c:pt idx="5301">
                  <c:v>42758</c:v>
                </c:pt>
                <c:pt idx="5302">
                  <c:v>42759</c:v>
                </c:pt>
                <c:pt idx="5303">
                  <c:v>42760</c:v>
                </c:pt>
                <c:pt idx="5304">
                  <c:v>42761</c:v>
                </c:pt>
                <c:pt idx="5305">
                  <c:v>42762</c:v>
                </c:pt>
                <c:pt idx="5306">
                  <c:v>42765</c:v>
                </c:pt>
                <c:pt idx="5307">
                  <c:v>42766</c:v>
                </c:pt>
                <c:pt idx="5308">
                  <c:v>42767</c:v>
                </c:pt>
                <c:pt idx="5309">
                  <c:v>42768</c:v>
                </c:pt>
                <c:pt idx="5310">
                  <c:v>42769</c:v>
                </c:pt>
                <c:pt idx="5311">
                  <c:v>42772</c:v>
                </c:pt>
                <c:pt idx="5312">
                  <c:v>42773</c:v>
                </c:pt>
                <c:pt idx="5313">
                  <c:v>42774</c:v>
                </c:pt>
                <c:pt idx="5314">
                  <c:v>42775</c:v>
                </c:pt>
                <c:pt idx="5315">
                  <c:v>42776</c:v>
                </c:pt>
                <c:pt idx="5316">
                  <c:v>42779</c:v>
                </c:pt>
                <c:pt idx="5317">
                  <c:v>42780</c:v>
                </c:pt>
                <c:pt idx="5318">
                  <c:v>42781</c:v>
                </c:pt>
                <c:pt idx="5319">
                  <c:v>42782</c:v>
                </c:pt>
                <c:pt idx="5320">
                  <c:v>42783</c:v>
                </c:pt>
                <c:pt idx="5321">
                  <c:v>42787</c:v>
                </c:pt>
                <c:pt idx="5322">
                  <c:v>42788</c:v>
                </c:pt>
                <c:pt idx="5323">
                  <c:v>42789</c:v>
                </c:pt>
                <c:pt idx="5324">
                  <c:v>42790</c:v>
                </c:pt>
                <c:pt idx="5325">
                  <c:v>42793</c:v>
                </c:pt>
                <c:pt idx="5326">
                  <c:v>42794</c:v>
                </c:pt>
                <c:pt idx="5327">
                  <c:v>42795</c:v>
                </c:pt>
                <c:pt idx="5328">
                  <c:v>42796</c:v>
                </c:pt>
                <c:pt idx="5329">
                  <c:v>42797</c:v>
                </c:pt>
                <c:pt idx="5330">
                  <c:v>42800</c:v>
                </c:pt>
                <c:pt idx="5331">
                  <c:v>42801</c:v>
                </c:pt>
                <c:pt idx="5332">
                  <c:v>42802</c:v>
                </c:pt>
                <c:pt idx="5333">
                  <c:v>42803</c:v>
                </c:pt>
                <c:pt idx="5334">
                  <c:v>42804</c:v>
                </c:pt>
                <c:pt idx="5335">
                  <c:v>42807</c:v>
                </c:pt>
                <c:pt idx="5336">
                  <c:v>42808</c:v>
                </c:pt>
                <c:pt idx="5337">
                  <c:v>42809</c:v>
                </c:pt>
                <c:pt idx="5338">
                  <c:v>42810</c:v>
                </c:pt>
                <c:pt idx="5339">
                  <c:v>42811</c:v>
                </c:pt>
                <c:pt idx="5340">
                  <c:v>42814</c:v>
                </c:pt>
                <c:pt idx="5341">
                  <c:v>42815</c:v>
                </c:pt>
                <c:pt idx="5342">
                  <c:v>42816</c:v>
                </c:pt>
                <c:pt idx="5343">
                  <c:v>42817</c:v>
                </c:pt>
                <c:pt idx="5344">
                  <c:v>42818</c:v>
                </c:pt>
                <c:pt idx="5345">
                  <c:v>42821</c:v>
                </c:pt>
                <c:pt idx="5346">
                  <c:v>42822</c:v>
                </c:pt>
                <c:pt idx="5347">
                  <c:v>42823</c:v>
                </c:pt>
                <c:pt idx="5348">
                  <c:v>42824</c:v>
                </c:pt>
                <c:pt idx="5349">
                  <c:v>42825</c:v>
                </c:pt>
                <c:pt idx="5350">
                  <c:v>42828</c:v>
                </c:pt>
                <c:pt idx="5351">
                  <c:v>42829</c:v>
                </c:pt>
                <c:pt idx="5352">
                  <c:v>42830</c:v>
                </c:pt>
                <c:pt idx="5353">
                  <c:v>42831</c:v>
                </c:pt>
                <c:pt idx="5354">
                  <c:v>42832</c:v>
                </c:pt>
                <c:pt idx="5355">
                  <c:v>42835</c:v>
                </c:pt>
                <c:pt idx="5356">
                  <c:v>42836</c:v>
                </c:pt>
                <c:pt idx="5357">
                  <c:v>42837</c:v>
                </c:pt>
                <c:pt idx="5358">
                  <c:v>42838</c:v>
                </c:pt>
                <c:pt idx="5359">
                  <c:v>42842</c:v>
                </c:pt>
                <c:pt idx="5360">
                  <c:v>42843</c:v>
                </c:pt>
                <c:pt idx="5361">
                  <c:v>42844</c:v>
                </c:pt>
                <c:pt idx="5362">
                  <c:v>42845</c:v>
                </c:pt>
                <c:pt idx="5363">
                  <c:v>42846</c:v>
                </c:pt>
                <c:pt idx="5364">
                  <c:v>42849</c:v>
                </c:pt>
                <c:pt idx="5365">
                  <c:v>42850</c:v>
                </c:pt>
                <c:pt idx="5366">
                  <c:v>42851</c:v>
                </c:pt>
                <c:pt idx="5367">
                  <c:v>42852</c:v>
                </c:pt>
                <c:pt idx="5368">
                  <c:v>42853</c:v>
                </c:pt>
                <c:pt idx="5369">
                  <c:v>42856</c:v>
                </c:pt>
                <c:pt idx="5370">
                  <c:v>42857</c:v>
                </c:pt>
                <c:pt idx="5371">
                  <c:v>42858</c:v>
                </c:pt>
                <c:pt idx="5372">
                  <c:v>42859</c:v>
                </c:pt>
                <c:pt idx="5373">
                  <c:v>42860</c:v>
                </c:pt>
                <c:pt idx="5374">
                  <c:v>42863</c:v>
                </c:pt>
                <c:pt idx="5375">
                  <c:v>42864</c:v>
                </c:pt>
                <c:pt idx="5376">
                  <c:v>42865</c:v>
                </c:pt>
                <c:pt idx="5377">
                  <c:v>42866</c:v>
                </c:pt>
                <c:pt idx="5378">
                  <c:v>42867</c:v>
                </c:pt>
                <c:pt idx="5379">
                  <c:v>42870</c:v>
                </c:pt>
                <c:pt idx="5380">
                  <c:v>42871</c:v>
                </c:pt>
                <c:pt idx="5381">
                  <c:v>42872</c:v>
                </c:pt>
                <c:pt idx="5382">
                  <c:v>42873</c:v>
                </c:pt>
                <c:pt idx="5383">
                  <c:v>42874</c:v>
                </c:pt>
                <c:pt idx="5384">
                  <c:v>42877</c:v>
                </c:pt>
                <c:pt idx="5385">
                  <c:v>42878</c:v>
                </c:pt>
                <c:pt idx="5386">
                  <c:v>42879</c:v>
                </c:pt>
                <c:pt idx="5387">
                  <c:v>42880</c:v>
                </c:pt>
                <c:pt idx="5388">
                  <c:v>42881</c:v>
                </c:pt>
                <c:pt idx="5389">
                  <c:v>42885</c:v>
                </c:pt>
                <c:pt idx="5390">
                  <c:v>42886</c:v>
                </c:pt>
                <c:pt idx="5391">
                  <c:v>42887</c:v>
                </c:pt>
                <c:pt idx="5392">
                  <c:v>42888</c:v>
                </c:pt>
                <c:pt idx="5393">
                  <c:v>42891</c:v>
                </c:pt>
                <c:pt idx="5394">
                  <c:v>42892</c:v>
                </c:pt>
                <c:pt idx="5395">
                  <c:v>42893</c:v>
                </c:pt>
                <c:pt idx="5396">
                  <c:v>42894</c:v>
                </c:pt>
                <c:pt idx="5397">
                  <c:v>42895</c:v>
                </c:pt>
                <c:pt idx="5398">
                  <c:v>42898</c:v>
                </c:pt>
                <c:pt idx="5399">
                  <c:v>42899</c:v>
                </c:pt>
                <c:pt idx="5400">
                  <c:v>42900</c:v>
                </c:pt>
                <c:pt idx="5401">
                  <c:v>42901</c:v>
                </c:pt>
                <c:pt idx="5402">
                  <c:v>42902</c:v>
                </c:pt>
                <c:pt idx="5403">
                  <c:v>42905</c:v>
                </c:pt>
                <c:pt idx="5404">
                  <c:v>42906</c:v>
                </c:pt>
                <c:pt idx="5405">
                  <c:v>42907</c:v>
                </c:pt>
                <c:pt idx="5406">
                  <c:v>42908</c:v>
                </c:pt>
                <c:pt idx="5407">
                  <c:v>42909</c:v>
                </c:pt>
                <c:pt idx="5408">
                  <c:v>42912</c:v>
                </c:pt>
                <c:pt idx="5409">
                  <c:v>42913</c:v>
                </c:pt>
                <c:pt idx="5410">
                  <c:v>42914</c:v>
                </c:pt>
                <c:pt idx="5411">
                  <c:v>42915</c:v>
                </c:pt>
                <c:pt idx="5412">
                  <c:v>42916</c:v>
                </c:pt>
                <c:pt idx="5413">
                  <c:v>42919</c:v>
                </c:pt>
                <c:pt idx="5414">
                  <c:v>42921</c:v>
                </c:pt>
                <c:pt idx="5415">
                  <c:v>42922</c:v>
                </c:pt>
                <c:pt idx="5416">
                  <c:v>42923</c:v>
                </c:pt>
                <c:pt idx="5417">
                  <c:v>42926</c:v>
                </c:pt>
                <c:pt idx="5418">
                  <c:v>42927</c:v>
                </c:pt>
                <c:pt idx="5419">
                  <c:v>42928</c:v>
                </c:pt>
                <c:pt idx="5420">
                  <c:v>42929</c:v>
                </c:pt>
                <c:pt idx="5421">
                  <c:v>42930</c:v>
                </c:pt>
                <c:pt idx="5422">
                  <c:v>42933</c:v>
                </c:pt>
                <c:pt idx="5423">
                  <c:v>42934</c:v>
                </c:pt>
                <c:pt idx="5424">
                  <c:v>42935</c:v>
                </c:pt>
                <c:pt idx="5425">
                  <c:v>42936</c:v>
                </c:pt>
                <c:pt idx="5426">
                  <c:v>42937</c:v>
                </c:pt>
                <c:pt idx="5427">
                  <c:v>42940</c:v>
                </c:pt>
                <c:pt idx="5428">
                  <c:v>42941</c:v>
                </c:pt>
                <c:pt idx="5429">
                  <c:v>42942</c:v>
                </c:pt>
                <c:pt idx="5430">
                  <c:v>42943</c:v>
                </c:pt>
                <c:pt idx="5431">
                  <c:v>42944</c:v>
                </c:pt>
                <c:pt idx="5432">
                  <c:v>42947</c:v>
                </c:pt>
                <c:pt idx="5433">
                  <c:v>42948</c:v>
                </c:pt>
                <c:pt idx="5434">
                  <c:v>42949</c:v>
                </c:pt>
                <c:pt idx="5435">
                  <c:v>42950</c:v>
                </c:pt>
                <c:pt idx="5436">
                  <c:v>42951</c:v>
                </c:pt>
                <c:pt idx="5437">
                  <c:v>42954</c:v>
                </c:pt>
                <c:pt idx="5438">
                  <c:v>42955</c:v>
                </c:pt>
                <c:pt idx="5439">
                  <c:v>42956</c:v>
                </c:pt>
                <c:pt idx="5440">
                  <c:v>42957</c:v>
                </c:pt>
                <c:pt idx="5441">
                  <c:v>42958</c:v>
                </c:pt>
                <c:pt idx="5442">
                  <c:v>42961</c:v>
                </c:pt>
                <c:pt idx="5443">
                  <c:v>42962</c:v>
                </c:pt>
                <c:pt idx="5444">
                  <c:v>42963</c:v>
                </c:pt>
                <c:pt idx="5445">
                  <c:v>42964</c:v>
                </c:pt>
                <c:pt idx="5446">
                  <c:v>42965</c:v>
                </c:pt>
                <c:pt idx="5447">
                  <c:v>42968</c:v>
                </c:pt>
                <c:pt idx="5448">
                  <c:v>42969</c:v>
                </c:pt>
                <c:pt idx="5449">
                  <c:v>42970</c:v>
                </c:pt>
                <c:pt idx="5450">
                  <c:v>42971</c:v>
                </c:pt>
                <c:pt idx="5451">
                  <c:v>42972</c:v>
                </c:pt>
                <c:pt idx="5452">
                  <c:v>42975</c:v>
                </c:pt>
                <c:pt idx="5453">
                  <c:v>42976</c:v>
                </c:pt>
                <c:pt idx="5454">
                  <c:v>42977</c:v>
                </c:pt>
                <c:pt idx="5455">
                  <c:v>42978</c:v>
                </c:pt>
                <c:pt idx="5456">
                  <c:v>42979</c:v>
                </c:pt>
                <c:pt idx="5457">
                  <c:v>42983</c:v>
                </c:pt>
                <c:pt idx="5458">
                  <c:v>42984</c:v>
                </c:pt>
                <c:pt idx="5459">
                  <c:v>42985</c:v>
                </c:pt>
                <c:pt idx="5460">
                  <c:v>42986</c:v>
                </c:pt>
                <c:pt idx="5461">
                  <c:v>42989</c:v>
                </c:pt>
                <c:pt idx="5462">
                  <c:v>42990</c:v>
                </c:pt>
                <c:pt idx="5463">
                  <c:v>42991</c:v>
                </c:pt>
                <c:pt idx="5464">
                  <c:v>42992</c:v>
                </c:pt>
                <c:pt idx="5465">
                  <c:v>42993</c:v>
                </c:pt>
                <c:pt idx="5466">
                  <c:v>42996</c:v>
                </c:pt>
                <c:pt idx="5467">
                  <c:v>42997</c:v>
                </c:pt>
                <c:pt idx="5468">
                  <c:v>42998</c:v>
                </c:pt>
                <c:pt idx="5469">
                  <c:v>42999</c:v>
                </c:pt>
                <c:pt idx="5470">
                  <c:v>43000</c:v>
                </c:pt>
                <c:pt idx="5471">
                  <c:v>43003</c:v>
                </c:pt>
                <c:pt idx="5472">
                  <c:v>43004</c:v>
                </c:pt>
                <c:pt idx="5473">
                  <c:v>43005</c:v>
                </c:pt>
                <c:pt idx="5474">
                  <c:v>43006</c:v>
                </c:pt>
                <c:pt idx="5475">
                  <c:v>43007</c:v>
                </c:pt>
                <c:pt idx="5476">
                  <c:v>43010</c:v>
                </c:pt>
                <c:pt idx="5477">
                  <c:v>43011</c:v>
                </c:pt>
                <c:pt idx="5478">
                  <c:v>43012</c:v>
                </c:pt>
                <c:pt idx="5479">
                  <c:v>43013</c:v>
                </c:pt>
                <c:pt idx="5480">
                  <c:v>43014</c:v>
                </c:pt>
                <c:pt idx="5481">
                  <c:v>43017</c:v>
                </c:pt>
                <c:pt idx="5482">
                  <c:v>43018</c:v>
                </c:pt>
                <c:pt idx="5483">
                  <c:v>43019</c:v>
                </c:pt>
                <c:pt idx="5484">
                  <c:v>43020</c:v>
                </c:pt>
                <c:pt idx="5485">
                  <c:v>43021</c:v>
                </c:pt>
                <c:pt idx="5486">
                  <c:v>43024</c:v>
                </c:pt>
                <c:pt idx="5487">
                  <c:v>43025</c:v>
                </c:pt>
                <c:pt idx="5488">
                  <c:v>43026</c:v>
                </c:pt>
                <c:pt idx="5489">
                  <c:v>43027</c:v>
                </c:pt>
                <c:pt idx="5490">
                  <c:v>43028</c:v>
                </c:pt>
                <c:pt idx="5491">
                  <c:v>43031</c:v>
                </c:pt>
                <c:pt idx="5492">
                  <c:v>43032</c:v>
                </c:pt>
                <c:pt idx="5493">
                  <c:v>43033</c:v>
                </c:pt>
                <c:pt idx="5494">
                  <c:v>43034</c:v>
                </c:pt>
                <c:pt idx="5495">
                  <c:v>43035</c:v>
                </c:pt>
                <c:pt idx="5496">
                  <c:v>43038</c:v>
                </c:pt>
                <c:pt idx="5497">
                  <c:v>43039</c:v>
                </c:pt>
                <c:pt idx="5498">
                  <c:v>43040</c:v>
                </c:pt>
                <c:pt idx="5499">
                  <c:v>43041</c:v>
                </c:pt>
                <c:pt idx="5500">
                  <c:v>43042</c:v>
                </c:pt>
                <c:pt idx="5501">
                  <c:v>43045</c:v>
                </c:pt>
                <c:pt idx="5502">
                  <c:v>43046</c:v>
                </c:pt>
                <c:pt idx="5503">
                  <c:v>43047</c:v>
                </c:pt>
                <c:pt idx="5504">
                  <c:v>43048</c:v>
                </c:pt>
                <c:pt idx="5505">
                  <c:v>43049</c:v>
                </c:pt>
                <c:pt idx="5506">
                  <c:v>43052</c:v>
                </c:pt>
                <c:pt idx="5507">
                  <c:v>43053</c:v>
                </c:pt>
                <c:pt idx="5508">
                  <c:v>43054</c:v>
                </c:pt>
                <c:pt idx="5509">
                  <c:v>43055</c:v>
                </c:pt>
                <c:pt idx="5510">
                  <c:v>43056</c:v>
                </c:pt>
                <c:pt idx="5511">
                  <c:v>43059</c:v>
                </c:pt>
                <c:pt idx="5512">
                  <c:v>43060</c:v>
                </c:pt>
                <c:pt idx="5513">
                  <c:v>43061</c:v>
                </c:pt>
                <c:pt idx="5514">
                  <c:v>43063</c:v>
                </c:pt>
                <c:pt idx="5515">
                  <c:v>43066</c:v>
                </c:pt>
                <c:pt idx="5516">
                  <c:v>43067</c:v>
                </c:pt>
                <c:pt idx="5517">
                  <c:v>43068</c:v>
                </c:pt>
                <c:pt idx="5518">
                  <c:v>43069</c:v>
                </c:pt>
                <c:pt idx="5519">
                  <c:v>43070</c:v>
                </c:pt>
                <c:pt idx="5520">
                  <c:v>43073</c:v>
                </c:pt>
                <c:pt idx="5521">
                  <c:v>43074</c:v>
                </c:pt>
                <c:pt idx="5522">
                  <c:v>43075</c:v>
                </c:pt>
                <c:pt idx="5523">
                  <c:v>43076</c:v>
                </c:pt>
                <c:pt idx="5524">
                  <c:v>43077</c:v>
                </c:pt>
                <c:pt idx="5525">
                  <c:v>43080</c:v>
                </c:pt>
                <c:pt idx="5526">
                  <c:v>43081</c:v>
                </c:pt>
                <c:pt idx="5527">
                  <c:v>43082</c:v>
                </c:pt>
                <c:pt idx="5528">
                  <c:v>43083</c:v>
                </c:pt>
                <c:pt idx="5529">
                  <c:v>43084</c:v>
                </c:pt>
                <c:pt idx="5530">
                  <c:v>43087</c:v>
                </c:pt>
                <c:pt idx="5531">
                  <c:v>43088</c:v>
                </c:pt>
                <c:pt idx="5532">
                  <c:v>43089</c:v>
                </c:pt>
                <c:pt idx="5533">
                  <c:v>43090</c:v>
                </c:pt>
                <c:pt idx="5534">
                  <c:v>43091</c:v>
                </c:pt>
                <c:pt idx="5535">
                  <c:v>43095</c:v>
                </c:pt>
                <c:pt idx="5536">
                  <c:v>43096</c:v>
                </c:pt>
                <c:pt idx="5537">
                  <c:v>43097</c:v>
                </c:pt>
                <c:pt idx="5538">
                  <c:v>43098</c:v>
                </c:pt>
              </c:numCache>
            </c:numRef>
          </c:cat>
          <c:val>
            <c:numRef>
              <c:f>Sheet1!$B$2:$B$6043</c:f>
              <c:numCache>
                <c:formatCode>General</c:formatCode>
                <c:ptCount val="6042"/>
                <c:pt idx="0">
                  <c:v>620.72997999999995</c:v>
                </c:pt>
                <c:pt idx="1">
                  <c:v>621.32000700000003</c:v>
                </c:pt>
                <c:pt idx="2">
                  <c:v>617.70001200000002</c:v>
                </c:pt>
                <c:pt idx="3">
                  <c:v>616.71002199999998</c:v>
                </c:pt>
                <c:pt idx="4">
                  <c:v>618.46002199999998</c:v>
                </c:pt>
                <c:pt idx="5">
                  <c:v>609.45001200000002</c:v>
                </c:pt>
                <c:pt idx="6">
                  <c:v>598.47997999999995</c:v>
                </c:pt>
                <c:pt idx="7">
                  <c:v>602.69000200000005</c:v>
                </c:pt>
                <c:pt idx="8">
                  <c:v>601.80999799999995</c:v>
                </c:pt>
                <c:pt idx="9">
                  <c:v>599.82000700000003</c:v>
                </c:pt>
                <c:pt idx="10">
                  <c:v>608.44000200000005</c:v>
                </c:pt>
                <c:pt idx="11">
                  <c:v>606.36999500000002</c:v>
                </c:pt>
                <c:pt idx="12">
                  <c:v>608.23999000000003</c:v>
                </c:pt>
                <c:pt idx="13">
                  <c:v>611.830017</c:v>
                </c:pt>
                <c:pt idx="14">
                  <c:v>613.40002400000003</c:v>
                </c:pt>
                <c:pt idx="15">
                  <c:v>612.78997800000002</c:v>
                </c:pt>
                <c:pt idx="16">
                  <c:v>619.96002199999998</c:v>
                </c:pt>
                <c:pt idx="17">
                  <c:v>617.03002900000001</c:v>
                </c:pt>
                <c:pt idx="18">
                  <c:v>621.61999500000002</c:v>
                </c:pt>
                <c:pt idx="19">
                  <c:v>624.21997099999999</c:v>
                </c:pt>
                <c:pt idx="20">
                  <c:v>630.15002400000003</c:v>
                </c:pt>
                <c:pt idx="21">
                  <c:v>636.02002000000005</c:v>
                </c:pt>
                <c:pt idx="22">
                  <c:v>638.46002199999998</c:v>
                </c:pt>
                <c:pt idx="23">
                  <c:v>635.84002699999996</c:v>
                </c:pt>
                <c:pt idx="24">
                  <c:v>641.42999299999997</c:v>
                </c:pt>
                <c:pt idx="25">
                  <c:v>646.330017</c:v>
                </c:pt>
                <c:pt idx="26">
                  <c:v>649.92999299999997</c:v>
                </c:pt>
                <c:pt idx="27">
                  <c:v>656.07000700000003</c:v>
                </c:pt>
                <c:pt idx="28">
                  <c:v>656.36999500000002</c:v>
                </c:pt>
                <c:pt idx="29">
                  <c:v>661.45001200000002</c:v>
                </c:pt>
                <c:pt idx="30">
                  <c:v>660.51000999999997</c:v>
                </c:pt>
                <c:pt idx="31">
                  <c:v>655.580017</c:v>
                </c:pt>
                <c:pt idx="32">
                  <c:v>651.32000700000003</c:v>
                </c:pt>
                <c:pt idx="33">
                  <c:v>647.97997999999995</c:v>
                </c:pt>
                <c:pt idx="34">
                  <c:v>640.65002400000003</c:v>
                </c:pt>
                <c:pt idx="35">
                  <c:v>648.09997599999997</c:v>
                </c:pt>
                <c:pt idx="36">
                  <c:v>658.85998500000005</c:v>
                </c:pt>
                <c:pt idx="37">
                  <c:v>659.080017</c:v>
                </c:pt>
                <c:pt idx="38">
                  <c:v>650.46002199999998</c:v>
                </c:pt>
                <c:pt idx="39">
                  <c:v>647.23999000000003</c:v>
                </c:pt>
                <c:pt idx="40">
                  <c:v>644.75</c:v>
                </c:pt>
                <c:pt idx="41">
                  <c:v>640.42999299999997</c:v>
                </c:pt>
                <c:pt idx="42">
                  <c:v>644.36999500000002</c:v>
                </c:pt>
                <c:pt idx="43">
                  <c:v>650.80999799999995</c:v>
                </c:pt>
                <c:pt idx="44">
                  <c:v>655.78997800000002</c:v>
                </c:pt>
                <c:pt idx="45">
                  <c:v>652</c:v>
                </c:pt>
                <c:pt idx="46">
                  <c:v>653.65002400000003</c:v>
                </c:pt>
                <c:pt idx="47">
                  <c:v>633.5</c:v>
                </c:pt>
                <c:pt idx="48">
                  <c:v>640.02002000000005</c:v>
                </c:pt>
                <c:pt idx="49">
                  <c:v>637.09002699999996</c:v>
                </c:pt>
                <c:pt idx="50">
                  <c:v>638.54998799999998</c:v>
                </c:pt>
                <c:pt idx="51">
                  <c:v>640.86999500000002</c:v>
                </c:pt>
                <c:pt idx="52">
                  <c:v>641.42999299999997</c:v>
                </c:pt>
                <c:pt idx="53">
                  <c:v>652.65002400000003</c:v>
                </c:pt>
                <c:pt idx="54">
                  <c:v>651.69000200000005</c:v>
                </c:pt>
                <c:pt idx="55">
                  <c:v>649.97997999999995</c:v>
                </c:pt>
                <c:pt idx="56">
                  <c:v>649.19000200000005</c:v>
                </c:pt>
                <c:pt idx="57">
                  <c:v>650.61999500000002</c:v>
                </c:pt>
                <c:pt idx="58">
                  <c:v>650.03997800000002</c:v>
                </c:pt>
                <c:pt idx="59">
                  <c:v>652.96997099999999</c:v>
                </c:pt>
                <c:pt idx="60">
                  <c:v>648.90997300000004</c:v>
                </c:pt>
                <c:pt idx="61">
                  <c:v>648.94000200000005</c:v>
                </c:pt>
                <c:pt idx="62">
                  <c:v>645.5</c:v>
                </c:pt>
                <c:pt idx="63">
                  <c:v>653.72997999999995</c:v>
                </c:pt>
                <c:pt idx="64">
                  <c:v>655.26000999999997</c:v>
                </c:pt>
                <c:pt idx="65">
                  <c:v>655.88000499999998</c:v>
                </c:pt>
                <c:pt idx="66">
                  <c:v>655.85998500000005</c:v>
                </c:pt>
                <c:pt idx="67">
                  <c:v>644.23999000000003</c:v>
                </c:pt>
                <c:pt idx="68">
                  <c:v>642.19000200000005</c:v>
                </c:pt>
                <c:pt idx="69">
                  <c:v>633.5</c:v>
                </c:pt>
                <c:pt idx="70">
                  <c:v>631.17999299999997</c:v>
                </c:pt>
                <c:pt idx="71">
                  <c:v>636.71002199999998</c:v>
                </c:pt>
                <c:pt idx="72">
                  <c:v>642.48999000000003</c:v>
                </c:pt>
                <c:pt idx="73">
                  <c:v>645</c:v>
                </c:pt>
                <c:pt idx="74">
                  <c:v>641.60998500000005</c:v>
                </c:pt>
                <c:pt idx="75">
                  <c:v>643.60998500000005</c:v>
                </c:pt>
                <c:pt idx="76">
                  <c:v>645.07000700000003</c:v>
                </c:pt>
                <c:pt idx="77">
                  <c:v>647.89001499999995</c:v>
                </c:pt>
                <c:pt idx="78">
                  <c:v>651.580017</c:v>
                </c:pt>
                <c:pt idx="79">
                  <c:v>650.169983</c:v>
                </c:pt>
                <c:pt idx="80">
                  <c:v>652.86999500000002</c:v>
                </c:pt>
                <c:pt idx="81">
                  <c:v>653.46002199999998</c:v>
                </c:pt>
                <c:pt idx="82">
                  <c:v>654.15997300000004</c:v>
                </c:pt>
                <c:pt idx="83">
                  <c:v>654.169983</c:v>
                </c:pt>
                <c:pt idx="84">
                  <c:v>654.580017</c:v>
                </c:pt>
                <c:pt idx="85">
                  <c:v>643.38000499999998</c:v>
                </c:pt>
                <c:pt idx="86">
                  <c:v>641.63000499999998</c:v>
                </c:pt>
                <c:pt idx="87">
                  <c:v>640.80999799999995</c:v>
                </c:pt>
                <c:pt idx="88">
                  <c:v>638.26000999999997</c:v>
                </c:pt>
                <c:pt idx="89">
                  <c:v>644.77002000000005</c:v>
                </c:pt>
                <c:pt idx="90">
                  <c:v>645.44000200000005</c:v>
                </c:pt>
                <c:pt idx="91">
                  <c:v>652.09002699999996</c:v>
                </c:pt>
                <c:pt idx="92">
                  <c:v>661.51000999999997</c:v>
                </c:pt>
                <c:pt idx="93">
                  <c:v>665.59997599999997</c:v>
                </c:pt>
                <c:pt idx="94">
                  <c:v>665.419983</c:v>
                </c:pt>
                <c:pt idx="95">
                  <c:v>664.84997599999997</c:v>
                </c:pt>
                <c:pt idx="96">
                  <c:v>668.90997300000004</c:v>
                </c:pt>
                <c:pt idx="97">
                  <c:v>673.15002400000003</c:v>
                </c:pt>
                <c:pt idx="98">
                  <c:v>672.76000999999997</c:v>
                </c:pt>
                <c:pt idx="99">
                  <c:v>678.419983</c:v>
                </c:pt>
                <c:pt idx="100">
                  <c:v>676</c:v>
                </c:pt>
                <c:pt idx="101">
                  <c:v>678.51000999999997</c:v>
                </c:pt>
                <c:pt idx="102">
                  <c:v>672.22997999999995</c:v>
                </c:pt>
                <c:pt idx="103">
                  <c:v>667.92999299999997</c:v>
                </c:pt>
                <c:pt idx="104">
                  <c:v>671.70001200000002</c:v>
                </c:pt>
                <c:pt idx="105">
                  <c:v>669.11999500000002</c:v>
                </c:pt>
                <c:pt idx="106">
                  <c:v>667.67999299999997</c:v>
                </c:pt>
                <c:pt idx="107">
                  <c:v>672.55999799999995</c:v>
                </c:pt>
                <c:pt idx="108">
                  <c:v>678.44000200000005</c:v>
                </c:pt>
                <c:pt idx="109">
                  <c:v>673.03002900000001</c:v>
                </c:pt>
                <c:pt idx="110">
                  <c:v>673.30999799999995</c:v>
                </c:pt>
                <c:pt idx="111">
                  <c:v>672.15997300000004</c:v>
                </c:pt>
                <c:pt idx="112">
                  <c:v>670.96997099999999</c:v>
                </c:pt>
                <c:pt idx="113">
                  <c:v>669.03997800000002</c:v>
                </c:pt>
                <c:pt idx="114">
                  <c:v>667.919983</c:v>
                </c:pt>
                <c:pt idx="115">
                  <c:v>665.84997599999997</c:v>
                </c:pt>
                <c:pt idx="116">
                  <c:v>665.15997300000004</c:v>
                </c:pt>
                <c:pt idx="117">
                  <c:v>662.05999799999995</c:v>
                </c:pt>
                <c:pt idx="118">
                  <c:v>661.96002199999998</c:v>
                </c:pt>
                <c:pt idx="119">
                  <c:v>662.09997599999997</c:v>
                </c:pt>
                <c:pt idx="120">
                  <c:v>666.84002699999996</c:v>
                </c:pt>
                <c:pt idx="121">
                  <c:v>668.84997599999997</c:v>
                </c:pt>
                <c:pt idx="122">
                  <c:v>668.47997999999995</c:v>
                </c:pt>
                <c:pt idx="123">
                  <c:v>664.39001499999995</c:v>
                </c:pt>
                <c:pt idx="124">
                  <c:v>668.54998799999998</c:v>
                </c:pt>
                <c:pt idx="125">
                  <c:v>670.63000499999998</c:v>
                </c:pt>
                <c:pt idx="126">
                  <c:v>675.88000499999998</c:v>
                </c:pt>
                <c:pt idx="127">
                  <c:v>673.60998500000005</c:v>
                </c:pt>
                <c:pt idx="128">
                  <c:v>672.40002400000003</c:v>
                </c:pt>
                <c:pt idx="129">
                  <c:v>657.44000200000005</c:v>
                </c:pt>
                <c:pt idx="130">
                  <c:v>652.53997800000002</c:v>
                </c:pt>
                <c:pt idx="131">
                  <c:v>654.75</c:v>
                </c:pt>
                <c:pt idx="132">
                  <c:v>656.05999799999995</c:v>
                </c:pt>
                <c:pt idx="133">
                  <c:v>645.669983</c:v>
                </c:pt>
                <c:pt idx="134">
                  <c:v>646.19000200000005</c:v>
                </c:pt>
                <c:pt idx="135">
                  <c:v>629.79998799999998</c:v>
                </c:pt>
                <c:pt idx="136">
                  <c:v>628.36999500000002</c:v>
                </c:pt>
                <c:pt idx="137">
                  <c:v>634.07000700000003</c:v>
                </c:pt>
                <c:pt idx="138">
                  <c:v>643.55999799999995</c:v>
                </c:pt>
                <c:pt idx="139">
                  <c:v>638.72997999999995</c:v>
                </c:pt>
                <c:pt idx="140">
                  <c:v>633.77002000000005</c:v>
                </c:pt>
                <c:pt idx="141">
                  <c:v>626.86999500000002</c:v>
                </c:pt>
                <c:pt idx="142">
                  <c:v>626.65002400000003</c:v>
                </c:pt>
                <c:pt idx="143">
                  <c:v>631.169983</c:v>
                </c:pt>
                <c:pt idx="144">
                  <c:v>635.90002400000003</c:v>
                </c:pt>
                <c:pt idx="145">
                  <c:v>630.90997300000004</c:v>
                </c:pt>
                <c:pt idx="146">
                  <c:v>635.26000999999997</c:v>
                </c:pt>
                <c:pt idx="147">
                  <c:v>639.95001200000002</c:v>
                </c:pt>
                <c:pt idx="148">
                  <c:v>650.02002000000005</c:v>
                </c:pt>
                <c:pt idx="149">
                  <c:v>662.48999000000003</c:v>
                </c:pt>
                <c:pt idx="150">
                  <c:v>660.22997999999995</c:v>
                </c:pt>
                <c:pt idx="151">
                  <c:v>662.38000499999998</c:v>
                </c:pt>
                <c:pt idx="152">
                  <c:v>664.15997300000004</c:v>
                </c:pt>
                <c:pt idx="153">
                  <c:v>662.59002699999996</c:v>
                </c:pt>
                <c:pt idx="154">
                  <c:v>662.09997599999997</c:v>
                </c:pt>
                <c:pt idx="155">
                  <c:v>665.77002000000005</c:v>
                </c:pt>
                <c:pt idx="156">
                  <c:v>660.20001200000002</c:v>
                </c:pt>
                <c:pt idx="157">
                  <c:v>662.04998799999998</c:v>
                </c:pt>
                <c:pt idx="158">
                  <c:v>662.28002900000001</c:v>
                </c:pt>
                <c:pt idx="159">
                  <c:v>665.21002199999998</c:v>
                </c:pt>
                <c:pt idx="160">
                  <c:v>666.580017</c:v>
                </c:pt>
                <c:pt idx="161">
                  <c:v>665.69000200000005</c:v>
                </c:pt>
                <c:pt idx="162">
                  <c:v>665.07000700000003</c:v>
                </c:pt>
                <c:pt idx="163">
                  <c:v>670.67999299999997</c:v>
                </c:pt>
                <c:pt idx="164">
                  <c:v>667.03002900000001</c:v>
                </c:pt>
                <c:pt idx="165">
                  <c:v>663.88000499999998</c:v>
                </c:pt>
                <c:pt idx="166">
                  <c:v>666.40002400000003</c:v>
                </c:pt>
                <c:pt idx="167">
                  <c:v>664.80999799999995</c:v>
                </c:pt>
                <c:pt idx="168">
                  <c:v>657.40002400000003</c:v>
                </c:pt>
                <c:pt idx="169">
                  <c:v>651.98999000000003</c:v>
                </c:pt>
                <c:pt idx="170">
                  <c:v>654.71997099999999</c:v>
                </c:pt>
                <c:pt idx="171">
                  <c:v>655.60998500000005</c:v>
                </c:pt>
                <c:pt idx="172">
                  <c:v>649.44000200000005</c:v>
                </c:pt>
                <c:pt idx="173">
                  <c:v>655.67999299999997</c:v>
                </c:pt>
                <c:pt idx="174">
                  <c:v>663.76000999999997</c:v>
                </c:pt>
                <c:pt idx="175">
                  <c:v>663.80999799999995</c:v>
                </c:pt>
                <c:pt idx="176">
                  <c:v>667.28002900000001</c:v>
                </c:pt>
                <c:pt idx="177">
                  <c:v>671.15002400000003</c:v>
                </c:pt>
                <c:pt idx="178">
                  <c:v>680.53997800000002</c:v>
                </c:pt>
                <c:pt idx="179">
                  <c:v>683.97997999999995</c:v>
                </c:pt>
                <c:pt idx="180">
                  <c:v>682.94000200000005</c:v>
                </c:pt>
                <c:pt idx="181">
                  <c:v>681.46997099999999</c:v>
                </c:pt>
                <c:pt idx="182">
                  <c:v>683</c:v>
                </c:pt>
                <c:pt idx="183">
                  <c:v>687.03002900000001</c:v>
                </c:pt>
                <c:pt idx="184">
                  <c:v>686.47997999999995</c:v>
                </c:pt>
                <c:pt idx="185">
                  <c:v>685.60998500000005</c:v>
                </c:pt>
                <c:pt idx="186">
                  <c:v>685.830017</c:v>
                </c:pt>
                <c:pt idx="187">
                  <c:v>685.85998500000005</c:v>
                </c:pt>
                <c:pt idx="188">
                  <c:v>686.19000200000005</c:v>
                </c:pt>
                <c:pt idx="189">
                  <c:v>687.330017</c:v>
                </c:pt>
                <c:pt idx="190">
                  <c:v>689.080017</c:v>
                </c:pt>
                <c:pt idx="191">
                  <c:v>694.01000999999997</c:v>
                </c:pt>
                <c:pt idx="192">
                  <c:v>692.78002900000001</c:v>
                </c:pt>
                <c:pt idx="193">
                  <c:v>701.46002199999998</c:v>
                </c:pt>
                <c:pt idx="194">
                  <c:v>703.34002699999996</c:v>
                </c:pt>
                <c:pt idx="195">
                  <c:v>700.64001499999995</c:v>
                </c:pt>
                <c:pt idx="196">
                  <c:v>696.73999000000003</c:v>
                </c:pt>
                <c:pt idx="197">
                  <c:v>694.60998500000005</c:v>
                </c:pt>
                <c:pt idx="198">
                  <c:v>700.65997300000004</c:v>
                </c:pt>
                <c:pt idx="199">
                  <c:v>703.53997800000002</c:v>
                </c:pt>
                <c:pt idx="200">
                  <c:v>702.57000700000003</c:v>
                </c:pt>
                <c:pt idx="201">
                  <c:v>704.40997300000004</c:v>
                </c:pt>
                <c:pt idx="202">
                  <c:v>706.98999000000003</c:v>
                </c:pt>
                <c:pt idx="203">
                  <c:v>710.82000700000003</c:v>
                </c:pt>
                <c:pt idx="204">
                  <c:v>709.84997599999997</c:v>
                </c:pt>
                <c:pt idx="205">
                  <c:v>706.57000700000003</c:v>
                </c:pt>
                <c:pt idx="206">
                  <c:v>707.27002000000005</c:v>
                </c:pt>
                <c:pt idx="207">
                  <c:v>702.28997800000002</c:v>
                </c:pt>
                <c:pt idx="208">
                  <c:v>700.919983</c:v>
                </c:pt>
                <c:pt idx="209">
                  <c:v>697.26000999999997</c:v>
                </c:pt>
                <c:pt idx="210">
                  <c:v>701.5</c:v>
                </c:pt>
                <c:pt idx="211">
                  <c:v>700.90002400000003</c:v>
                </c:pt>
                <c:pt idx="212">
                  <c:v>705.27002000000005</c:v>
                </c:pt>
                <c:pt idx="213">
                  <c:v>703.77002000000005</c:v>
                </c:pt>
                <c:pt idx="214">
                  <c:v>706.72997999999995</c:v>
                </c:pt>
                <c:pt idx="215">
                  <c:v>714.14001499999995</c:v>
                </c:pt>
                <c:pt idx="216">
                  <c:v>724.59002699999996</c:v>
                </c:pt>
                <c:pt idx="217">
                  <c:v>727.65002400000003</c:v>
                </c:pt>
                <c:pt idx="218">
                  <c:v>730.82000700000003</c:v>
                </c:pt>
                <c:pt idx="219">
                  <c:v>731.86999500000002</c:v>
                </c:pt>
                <c:pt idx="220">
                  <c:v>729.55999799999995</c:v>
                </c:pt>
                <c:pt idx="221">
                  <c:v>731.13000499999998</c:v>
                </c:pt>
                <c:pt idx="222">
                  <c:v>735.88000499999998</c:v>
                </c:pt>
                <c:pt idx="223">
                  <c:v>737.61999500000002</c:v>
                </c:pt>
                <c:pt idx="224">
                  <c:v>737.02002000000005</c:v>
                </c:pt>
                <c:pt idx="225">
                  <c:v>742.15997300000004</c:v>
                </c:pt>
                <c:pt idx="226">
                  <c:v>743.95001200000002</c:v>
                </c:pt>
                <c:pt idx="227">
                  <c:v>742.75</c:v>
                </c:pt>
                <c:pt idx="228">
                  <c:v>748.72997999999995</c:v>
                </c:pt>
                <c:pt idx="229">
                  <c:v>757.03002900000001</c:v>
                </c:pt>
                <c:pt idx="230">
                  <c:v>755.96002199999998</c:v>
                </c:pt>
                <c:pt idx="231">
                  <c:v>755</c:v>
                </c:pt>
                <c:pt idx="232">
                  <c:v>757.02002000000005</c:v>
                </c:pt>
                <c:pt idx="233">
                  <c:v>756.55999799999995</c:v>
                </c:pt>
                <c:pt idx="234">
                  <c:v>748.28002900000001</c:v>
                </c:pt>
                <c:pt idx="235">
                  <c:v>745.09997599999997</c:v>
                </c:pt>
                <c:pt idx="236">
                  <c:v>744.38000499999998</c:v>
                </c:pt>
                <c:pt idx="237">
                  <c:v>739.59997599999997</c:v>
                </c:pt>
                <c:pt idx="238">
                  <c:v>749.76000999999997</c:v>
                </c:pt>
                <c:pt idx="239">
                  <c:v>747.53997800000002</c:v>
                </c:pt>
                <c:pt idx="240">
                  <c:v>740.72997999999995</c:v>
                </c:pt>
                <c:pt idx="241">
                  <c:v>729.29998799999998</c:v>
                </c:pt>
                <c:pt idx="242">
                  <c:v>728.64001499999995</c:v>
                </c:pt>
                <c:pt idx="243">
                  <c:v>720.97997999999995</c:v>
                </c:pt>
                <c:pt idx="244">
                  <c:v>726.03997800000002</c:v>
                </c:pt>
                <c:pt idx="245">
                  <c:v>731.53997800000002</c:v>
                </c:pt>
                <c:pt idx="246">
                  <c:v>745.76000999999997</c:v>
                </c:pt>
                <c:pt idx="247">
                  <c:v>748.86999500000002</c:v>
                </c:pt>
                <c:pt idx="248">
                  <c:v>746.919983</c:v>
                </c:pt>
                <c:pt idx="249">
                  <c:v>751.03002900000001</c:v>
                </c:pt>
                <c:pt idx="250">
                  <c:v>755.82000700000003</c:v>
                </c:pt>
                <c:pt idx="251">
                  <c:v>756.78997800000002</c:v>
                </c:pt>
                <c:pt idx="252">
                  <c:v>753.84997599999997</c:v>
                </c:pt>
                <c:pt idx="253">
                  <c:v>740.73999000000003</c:v>
                </c:pt>
                <c:pt idx="254">
                  <c:v>737.01000999999997</c:v>
                </c:pt>
                <c:pt idx="255">
                  <c:v>748.03002900000001</c:v>
                </c:pt>
                <c:pt idx="256">
                  <c:v>747.65002400000003</c:v>
                </c:pt>
                <c:pt idx="257">
                  <c:v>753.22997999999995</c:v>
                </c:pt>
                <c:pt idx="258">
                  <c:v>748.40997300000004</c:v>
                </c:pt>
                <c:pt idx="259">
                  <c:v>754.84997599999997</c:v>
                </c:pt>
                <c:pt idx="260">
                  <c:v>759.5</c:v>
                </c:pt>
                <c:pt idx="261">
                  <c:v>759.51000999999997</c:v>
                </c:pt>
                <c:pt idx="262">
                  <c:v>768.85998500000005</c:v>
                </c:pt>
                <c:pt idx="263">
                  <c:v>767.20001200000002</c:v>
                </c:pt>
                <c:pt idx="264">
                  <c:v>769.75</c:v>
                </c:pt>
                <c:pt idx="265">
                  <c:v>776.169983</c:v>
                </c:pt>
                <c:pt idx="266">
                  <c:v>776.70001200000002</c:v>
                </c:pt>
                <c:pt idx="267">
                  <c:v>782.71997099999999</c:v>
                </c:pt>
                <c:pt idx="268">
                  <c:v>786.22997999999995</c:v>
                </c:pt>
                <c:pt idx="269">
                  <c:v>777.55999799999995</c:v>
                </c:pt>
                <c:pt idx="270">
                  <c:v>770.52002000000005</c:v>
                </c:pt>
                <c:pt idx="271">
                  <c:v>765.02002000000005</c:v>
                </c:pt>
                <c:pt idx="272">
                  <c:v>765.02002000000005</c:v>
                </c:pt>
                <c:pt idx="273">
                  <c:v>772.5</c:v>
                </c:pt>
                <c:pt idx="274">
                  <c:v>784.169983</c:v>
                </c:pt>
                <c:pt idx="275">
                  <c:v>786.15997300000004</c:v>
                </c:pt>
                <c:pt idx="276">
                  <c:v>786.72997999999995</c:v>
                </c:pt>
                <c:pt idx="277">
                  <c:v>789.26000999999997</c:v>
                </c:pt>
                <c:pt idx="278">
                  <c:v>778.28002900000001</c:v>
                </c:pt>
                <c:pt idx="279">
                  <c:v>780.15002400000003</c:v>
                </c:pt>
                <c:pt idx="280">
                  <c:v>789.55999799999995</c:v>
                </c:pt>
                <c:pt idx="281">
                  <c:v>785.42999299999997</c:v>
                </c:pt>
                <c:pt idx="282">
                  <c:v>789.59002699999996</c:v>
                </c:pt>
                <c:pt idx="283">
                  <c:v>802.77002000000005</c:v>
                </c:pt>
                <c:pt idx="284">
                  <c:v>811.82000700000003</c:v>
                </c:pt>
                <c:pt idx="285">
                  <c:v>808.47997999999995</c:v>
                </c:pt>
                <c:pt idx="286">
                  <c:v>816.28997800000002</c:v>
                </c:pt>
                <c:pt idx="287">
                  <c:v>812.48999000000003</c:v>
                </c:pt>
                <c:pt idx="288">
                  <c:v>802.79998799999998</c:v>
                </c:pt>
                <c:pt idx="289">
                  <c:v>801.77002000000005</c:v>
                </c:pt>
                <c:pt idx="290">
                  <c:v>810.28002900000001</c:v>
                </c:pt>
                <c:pt idx="291">
                  <c:v>812.03002900000001</c:v>
                </c:pt>
                <c:pt idx="292">
                  <c:v>805.67999299999997</c:v>
                </c:pt>
                <c:pt idx="293">
                  <c:v>795.07000700000003</c:v>
                </c:pt>
                <c:pt idx="294">
                  <c:v>790.82000700000003</c:v>
                </c:pt>
                <c:pt idx="295">
                  <c:v>795.30999799999995</c:v>
                </c:pt>
                <c:pt idx="296">
                  <c:v>790.95001200000002</c:v>
                </c:pt>
                <c:pt idx="297">
                  <c:v>801.98999000000003</c:v>
                </c:pt>
                <c:pt idx="298">
                  <c:v>798.55999799999995</c:v>
                </c:pt>
                <c:pt idx="299">
                  <c:v>804.96997099999999</c:v>
                </c:pt>
                <c:pt idx="300">
                  <c:v>813.65002400000003</c:v>
                </c:pt>
                <c:pt idx="301">
                  <c:v>811.34002699999996</c:v>
                </c:pt>
                <c:pt idx="302">
                  <c:v>804.26000999999997</c:v>
                </c:pt>
                <c:pt idx="303">
                  <c:v>789.55999799999995</c:v>
                </c:pt>
                <c:pt idx="304">
                  <c:v>793.169983</c:v>
                </c:pt>
                <c:pt idx="305">
                  <c:v>795.71002199999998</c:v>
                </c:pt>
                <c:pt idx="306">
                  <c:v>789.65997300000004</c:v>
                </c:pt>
                <c:pt idx="307">
                  <c:v>785.77002000000005</c:v>
                </c:pt>
                <c:pt idx="308">
                  <c:v>782.65002400000003</c:v>
                </c:pt>
                <c:pt idx="309">
                  <c:v>784.09997599999997</c:v>
                </c:pt>
                <c:pt idx="310">
                  <c:v>790.89001499999995</c:v>
                </c:pt>
                <c:pt idx="311">
                  <c:v>789.07000700000003</c:v>
                </c:pt>
                <c:pt idx="312">
                  <c:v>790.5</c:v>
                </c:pt>
                <c:pt idx="313">
                  <c:v>773.88000499999998</c:v>
                </c:pt>
                <c:pt idx="314">
                  <c:v>757.11999500000002</c:v>
                </c:pt>
                <c:pt idx="315">
                  <c:v>759.64001499999995</c:v>
                </c:pt>
                <c:pt idx="316">
                  <c:v>750.10998500000005</c:v>
                </c:pt>
                <c:pt idx="317">
                  <c:v>750.32000700000003</c:v>
                </c:pt>
                <c:pt idx="318">
                  <c:v>757.90002400000003</c:v>
                </c:pt>
                <c:pt idx="319">
                  <c:v>762.13000499999998</c:v>
                </c:pt>
                <c:pt idx="320">
                  <c:v>766.11999500000002</c:v>
                </c:pt>
                <c:pt idx="321">
                  <c:v>760.59997599999997</c:v>
                </c:pt>
                <c:pt idx="322">
                  <c:v>758.34002699999996</c:v>
                </c:pt>
                <c:pt idx="323">
                  <c:v>737.65002400000003</c:v>
                </c:pt>
                <c:pt idx="324">
                  <c:v>743.72997999999995</c:v>
                </c:pt>
                <c:pt idx="325">
                  <c:v>754.71997099999999</c:v>
                </c:pt>
                <c:pt idx="326">
                  <c:v>763.53002900000001</c:v>
                </c:pt>
                <c:pt idx="327">
                  <c:v>761.77002000000005</c:v>
                </c:pt>
                <c:pt idx="328">
                  <c:v>766.34002699999996</c:v>
                </c:pt>
                <c:pt idx="329">
                  <c:v>760.36999500000002</c:v>
                </c:pt>
                <c:pt idx="330">
                  <c:v>774.60998500000005</c:v>
                </c:pt>
                <c:pt idx="331">
                  <c:v>773.64001499999995</c:v>
                </c:pt>
                <c:pt idx="332">
                  <c:v>771.17999299999997</c:v>
                </c:pt>
                <c:pt idx="333">
                  <c:v>765.36999500000002</c:v>
                </c:pt>
                <c:pt idx="334">
                  <c:v>772.96002199999998</c:v>
                </c:pt>
                <c:pt idx="335">
                  <c:v>794.04998799999998</c:v>
                </c:pt>
                <c:pt idx="336">
                  <c:v>801.34002699999996</c:v>
                </c:pt>
                <c:pt idx="337">
                  <c:v>798.53002900000001</c:v>
                </c:pt>
                <c:pt idx="338">
                  <c:v>812.96997099999999</c:v>
                </c:pt>
                <c:pt idx="339">
                  <c:v>830.28997800000002</c:v>
                </c:pt>
                <c:pt idx="340">
                  <c:v>827.76000999999997</c:v>
                </c:pt>
                <c:pt idx="341">
                  <c:v>815.61999500000002</c:v>
                </c:pt>
                <c:pt idx="342">
                  <c:v>820.26000999999997</c:v>
                </c:pt>
                <c:pt idx="343">
                  <c:v>824.78002900000001</c:v>
                </c:pt>
                <c:pt idx="344">
                  <c:v>837.65997300000004</c:v>
                </c:pt>
                <c:pt idx="345">
                  <c:v>833.13000499999998</c:v>
                </c:pt>
                <c:pt idx="346">
                  <c:v>836.03997800000002</c:v>
                </c:pt>
                <c:pt idx="347">
                  <c:v>841.88000499999998</c:v>
                </c:pt>
                <c:pt idx="348">
                  <c:v>829.75</c:v>
                </c:pt>
                <c:pt idx="349">
                  <c:v>833.27002000000005</c:v>
                </c:pt>
                <c:pt idx="350">
                  <c:v>841.65997300000004</c:v>
                </c:pt>
                <c:pt idx="351">
                  <c:v>839.34997599999997</c:v>
                </c:pt>
                <c:pt idx="352">
                  <c:v>835.65997300000004</c:v>
                </c:pt>
                <c:pt idx="353">
                  <c:v>847.03002900000001</c:v>
                </c:pt>
                <c:pt idx="354">
                  <c:v>849.71002199999998</c:v>
                </c:pt>
                <c:pt idx="355">
                  <c:v>847.21002199999998</c:v>
                </c:pt>
                <c:pt idx="356">
                  <c:v>844.080017</c:v>
                </c:pt>
                <c:pt idx="357">
                  <c:v>848.28002900000001</c:v>
                </c:pt>
                <c:pt idx="358">
                  <c:v>846.35998500000005</c:v>
                </c:pt>
                <c:pt idx="359">
                  <c:v>845.47997999999995</c:v>
                </c:pt>
                <c:pt idx="360">
                  <c:v>840.10998500000005</c:v>
                </c:pt>
                <c:pt idx="361">
                  <c:v>843.42999299999997</c:v>
                </c:pt>
                <c:pt idx="362">
                  <c:v>858.01000999999997</c:v>
                </c:pt>
                <c:pt idx="363">
                  <c:v>862.90997300000004</c:v>
                </c:pt>
                <c:pt idx="364">
                  <c:v>865.27002000000005</c:v>
                </c:pt>
                <c:pt idx="365">
                  <c:v>869.57000700000003</c:v>
                </c:pt>
                <c:pt idx="366">
                  <c:v>883.46002199999998</c:v>
                </c:pt>
                <c:pt idx="367">
                  <c:v>893.27002000000005</c:v>
                </c:pt>
                <c:pt idx="368">
                  <c:v>893.90002400000003</c:v>
                </c:pt>
                <c:pt idx="369">
                  <c:v>894.419983</c:v>
                </c:pt>
                <c:pt idx="370">
                  <c:v>889.05999799999995</c:v>
                </c:pt>
                <c:pt idx="371">
                  <c:v>897.98999000000003</c:v>
                </c:pt>
                <c:pt idx="372">
                  <c:v>898.70001200000002</c:v>
                </c:pt>
                <c:pt idx="373">
                  <c:v>878.61999500000002</c:v>
                </c:pt>
                <c:pt idx="374">
                  <c:v>896.34002699999996</c:v>
                </c:pt>
                <c:pt idx="375">
                  <c:v>888.98999000000003</c:v>
                </c:pt>
                <c:pt idx="376">
                  <c:v>883.67999299999997</c:v>
                </c:pt>
                <c:pt idx="377">
                  <c:v>887.29998799999998</c:v>
                </c:pt>
                <c:pt idx="378">
                  <c:v>885.14001499999995</c:v>
                </c:pt>
                <c:pt idx="379">
                  <c:v>891.03002900000001</c:v>
                </c:pt>
                <c:pt idx="380">
                  <c:v>904.03002900000001</c:v>
                </c:pt>
                <c:pt idx="381">
                  <c:v>916.919983</c:v>
                </c:pt>
                <c:pt idx="382">
                  <c:v>912.20001200000002</c:v>
                </c:pt>
                <c:pt idx="383">
                  <c:v>918.75</c:v>
                </c:pt>
                <c:pt idx="384">
                  <c:v>907.53997800000002</c:v>
                </c:pt>
                <c:pt idx="385">
                  <c:v>913.78002900000001</c:v>
                </c:pt>
                <c:pt idx="386">
                  <c:v>916.67999299999997</c:v>
                </c:pt>
                <c:pt idx="387">
                  <c:v>918.38000499999998</c:v>
                </c:pt>
                <c:pt idx="388">
                  <c:v>925.76000999999997</c:v>
                </c:pt>
                <c:pt idx="389">
                  <c:v>936.59002699999996</c:v>
                </c:pt>
                <c:pt idx="390">
                  <c:v>931.60998500000005</c:v>
                </c:pt>
                <c:pt idx="391">
                  <c:v>915.29998799999998</c:v>
                </c:pt>
                <c:pt idx="392">
                  <c:v>912.94000200000005</c:v>
                </c:pt>
                <c:pt idx="393">
                  <c:v>933.97997999999995</c:v>
                </c:pt>
                <c:pt idx="394">
                  <c:v>936.55999799999995</c:v>
                </c:pt>
                <c:pt idx="395">
                  <c:v>940.29998799999998</c:v>
                </c:pt>
                <c:pt idx="396">
                  <c:v>938.78997800000002</c:v>
                </c:pt>
                <c:pt idx="397">
                  <c:v>936.45001200000002</c:v>
                </c:pt>
                <c:pt idx="398">
                  <c:v>942.28997800000002</c:v>
                </c:pt>
                <c:pt idx="399">
                  <c:v>952.28997800000002</c:v>
                </c:pt>
                <c:pt idx="400">
                  <c:v>954.30999799999995</c:v>
                </c:pt>
                <c:pt idx="401">
                  <c:v>947.14001499999995</c:v>
                </c:pt>
                <c:pt idx="402">
                  <c:v>950.29998799999998</c:v>
                </c:pt>
                <c:pt idx="403">
                  <c:v>952.36999500000002</c:v>
                </c:pt>
                <c:pt idx="404">
                  <c:v>960.32000700000003</c:v>
                </c:pt>
                <c:pt idx="405">
                  <c:v>951.19000200000005</c:v>
                </c:pt>
                <c:pt idx="406">
                  <c:v>933.53997800000002</c:v>
                </c:pt>
                <c:pt idx="407">
                  <c:v>937</c:v>
                </c:pt>
                <c:pt idx="408">
                  <c:v>926.53002900000001</c:v>
                </c:pt>
                <c:pt idx="409">
                  <c:v>922.02002000000005</c:v>
                </c:pt>
                <c:pt idx="410">
                  <c:v>924.77002000000005</c:v>
                </c:pt>
                <c:pt idx="411">
                  <c:v>900.80999799999995</c:v>
                </c:pt>
                <c:pt idx="412">
                  <c:v>912.48999000000003</c:v>
                </c:pt>
                <c:pt idx="413">
                  <c:v>926.01000999999997</c:v>
                </c:pt>
                <c:pt idx="414">
                  <c:v>939.34997599999997</c:v>
                </c:pt>
                <c:pt idx="415">
                  <c:v>925.04998799999998</c:v>
                </c:pt>
                <c:pt idx="416">
                  <c:v>923.53997800000002</c:v>
                </c:pt>
                <c:pt idx="417">
                  <c:v>920.15997300000004</c:v>
                </c:pt>
                <c:pt idx="418">
                  <c:v>913.02002000000005</c:v>
                </c:pt>
                <c:pt idx="419">
                  <c:v>913.70001200000002</c:v>
                </c:pt>
                <c:pt idx="420">
                  <c:v>903.669983</c:v>
                </c:pt>
                <c:pt idx="421">
                  <c:v>899.46997099999999</c:v>
                </c:pt>
                <c:pt idx="422">
                  <c:v>927.580017</c:v>
                </c:pt>
                <c:pt idx="423">
                  <c:v>927.85998500000005</c:v>
                </c:pt>
                <c:pt idx="424">
                  <c:v>930.86999500000002</c:v>
                </c:pt>
                <c:pt idx="425">
                  <c:v>929.04998799999998</c:v>
                </c:pt>
                <c:pt idx="426">
                  <c:v>931.20001200000002</c:v>
                </c:pt>
                <c:pt idx="427">
                  <c:v>933.61999500000002</c:v>
                </c:pt>
                <c:pt idx="428">
                  <c:v>919.03002900000001</c:v>
                </c:pt>
                <c:pt idx="429">
                  <c:v>912.59002699999996</c:v>
                </c:pt>
                <c:pt idx="430">
                  <c:v>923.90997300000004</c:v>
                </c:pt>
                <c:pt idx="431">
                  <c:v>919.77002000000005</c:v>
                </c:pt>
                <c:pt idx="432">
                  <c:v>945.64001499999995</c:v>
                </c:pt>
                <c:pt idx="433">
                  <c:v>943</c:v>
                </c:pt>
                <c:pt idx="434">
                  <c:v>947.28997800000002</c:v>
                </c:pt>
                <c:pt idx="435">
                  <c:v>950.51000999999997</c:v>
                </c:pt>
                <c:pt idx="436">
                  <c:v>955.42999299999997</c:v>
                </c:pt>
                <c:pt idx="437">
                  <c:v>951.92999299999997</c:v>
                </c:pt>
                <c:pt idx="438">
                  <c:v>944.47997999999995</c:v>
                </c:pt>
                <c:pt idx="439">
                  <c:v>937.90997300000004</c:v>
                </c:pt>
                <c:pt idx="440">
                  <c:v>945.21997099999999</c:v>
                </c:pt>
                <c:pt idx="441">
                  <c:v>953.34002699999996</c:v>
                </c:pt>
                <c:pt idx="442">
                  <c:v>947.28002900000001</c:v>
                </c:pt>
                <c:pt idx="443">
                  <c:v>955.40997300000004</c:v>
                </c:pt>
                <c:pt idx="444">
                  <c:v>960.46002199999998</c:v>
                </c:pt>
                <c:pt idx="445">
                  <c:v>965.03002900000001</c:v>
                </c:pt>
                <c:pt idx="446">
                  <c:v>972.69000200000005</c:v>
                </c:pt>
                <c:pt idx="447">
                  <c:v>983.11999500000002</c:v>
                </c:pt>
                <c:pt idx="448">
                  <c:v>973.84002699999996</c:v>
                </c:pt>
                <c:pt idx="449">
                  <c:v>970.61999500000002</c:v>
                </c:pt>
                <c:pt idx="450">
                  <c:v>966.97997999999995</c:v>
                </c:pt>
                <c:pt idx="451">
                  <c:v>968.09997599999997</c:v>
                </c:pt>
                <c:pt idx="452">
                  <c:v>970.28002900000001</c:v>
                </c:pt>
                <c:pt idx="453">
                  <c:v>965.71997099999999</c:v>
                </c:pt>
                <c:pt idx="454">
                  <c:v>955.25</c:v>
                </c:pt>
                <c:pt idx="455">
                  <c:v>944.15997300000004</c:v>
                </c:pt>
                <c:pt idx="456">
                  <c:v>955.60998500000005</c:v>
                </c:pt>
                <c:pt idx="457">
                  <c:v>972.28002900000001</c:v>
                </c:pt>
                <c:pt idx="458">
                  <c:v>968.48999000000003</c:v>
                </c:pt>
                <c:pt idx="459">
                  <c:v>950.69000200000005</c:v>
                </c:pt>
                <c:pt idx="460">
                  <c:v>941.64001499999995</c:v>
                </c:pt>
                <c:pt idx="461">
                  <c:v>876.98999000000003</c:v>
                </c:pt>
                <c:pt idx="462">
                  <c:v>921.84997599999997</c:v>
                </c:pt>
                <c:pt idx="463">
                  <c:v>919.15997300000004</c:v>
                </c:pt>
                <c:pt idx="464">
                  <c:v>903.67999299999997</c:v>
                </c:pt>
                <c:pt idx="465">
                  <c:v>914.61999500000002</c:v>
                </c:pt>
                <c:pt idx="466">
                  <c:v>938.98999000000003</c:v>
                </c:pt>
                <c:pt idx="467">
                  <c:v>940.76000999999997</c:v>
                </c:pt>
                <c:pt idx="468">
                  <c:v>942.76000999999997</c:v>
                </c:pt>
                <c:pt idx="469">
                  <c:v>938.03002900000001</c:v>
                </c:pt>
                <c:pt idx="470">
                  <c:v>927.51000999999997</c:v>
                </c:pt>
                <c:pt idx="471">
                  <c:v>921.13000499999998</c:v>
                </c:pt>
                <c:pt idx="472">
                  <c:v>923.78002900000001</c:v>
                </c:pt>
                <c:pt idx="473">
                  <c:v>905.96002199999998</c:v>
                </c:pt>
                <c:pt idx="474">
                  <c:v>916.65997300000004</c:v>
                </c:pt>
                <c:pt idx="475">
                  <c:v>928.34997599999997</c:v>
                </c:pt>
                <c:pt idx="476">
                  <c:v>946.20001200000002</c:v>
                </c:pt>
                <c:pt idx="477">
                  <c:v>938.22997999999995</c:v>
                </c:pt>
                <c:pt idx="478">
                  <c:v>944.59002699999996</c:v>
                </c:pt>
                <c:pt idx="479">
                  <c:v>958.97997999999995</c:v>
                </c:pt>
                <c:pt idx="480">
                  <c:v>963.09002699999996</c:v>
                </c:pt>
                <c:pt idx="481">
                  <c:v>946.669983</c:v>
                </c:pt>
                <c:pt idx="482">
                  <c:v>950.82000700000003</c:v>
                </c:pt>
                <c:pt idx="483">
                  <c:v>951.64001499999995</c:v>
                </c:pt>
                <c:pt idx="484">
                  <c:v>955.40002400000003</c:v>
                </c:pt>
                <c:pt idx="485">
                  <c:v>974.77002000000005</c:v>
                </c:pt>
                <c:pt idx="486">
                  <c:v>971.67999299999997</c:v>
                </c:pt>
                <c:pt idx="487">
                  <c:v>976.77002000000005</c:v>
                </c:pt>
                <c:pt idx="488">
                  <c:v>973.09997599999997</c:v>
                </c:pt>
                <c:pt idx="489">
                  <c:v>983.78997800000002</c:v>
                </c:pt>
                <c:pt idx="490">
                  <c:v>982.36999500000002</c:v>
                </c:pt>
                <c:pt idx="491">
                  <c:v>975.78002900000001</c:v>
                </c:pt>
                <c:pt idx="492">
                  <c:v>969.78997800000002</c:v>
                </c:pt>
                <c:pt idx="493">
                  <c:v>954.94000200000005</c:v>
                </c:pt>
                <c:pt idx="494">
                  <c:v>953.39001499999995</c:v>
                </c:pt>
                <c:pt idx="495">
                  <c:v>963.39001499999995</c:v>
                </c:pt>
                <c:pt idx="496">
                  <c:v>968.03997800000002</c:v>
                </c:pt>
                <c:pt idx="497">
                  <c:v>965.53997800000002</c:v>
                </c:pt>
                <c:pt idx="498">
                  <c:v>955.29998799999998</c:v>
                </c:pt>
                <c:pt idx="499">
                  <c:v>946.78002900000001</c:v>
                </c:pt>
                <c:pt idx="500">
                  <c:v>953.70001200000002</c:v>
                </c:pt>
                <c:pt idx="501">
                  <c:v>939.13000499999998</c:v>
                </c:pt>
                <c:pt idx="502">
                  <c:v>932.70001200000002</c:v>
                </c:pt>
                <c:pt idx="503">
                  <c:v>936.46002199999998</c:v>
                </c:pt>
                <c:pt idx="504">
                  <c:v>953.34997599999997</c:v>
                </c:pt>
                <c:pt idx="505">
                  <c:v>970.84002699999996</c:v>
                </c:pt>
                <c:pt idx="506">
                  <c:v>970.42999299999997</c:v>
                </c:pt>
                <c:pt idx="507">
                  <c:v>975.03997800000002</c:v>
                </c:pt>
                <c:pt idx="508">
                  <c:v>977.07000700000003</c:v>
                </c:pt>
                <c:pt idx="509">
                  <c:v>966.580017</c:v>
                </c:pt>
                <c:pt idx="510">
                  <c:v>964</c:v>
                </c:pt>
                <c:pt idx="511">
                  <c:v>956.04998799999998</c:v>
                </c:pt>
                <c:pt idx="512">
                  <c:v>927.69000200000005</c:v>
                </c:pt>
                <c:pt idx="513">
                  <c:v>939.21002199999998</c:v>
                </c:pt>
                <c:pt idx="514">
                  <c:v>952.11999500000002</c:v>
                </c:pt>
                <c:pt idx="515">
                  <c:v>957.94000200000005</c:v>
                </c:pt>
                <c:pt idx="516">
                  <c:v>950.72997999999995</c:v>
                </c:pt>
                <c:pt idx="517">
                  <c:v>961.51000999999997</c:v>
                </c:pt>
                <c:pt idx="518">
                  <c:v>978.59997599999997</c:v>
                </c:pt>
                <c:pt idx="519">
                  <c:v>970.80999799999995</c:v>
                </c:pt>
                <c:pt idx="520">
                  <c:v>963.03997800000002</c:v>
                </c:pt>
                <c:pt idx="521">
                  <c:v>957.59002699999996</c:v>
                </c:pt>
                <c:pt idx="522">
                  <c:v>956.95001200000002</c:v>
                </c:pt>
                <c:pt idx="523">
                  <c:v>969.02002000000005</c:v>
                </c:pt>
                <c:pt idx="524">
                  <c:v>977.46002199999998</c:v>
                </c:pt>
                <c:pt idx="525">
                  <c:v>985.48999000000003</c:v>
                </c:pt>
                <c:pt idx="526">
                  <c:v>980.28002900000001</c:v>
                </c:pt>
                <c:pt idx="527">
                  <c:v>1001.27002</c:v>
                </c:pt>
                <c:pt idx="528">
                  <c:v>1006</c:v>
                </c:pt>
                <c:pt idx="529">
                  <c:v>1006.900024</c:v>
                </c:pt>
                <c:pt idx="530">
                  <c:v>1003.539978</c:v>
                </c:pt>
                <c:pt idx="531">
                  <c:v>1012.460022</c:v>
                </c:pt>
                <c:pt idx="532">
                  <c:v>1010.73999</c:v>
                </c:pt>
                <c:pt idx="533">
                  <c:v>1019.01001</c:v>
                </c:pt>
                <c:pt idx="534">
                  <c:v>1020.01001</c:v>
                </c:pt>
                <c:pt idx="535">
                  <c:v>1024.1400149999999</c:v>
                </c:pt>
                <c:pt idx="536">
                  <c:v>1020.090027</c:v>
                </c:pt>
                <c:pt idx="537">
                  <c:v>1022.76001</c:v>
                </c:pt>
                <c:pt idx="538">
                  <c:v>1032.079956</c:v>
                </c:pt>
                <c:pt idx="539">
                  <c:v>1028.280029</c:v>
                </c:pt>
                <c:pt idx="540">
                  <c:v>1034.209961</c:v>
                </c:pt>
                <c:pt idx="541">
                  <c:v>1038.1400149999999</c:v>
                </c:pt>
                <c:pt idx="542">
                  <c:v>1030.5600589999999</c:v>
                </c:pt>
                <c:pt idx="543">
                  <c:v>1042.900024</c:v>
                </c:pt>
                <c:pt idx="544">
                  <c:v>1048.670044</c:v>
                </c:pt>
                <c:pt idx="545">
                  <c:v>1049.339966</c:v>
                </c:pt>
                <c:pt idx="546">
                  <c:v>1047.6999510000001</c:v>
                </c:pt>
                <c:pt idx="547">
                  <c:v>1052.0200199999999</c:v>
                </c:pt>
                <c:pt idx="548">
                  <c:v>1047.329956</c:v>
                </c:pt>
                <c:pt idx="549">
                  <c:v>1035.0500489999999</c:v>
                </c:pt>
                <c:pt idx="550">
                  <c:v>1055.6899410000001</c:v>
                </c:pt>
                <c:pt idx="551">
                  <c:v>1052.3100589999999</c:v>
                </c:pt>
                <c:pt idx="552">
                  <c:v>1064.25</c:v>
                </c:pt>
                <c:pt idx="553">
                  <c:v>1068.469971</c:v>
                </c:pt>
                <c:pt idx="554">
                  <c:v>1069.920044</c:v>
                </c:pt>
                <c:pt idx="555">
                  <c:v>1068.6099850000001</c:v>
                </c:pt>
                <c:pt idx="556">
                  <c:v>1079.2700199999999</c:v>
                </c:pt>
                <c:pt idx="557">
                  <c:v>1080.4499510000001</c:v>
                </c:pt>
                <c:pt idx="558">
                  <c:v>1085.5200199999999</c:v>
                </c:pt>
                <c:pt idx="559">
                  <c:v>1089.73999</c:v>
                </c:pt>
                <c:pt idx="560">
                  <c:v>1099.160034</c:v>
                </c:pt>
                <c:pt idx="561">
                  <c:v>1095.5500489999999</c:v>
                </c:pt>
                <c:pt idx="562">
                  <c:v>1105.650024</c:v>
                </c:pt>
                <c:pt idx="563">
                  <c:v>1101.9300539999999</c:v>
                </c:pt>
                <c:pt idx="564">
                  <c:v>1100.8000489999999</c:v>
                </c:pt>
                <c:pt idx="565">
                  <c:v>1095.4399410000001</c:v>
                </c:pt>
                <c:pt idx="566">
                  <c:v>1093.599976</c:v>
                </c:pt>
                <c:pt idx="567">
                  <c:v>1101.75</c:v>
                </c:pt>
                <c:pt idx="568">
                  <c:v>1108.150024</c:v>
                </c:pt>
                <c:pt idx="569">
                  <c:v>1120.01001</c:v>
                </c:pt>
                <c:pt idx="570">
                  <c:v>1122.6999510000001</c:v>
                </c:pt>
                <c:pt idx="571">
                  <c:v>1121.380005</c:v>
                </c:pt>
                <c:pt idx="572">
                  <c:v>1109.5500489999999</c:v>
                </c:pt>
                <c:pt idx="573">
                  <c:v>1101.650024</c:v>
                </c:pt>
                <c:pt idx="574">
                  <c:v>1110.670044</c:v>
                </c:pt>
                <c:pt idx="575">
                  <c:v>1109.6899410000001</c:v>
                </c:pt>
                <c:pt idx="576">
                  <c:v>1115.75</c:v>
                </c:pt>
                <c:pt idx="577">
                  <c:v>1119.3199460000001</c:v>
                </c:pt>
                <c:pt idx="578">
                  <c:v>1108.170044</c:v>
                </c:pt>
                <c:pt idx="579">
                  <c:v>1122.719971</c:v>
                </c:pt>
                <c:pt idx="580">
                  <c:v>1123.650024</c:v>
                </c:pt>
                <c:pt idx="581">
                  <c:v>1126.670044</c:v>
                </c:pt>
                <c:pt idx="582">
                  <c:v>1130.540039</c:v>
                </c:pt>
                <c:pt idx="583">
                  <c:v>1119.579956</c:v>
                </c:pt>
                <c:pt idx="584">
                  <c:v>1107.900024</c:v>
                </c:pt>
                <c:pt idx="585">
                  <c:v>1086.540039</c:v>
                </c:pt>
                <c:pt idx="586">
                  <c:v>1085.1099850000001</c:v>
                </c:pt>
                <c:pt idx="587">
                  <c:v>1094.619995</c:v>
                </c:pt>
                <c:pt idx="588">
                  <c:v>1111.75</c:v>
                </c:pt>
                <c:pt idx="589">
                  <c:v>1121</c:v>
                </c:pt>
                <c:pt idx="590">
                  <c:v>1122.0699460000001</c:v>
                </c:pt>
                <c:pt idx="591">
                  <c:v>1115.5</c:v>
                </c:pt>
                <c:pt idx="592">
                  <c:v>1104.920044</c:v>
                </c:pt>
                <c:pt idx="593">
                  <c:v>1095.1400149999999</c:v>
                </c:pt>
                <c:pt idx="594">
                  <c:v>1108.1400149999999</c:v>
                </c:pt>
                <c:pt idx="595">
                  <c:v>1106.6400149999999</c:v>
                </c:pt>
                <c:pt idx="596">
                  <c:v>1115.790039</c:v>
                </c:pt>
                <c:pt idx="597">
                  <c:v>1118.8599850000001</c:v>
                </c:pt>
                <c:pt idx="598">
                  <c:v>1117.369995</c:v>
                </c:pt>
                <c:pt idx="599">
                  <c:v>1108.7299800000001</c:v>
                </c:pt>
                <c:pt idx="600">
                  <c:v>1105.8199460000001</c:v>
                </c:pt>
                <c:pt idx="601">
                  <c:v>1109.5200199999999</c:v>
                </c:pt>
                <c:pt idx="602">
                  <c:v>1119.0600589999999</c:v>
                </c:pt>
                <c:pt idx="603">
                  <c:v>1114.6400149999999</c:v>
                </c:pt>
                <c:pt idx="604">
                  <c:v>1110.469971</c:v>
                </c:pt>
                <c:pt idx="605">
                  <c:v>1094.0200199999999</c:v>
                </c:pt>
                <c:pt idx="606">
                  <c:v>1092.2299800000001</c:v>
                </c:pt>
                <c:pt idx="607">
                  <c:v>1097.599976</c:v>
                </c:pt>
                <c:pt idx="608">
                  <c:v>1090.8199460000001</c:v>
                </c:pt>
                <c:pt idx="609">
                  <c:v>1090.9799800000001</c:v>
                </c:pt>
                <c:pt idx="610">
                  <c:v>1093.219971</c:v>
                </c:pt>
                <c:pt idx="611">
                  <c:v>1082.7299800000001</c:v>
                </c:pt>
                <c:pt idx="612">
                  <c:v>1094.829956</c:v>
                </c:pt>
                <c:pt idx="613">
                  <c:v>1113.8599850000001</c:v>
                </c:pt>
                <c:pt idx="614">
                  <c:v>1115.719971</c:v>
                </c:pt>
                <c:pt idx="615">
                  <c:v>1118.410034</c:v>
                </c:pt>
                <c:pt idx="616">
                  <c:v>1112.280029</c:v>
                </c:pt>
                <c:pt idx="617">
                  <c:v>1094.579956</c:v>
                </c:pt>
                <c:pt idx="618">
                  <c:v>1098.839966</c:v>
                </c:pt>
                <c:pt idx="619">
                  <c:v>1077.01001</c:v>
                </c:pt>
                <c:pt idx="620">
                  <c:v>1087.589966</c:v>
                </c:pt>
                <c:pt idx="621">
                  <c:v>1107.1099850000001</c:v>
                </c:pt>
                <c:pt idx="622">
                  <c:v>1106.369995</c:v>
                </c:pt>
                <c:pt idx="623">
                  <c:v>1100.650024</c:v>
                </c:pt>
                <c:pt idx="624">
                  <c:v>1103.209961</c:v>
                </c:pt>
                <c:pt idx="625">
                  <c:v>1119.48999</c:v>
                </c:pt>
                <c:pt idx="626">
                  <c:v>1132.880005</c:v>
                </c:pt>
                <c:pt idx="627">
                  <c:v>1129.280029</c:v>
                </c:pt>
                <c:pt idx="628">
                  <c:v>1133.1999510000001</c:v>
                </c:pt>
                <c:pt idx="629">
                  <c:v>1138.48999</c:v>
                </c:pt>
                <c:pt idx="630">
                  <c:v>1133.839966</c:v>
                </c:pt>
                <c:pt idx="631">
                  <c:v>1148.5600589999999</c:v>
                </c:pt>
                <c:pt idx="632">
                  <c:v>1146.420044</c:v>
                </c:pt>
                <c:pt idx="633">
                  <c:v>1157.329956</c:v>
                </c:pt>
                <c:pt idx="634">
                  <c:v>1154.660034</c:v>
                </c:pt>
                <c:pt idx="635">
                  <c:v>1166.380005</c:v>
                </c:pt>
                <c:pt idx="636">
                  <c:v>1158.5600589999999</c:v>
                </c:pt>
                <c:pt idx="637">
                  <c:v>1164.329956</c:v>
                </c:pt>
                <c:pt idx="638">
                  <c:v>1165.1899410000001</c:v>
                </c:pt>
                <c:pt idx="639">
                  <c:v>1177.579956</c:v>
                </c:pt>
                <c:pt idx="640">
                  <c:v>1174.8100589999999</c:v>
                </c:pt>
                <c:pt idx="641">
                  <c:v>1183.98999</c:v>
                </c:pt>
                <c:pt idx="642">
                  <c:v>1186.75</c:v>
                </c:pt>
                <c:pt idx="643">
                  <c:v>1184.099976</c:v>
                </c:pt>
                <c:pt idx="644">
                  <c:v>1165.0699460000001</c:v>
                </c:pt>
                <c:pt idx="645">
                  <c:v>1164.079956</c:v>
                </c:pt>
                <c:pt idx="646">
                  <c:v>1139.75</c:v>
                </c:pt>
                <c:pt idx="647">
                  <c:v>1140.8000489999999</c:v>
                </c:pt>
                <c:pt idx="648">
                  <c:v>1147.2700199999999</c:v>
                </c:pt>
                <c:pt idx="649">
                  <c:v>1130.23999</c:v>
                </c:pt>
                <c:pt idx="650">
                  <c:v>1125.209961</c:v>
                </c:pt>
                <c:pt idx="651">
                  <c:v>1142.9499510000001</c:v>
                </c:pt>
                <c:pt idx="652">
                  <c:v>1120.670044</c:v>
                </c:pt>
                <c:pt idx="653">
                  <c:v>1112.4399410000001</c:v>
                </c:pt>
                <c:pt idx="654">
                  <c:v>1072.119995</c:v>
                </c:pt>
                <c:pt idx="655">
                  <c:v>1081.4300539999999</c:v>
                </c:pt>
                <c:pt idx="656">
                  <c:v>1089.630005</c:v>
                </c:pt>
                <c:pt idx="657">
                  <c:v>1089.4499510000001</c:v>
                </c:pt>
                <c:pt idx="658">
                  <c:v>1083.1400149999999</c:v>
                </c:pt>
                <c:pt idx="659">
                  <c:v>1068.9799800000001</c:v>
                </c:pt>
                <c:pt idx="660">
                  <c:v>1084.219971</c:v>
                </c:pt>
                <c:pt idx="661">
                  <c:v>1074.910034</c:v>
                </c:pt>
                <c:pt idx="662">
                  <c:v>1062.75</c:v>
                </c:pt>
                <c:pt idx="663">
                  <c:v>1083.670044</c:v>
                </c:pt>
                <c:pt idx="664">
                  <c:v>1101.1999510000001</c:v>
                </c:pt>
                <c:pt idx="665">
                  <c:v>1098.0600589999999</c:v>
                </c:pt>
                <c:pt idx="666">
                  <c:v>1091.599976</c:v>
                </c:pt>
                <c:pt idx="667">
                  <c:v>1081.23999</c:v>
                </c:pt>
                <c:pt idx="668">
                  <c:v>1088.1400149999999</c:v>
                </c:pt>
                <c:pt idx="669">
                  <c:v>1092.849976</c:v>
                </c:pt>
                <c:pt idx="670">
                  <c:v>1084.1899410000001</c:v>
                </c:pt>
                <c:pt idx="671">
                  <c:v>1042.589966</c:v>
                </c:pt>
                <c:pt idx="672">
                  <c:v>1027.1400149999999</c:v>
                </c:pt>
                <c:pt idx="673">
                  <c:v>957.28002900000001</c:v>
                </c:pt>
                <c:pt idx="674">
                  <c:v>994.26000999999997</c:v>
                </c:pt>
                <c:pt idx="675">
                  <c:v>990.47997999999995</c:v>
                </c:pt>
                <c:pt idx="676">
                  <c:v>982.26000999999997</c:v>
                </c:pt>
                <c:pt idx="677">
                  <c:v>973.89001499999995</c:v>
                </c:pt>
                <c:pt idx="678">
                  <c:v>1023.460022</c:v>
                </c:pt>
                <c:pt idx="679">
                  <c:v>1006.200012</c:v>
                </c:pt>
                <c:pt idx="680">
                  <c:v>980.19000200000005</c:v>
                </c:pt>
                <c:pt idx="681">
                  <c:v>1009.059998</c:v>
                </c:pt>
                <c:pt idx="682">
                  <c:v>1029.719971</c:v>
                </c:pt>
                <c:pt idx="683">
                  <c:v>1037.6800539999999</c:v>
                </c:pt>
                <c:pt idx="684">
                  <c:v>1045.4799800000001</c:v>
                </c:pt>
                <c:pt idx="685">
                  <c:v>1018.869995</c:v>
                </c:pt>
                <c:pt idx="686">
                  <c:v>1020.090027</c:v>
                </c:pt>
                <c:pt idx="687">
                  <c:v>1023.8900149999999</c:v>
                </c:pt>
                <c:pt idx="688">
                  <c:v>1029.630005</c:v>
                </c:pt>
                <c:pt idx="689">
                  <c:v>1066.089966</c:v>
                </c:pt>
                <c:pt idx="690">
                  <c:v>1042.719971</c:v>
                </c:pt>
                <c:pt idx="691">
                  <c:v>1044.75</c:v>
                </c:pt>
                <c:pt idx="692">
                  <c:v>1048.6899410000001</c:v>
                </c:pt>
                <c:pt idx="693">
                  <c:v>1049.0200199999999</c:v>
                </c:pt>
                <c:pt idx="694">
                  <c:v>1017.01001</c:v>
                </c:pt>
                <c:pt idx="695">
                  <c:v>986.39001499999995</c:v>
                </c:pt>
                <c:pt idx="696">
                  <c:v>1002.599976</c:v>
                </c:pt>
                <c:pt idx="697">
                  <c:v>988.55999799999995</c:v>
                </c:pt>
                <c:pt idx="698">
                  <c:v>984.59002699999996</c:v>
                </c:pt>
                <c:pt idx="699">
                  <c:v>970.67999299999997</c:v>
                </c:pt>
                <c:pt idx="700">
                  <c:v>959.44000200000005</c:v>
                </c:pt>
                <c:pt idx="701">
                  <c:v>984.39001499999995</c:v>
                </c:pt>
                <c:pt idx="702">
                  <c:v>997.71002199999998</c:v>
                </c:pt>
                <c:pt idx="703">
                  <c:v>994.79998799999998</c:v>
                </c:pt>
                <c:pt idx="704">
                  <c:v>1005.530029</c:v>
                </c:pt>
                <c:pt idx="705">
                  <c:v>1047.48999</c:v>
                </c:pt>
                <c:pt idx="706">
                  <c:v>1056.420044</c:v>
                </c:pt>
                <c:pt idx="707">
                  <c:v>1062.3900149999999</c:v>
                </c:pt>
                <c:pt idx="708">
                  <c:v>1063.9300539999999</c:v>
                </c:pt>
                <c:pt idx="709">
                  <c:v>1069.920044</c:v>
                </c:pt>
                <c:pt idx="710">
                  <c:v>1078.4799800000001</c:v>
                </c:pt>
                <c:pt idx="711">
                  <c:v>1070.670044</c:v>
                </c:pt>
                <c:pt idx="712">
                  <c:v>1072.3199460000001</c:v>
                </c:pt>
                <c:pt idx="713">
                  <c:v>1065.339966</c:v>
                </c:pt>
                <c:pt idx="714">
                  <c:v>1068.089966</c:v>
                </c:pt>
                <c:pt idx="715">
                  <c:v>1085.9300539999999</c:v>
                </c:pt>
                <c:pt idx="716">
                  <c:v>1098.670044</c:v>
                </c:pt>
                <c:pt idx="717">
                  <c:v>1111.599976</c:v>
                </c:pt>
                <c:pt idx="718">
                  <c:v>1110.839966</c:v>
                </c:pt>
                <c:pt idx="719">
                  <c:v>1118.670044</c:v>
                </c:pt>
                <c:pt idx="720">
                  <c:v>1133.849976</c:v>
                </c:pt>
                <c:pt idx="721">
                  <c:v>1141.01001</c:v>
                </c:pt>
                <c:pt idx="722">
                  <c:v>1130.1999510000001</c:v>
                </c:pt>
                <c:pt idx="723">
                  <c:v>1128.26001</c:v>
                </c:pt>
                <c:pt idx="724">
                  <c:v>1120.969971</c:v>
                </c:pt>
                <c:pt idx="725">
                  <c:v>1117.6899410000001</c:v>
                </c:pt>
                <c:pt idx="726">
                  <c:v>1125.719971</c:v>
                </c:pt>
                <c:pt idx="727">
                  <c:v>1135.869995</c:v>
                </c:pt>
                <c:pt idx="728">
                  <c:v>1139.3199460000001</c:v>
                </c:pt>
                <c:pt idx="729">
                  <c:v>1144.4799800000001</c:v>
                </c:pt>
                <c:pt idx="730">
                  <c:v>1152.6099850000001</c:v>
                </c:pt>
                <c:pt idx="731">
                  <c:v>1163.5500489999999</c:v>
                </c:pt>
                <c:pt idx="732">
                  <c:v>1188.209961</c:v>
                </c:pt>
                <c:pt idx="733">
                  <c:v>1182.98999</c:v>
                </c:pt>
                <c:pt idx="734">
                  <c:v>1186.869995</c:v>
                </c:pt>
                <c:pt idx="735">
                  <c:v>1192.329956</c:v>
                </c:pt>
                <c:pt idx="736">
                  <c:v>1163.630005</c:v>
                </c:pt>
                <c:pt idx="737">
                  <c:v>1175.280029</c:v>
                </c:pt>
                <c:pt idx="738">
                  <c:v>1171.25</c:v>
                </c:pt>
                <c:pt idx="739">
                  <c:v>1150.1400149999999</c:v>
                </c:pt>
                <c:pt idx="740">
                  <c:v>1176.73999</c:v>
                </c:pt>
                <c:pt idx="741">
                  <c:v>1187.6999510000001</c:v>
                </c:pt>
                <c:pt idx="742">
                  <c:v>1181.380005</c:v>
                </c:pt>
                <c:pt idx="743">
                  <c:v>1183.48999</c:v>
                </c:pt>
                <c:pt idx="744">
                  <c:v>1165.0200199999999</c:v>
                </c:pt>
                <c:pt idx="745">
                  <c:v>1166.459961</c:v>
                </c:pt>
                <c:pt idx="746">
                  <c:v>1141.1999510000001</c:v>
                </c:pt>
                <c:pt idx="747">
                  <c:v>1162.829956</c:v>
                </c:pt>
                <c:pt idx="748">
                  <c:v>1161.9399410000001</c:v>
                </c:pt>
                <c:pt idx="749">
                  <c:v>1179.9799800000001</c:v>
                </c:pt>
                <c:pt idx="750">
                  <c:v>1188.030029</c:v>
                </c:pt>
                <c:pt idx="751">
                  <c:v>1202.839966</c:v>
                </c:pt>
                <c:pt idx="752">
                  <c:v>1203.5699460000001</c:v>
                </c:pt>
                <c:pt idx="753">
                  <c:v>1228.540039</c:v>
                </c:pt>
                <c:pt idx="754">
                  <c:v>1226.2700199999999</c:v>
                </c:pt>
                <c:pt idx="755">
                  <c:v>1225.48999</c:v>
                </c:pt>
                <c:pt idx="756">
                  <c:v>1241.8100589999999</c:v>
                </c:pt>
                <c:pt idx="757">
                  <c:v>1231.9300539999999</c:v>
                </c:pt>
                <c:pt idx="758">
                  <c:v>1229.2299800000001</c:v>
                </c:pt>
                <c:pt idx="759">
                  <c:v>1228.099976</c:v>
                </c:pt>
                <c:pt idx="760">
                  <c:v>1244.780029</c:v>
                </c:pt>
                <c:pt idx="761">
                  <c:v>1272.339966</c:v>
                </c:pt>
                <c:pt idx="762">
                  <c:v>1269.7299800000001</c:v>
                </c:pt>
                <c:pt idx="763">
                  <c:v>1275.089966</c:v>
                </c:pt>
                <c:pt idx="764">
                  <c:v>1263.880005</c:v>
                </c:pt>
                <c:pt idx="765">
                  <c:v>1239.51001</c:v>
                </c:pt>
                <c:pt idx="766">
                  <c:v>1234.400024</c:v>
                </c:pt>
                <c:pt idx="767">
                  <c:v>1212.1899410000001</c:v>
                </c:pt>
                <c:pt idx="768">
                  <c:v>1243.26001</c:v>
                </c:pt>
                <c:pt idx="769">
                  <c:v>1252</c:v>
                </c:pt>
                <c:pt idx="770">
                  <c:v>1256.619995</c:v>
                </c:pt>
                <c:pt idx="771">
                  <c:v>1235.160034</c:v>
                </c:pt>
                <c:pt idx="772">
                  <c:v>1225.1899410000001</c:v>
                </c:pt>
                <c:pt idx="773">
                  <c:v>1233.9799800000001</c:v>
                </c:pt>
                <c:pt idx="774">
                  <c:v>1252.3100589999999</c:v>
                </c:pt>
                <c:pt idx="775">
                  <c:v>1243.170044</c:v>
                </c:pt>
                <c:pt idx="776">
                  <c:v>1265.369995</c:v>
                </c:pt>
                <c:pt idx="777">
                  <c:v>1279.6400149999999</c:v>
                </c:pt>
                <c:pt idx="778">
                  <c:v>1273</c:v>
                </c:pt>
                <c:pt idx="779">
                  <c:v>1261.98999</c:v>
                </c:pt>
                <c:pt idx="780">
                  <c:v>1272.0699460000001</c:v>
                </c:pt>
                <c:pt idx="781">
                  <c:v>1248.48999</c:v>
                </c:pt>
                <c:pt idx="782">
                  <c:v>1239.400024</c:v>
                </c:pt>
                <c:pt idx="783">
                  <c:v>1243.7700199999999</c:v>
                </c:pt>
                <c:pt idx="784">
                  <c:v>1216.1400149999999</c:v>
                </c:pt>
                <c:pt idx="785">
                  <c:v>1223.5500489999999</c:v>
                </c:pt>
                <c:pt idx="786">
                  <c:v>1254.040039</c:v>
                </c:pt>
                <c:pt idx="787">
                  <c:v>1230.130005</c:v>
                </c:pt>
                <c:pt idx="788">
                  <c:v>1241.869995</c:v>
                </c:pt>
                <c:pt idx="789">
                  <c:v>1224.030029</c:v>
                </c:pt>
                <c:pt idx="790">
                  <c:v>1237.280029</c:v>
                </c:pt>
                <c:pt idx="791">
                  <c:v>1239.219971</c:v>
                </c:pt>
                <c:pt idx="792">
                  <c:v>1272.1400149999999</c:v>
                </c:pt>
                <c:pt idx="793">
                  <c:v>1271.1800539999999</c:v>
                </c:pt>
                <c:pt idx="794">
                  <c:v>1253.410034</c:v>
                </c:pt>
                <c:pt idx="795">
                  <c:v>1245.0200199999999</c:v>
                </c:pt>
                <c:pt idx="796">
                  <c:v>1238.329956</c:v>
                </c:pt>
                <c:pt idx="797">
                  <c:v>1236.160034</c:v>
                </c:pt>
                <c:pt idx="798">
                  <c:v>1225.5</c:v>
                </c:pt>
                <c:pt idx="799">
                  <c:v>1227.6999510000001</c:v>
                </c:pt>
                <c:pt idx="800">
                  <c:v>1246.6400149999999</c:v>
                </c:pt>
                <c:pt idx="801">
                  <c:v>1275.469971</c:v>
                </c:pt>
                <c:pt idx="802">
                  <c:v>1282.7299800000001</c:v>
                </c:pt>
                <c:pt idx="803">
                  <c:v>1279.839966</c:v>
                </c:pt>
                <c:pt idx="804">
                  <c:v>1286.839966</c:v>
                </c:pt>
                <c:pt idx="805">
                  <c:v>1297.6800539999999</c:v>
                </c:pt>
                <c:pt idx="806">
                  <c:v>1294.589966</c:v>
                </c:pt>
                <c:pt idx="807">
                  <c:v>1307.26001</c:v>
                </c:pt>
                <c:pt idx="808">
                  <c:v>1306.380005</c:v>
                </c:pt>
                <c:pt idx="809">
                  <c:v>1297.8199460000001</c:v>
                </c:pt>
                <c:pt idx="810">
                  <c:v>1316.5500489999999</c:v>
                </c:pt>
                <c:pt idx="811">
                  <c:v>1299.290039</c:v>
                </c:pt>
                <c:pt idx="812">
                  <c:v>1297.01001</c:v>
                </c:pt>
                <c:pt idx="813">
                  <c:v>1262.1400149999999</c:v>
                </c:pt>
                <c:pt idx="814">
                  <c:v>1268.589966</c:v>
                </c:pt>
                <c:pt idx="815">
                  <c:v>1289.98999</c:v>
                </c:pt>
                <c:pt idx="816">
                  <c:v>1282.8000489999999</c:v>
                </c:pt>
                <c:pt idx="817">
                  <c:v>1310.170044</c:v>
                </c:pt>
                <c:pt idx="818">
                  <c:v>1300.75</c:v>
                </c:pt>
                <c:pt idx="819">
                  <c:v>1286.369995</c:v>
                </c:pt>
                <c:pt idx="820">
                  <c:v>1293.719971</c:v>
                </c:pt>
                <c:pt idx="821">
                  <c:v>1321.119995</c:v>
                </c:pt>
                <c:pt idx="822">
                  <c:v>1317.8900149999999</c:v>
                </c:pt>
                <c:pt idx="823">
                  <c:v>1326.8900149999999</c:v>
                </c:pt>
                <c:pt idx="824">
                  <c:v>1343.9799800000001</c:v>
                </c:pt>
                <c:pt idx="825">
                  <c:v>1348.349976</c:v>
                </c:pt>
                <c:pt idx="826">
                  <c:v>1358.630005</c:v>
                </c:pt>
                <c:pt idx="827">
                  <c:v>1349.8199460000001</c:v>
                </c:pt>
                <c:pt idx="828">
                  <c:v>1328.4399410000001</c:v>
                </c:pt>
                <c:pt idx="829">
                  <c:v>1322.849976</c:v>
                </c:pt>
                <c:pt idx="830">
                  <c:v>1319</c:v>
                </c:pt>
                <c:pt idx="831">
                  <c:v>1289.4799800000001</c:v>
                </c:pt>
                <c:pt idx="832">
                  <c:v>1306.170044</c:v>
                </c:pt>
                <c:pt idx="833">
                  <c:v>1336.119995</c:v>
                </c:pt>
                <c:pt idx="834">
                  <c:v>1358.8199460000001</c:v>
                </c:pt>
                <c:pt idx="835">
                  <c:v>1356.849976</c:v>
                </c:pt>
                <c:pt idx="836">
                  <c:v>1360.040039</c:v>
                </c:pt>
                <c:pt idx="837">
                  <c:v>1362.8000489999999</c:v>
                </c:pt>
                <c:pt idx="838">
                  <c:v>1350.910034</c:v>
                </c:pt>
                <c:pt idx="839">
                  <c:v>1342.829956</c:v>
                </c:pt>
                <c:pt idx="840">
                  <c:v>1335.1800539999999</c:v>
                </c:pt>
                <c:pt idx="841">
                  <c:v>1354.630005</c:v>
                </c:pt>
                <c:pt idx="842">
                  <c:v>1332</c:v>
                </c:pt>
                <c:pt idx="843">
                  <c:v>1347.3100589999999</c:v>
                </c:pt>
                <c:pt idx="844">
                  <c:v>1332.0500489999999</c:v>
                </c:pt>
                <c:pt idx="845">
                  <c:v>1345</c:v>
                </c:pt>
                <c:pt idx="846">
                  <c:v>1340.3000489999999</c:v>
                </c:pt>
                <c:pt idx="847">
                  <c:v>1355.6099850000001</c:v>
                </c:pt>
                <c:pt idx="848">
                  <c:v>1364</c:v>
                </c:pt>
                <c:pt idx="849">
                  <c:v>1367.5600589999999</c:v>
                </c:pt>
                <c:pt idx="850">
                  <c:v>1337.8000489999999</c:v>
                </c:pt>
                <c:pt idx="851">
                  <c:v>1339.48999</c:v>
                </c:pt>
                <c:pt idx="852">
                  <c:v>1333.3199460000001</c:v>
                </c:pt>
                <c:pt idx="853">
                  <c:v>1344.2299800000001</c:v>
                </c:pt>
                <c:pt idx="854">
                  <c:v>1338.829956</c:v>
                </c:pt>
                <c:pt idx="855">
                  <c:v>1330.290039</c:v>
                </c:pt>
                <c:pt idx="856">
                  <c:v>1306.650024</c:v>
                </c:pt>
                <c:pt idx="857">
                  <c:v>1284.400024</c:v>
                </c:pt>
                <c:pt idx="858">
                  <c:v>1304.76001</c:v>
                </c:pt>
                <c:pt idx="859">
                  <c:v>1281.410034</c:v>
                </c:pt>
                <c:pt idx="860">
                  <c:v>1301.839966</c:v>
                </c:pt>
                <c:pt idx="861">
                  <c:v>1294.26001</c:v>
                </c:pt>
                <c:pt idx="862">
                  <c:v>1294.8100589999999</c:v>
                </c:pt>
                <c:pt idx="863">
                  <c:v>1299.540039</c:v>
                </c:pt>
                <c:pt idx="864">
                  <c:v>1327.75</c:v>
                </c:pt>
                <c:pt idx="865">
                  <c:v>1334.5200199999999</c:v>
                </c:pt>
                <c:pt idx="866">
                  <c:v>1317.329956</c:v>
                </c:pt>
                <c:pt idx="867">
                  <c:v>1318.6400149999999</c:v>
                </c:pt>
                <c:pt idx="868">
                  <c:v>1302.8199460000001</c:v>
                </c:pt>
                <c:pt idx="869">
                  <c:v>1293.6400149999999</c:v>
                </c:pt>
                <c:pt idx="870">
                  <c:v>1294</c:v>
                </c:pt>
                <c:pt idx="871">
                  <c:v>1301.160034</c:v>
                </c:pt>
                <c:pt idx="872">
                  <c:v>1330.410034</c:v>
                </c:pt>
                <c:pt idx="873">
                  <c:v>1339.900024</c:v>
                </c:pt>
                <c:pt idx="874">
                  <c:v>1342.839966</c:v>
                </c:pt>
                <c:pt idx="875">
                  <c:v>1349</c:v>
                </c:pt>
                <c:pt idx="876">
                  <c:v>1335.880005</c:v>
                </c:pt>
                <c:pt idx="877">
                  <c:v>1333.0600589999999</c:v>
                </c:pt>
                <c:pt idx="878">
                  <c:v>1315.780029</c:v>
                </c:pt>
                <c:pt idx="879">
                  <c:v>1315.3100589999999</c:v>
                </c:pt>
                <c:pt idx="880">
                  <c:v>1331.349976</c:v>
                </c:pt>
                <c:pt idx="881">
                  <c:v>1351.4499510000001</c:v>
                </c:pt>
                <c:pt idx="882">
                  <c:v>1372.709961</c:v>
                </c:pt>
                <c:pt idx="883">
                  <c:v>1380.959961</c:v>
                </c:pt>
                <c:pt idx="884">
                  <c:v>1391.219971</c:v>
                </c:pt>
                <c:pt idx="885">
                  <c:v>1388.119995</c:v>
                </c:pt>
                <c:pt idx="886">
                  <c:v>1395.8599850000001</c:v>
                </c:pt>
                <c:pt idx="887">
                  <c:v>1394.420044</c:v>
                </c:pt>
                <c:pt idx="888">
                  <c:v>1403.280029</c:v>
                </c:pt>
                <c:pt idx="889">
                  <c:v>1399.099976</c:v>
                </c:pt>
                <c:pt idx="890">
                  <c:v>1393.5600589999999</c:v>
                </c:pt>
                <c:pt idx="891">
                  <c:v>1398.170044</c:v>
                </c:pt>
                <c:pt idx="892">
                  <c:v>1409.619995</c:v>
                </c:pt>
                <c:pt idx="893">
                  <c:v>1418.780029</c:v>
                </c:pt>
                <c:pt idx="894">
                  <c:v>1407.650024</c:v>
                </c:pt>
                <c:pt idx="895">
                  <c:v>1377.099976</c:v>
                </c:pt>
                <c:pt idx="896">
                  <c:v>1379.290039</c:v>
                </c:pt>
                <c:pt idx="897">
                  <c:v>1360.969971</c:v>
                </c:pt>
                <c:pt idx="898">
                  <c:v>1356.9399410000001</c:v>
                </c:pt>
                <c:pt idx="899">
                  <c:v>1347.76001</c:v>
                </c:pt>
                <c:pt idx="900">
                  <c:v>1362.839966</c:v>
                </c:pt>
                <c:pt idx="901">
                  <c:v>1365.400024</c:v>
                </c:pt>
                <c:pt idx="902">
                  <c:v>1341.030029</c:v>
                </c:pt>
                <c:pt idx="903">
                  <c:v>1328.719971</c:v>
                </c:pt>
                <c:pt idx="904">
                  <c:v>1328.0500489999999</c:v>
                </c:pt>
                <c:pt idx="905">
                  <c:v>1322.1800539999999</c:v>
                </c:pt>
                <c:pt idx="906">
                  <c:v>1305.329956</c:v>
                </c:pt>
                <c:pt idx="907">
                  <c:v>1313.709961</c:v>
                </c:pt>
                <c:pt idx="908">
                  <c:v>1300.290039</c:v>
                </c:pt>
                <c:pt idx="909">
                  <c:v>1297.8000489999999</c:v>
                </c:pt>
                <c:pt idx="910">
                  <c:v>1281.4300539999999</c:v>
                </c:pt>
                <c:pt idx="911">
                  <c:v>1301.9300539999999</c:v>
                </c:pt>
                <c:pt idx="912">
                  <c:v>1298.160034</c:v>
                </c:pt>
                <c:pt idx="913">
                  <c:v>1327.6800539999999</c:v>
                </c:pt>
                <c:pt idx="914">
                  <c:v>1330.7700199999999</c:v>
                </c:pt>
                <c:pt idx="915">
                  <c:v>1344.160034</c:v>
                </c:pt>
                <c:pt idx="916">
                  <c:v>1332.839966</c:v>
                </c:pt>
                <c:pt idx="917">
                  <c:v>1323.589966</c:v>
                </c:pt>
                <c:pt idx="918">
                  <c:v>1336.6099850000001</c:v>
                </c:pt>
                <c:pt idx="919">
                  <c:v>1360.219971</c:v>
                </c:pt>
                <c:pt idx="920">
                  <c:v>1363.5</c:v>
                </c:pt>
                <c:pt idx="921">
                  <c:v>1381.790039</c:v>
                </c:pt>
                <c:pt idx="922">
                  <c:v>1362.01001</c:v>
                </c:pt>
                <c:pt idx="923">
                  <c:v>1348.2700199999999</c:v>
                </c:pt>
                <c:pt idx="924">
                  <c:v>1324.0200199999999</c:v>
                </c:pt>
                <c:pt idx="925">
                  <c:v>1320.410034</c:v>
                </c:pt>
                <c:pt idx="926">
                  <c:v>1331.0699460000001</c:v>
                </c:pt>
                <c:pt idx="927">
                  <c:v>1319.1099850000001</c:v>
                </c:pt>
                <c:pt idx="928">
                  <c:v>1357.23999</c:v>
                </c:pt>
                <c:pt idx="929">
                  <c:v>1350.4499510000001</c:v>
                </c:pt>
                <c:pt idx="930">
                  <c:v>1344.150024</c:v>
                </c:pt>
                <c:pt idx="931">
                  <c:v>1347.660034</c:v>
                </c:pt>
                <c:pt idx="932">
                  <c:v>1351.660034</c:v>
                </c:pt>
                <c:pt idx="933">
                  <c:v>1344.130005</c:v>
                </c:pt>
                <c:pt idx="934">
                  <c:v>1336.290039</c:v>
                </c:pt>
                <c:pt idx="935">
                  <c:v>1317.969971</c:v>
                </c:pt>
                <c:pt idx="936">
                  <c:v>1318.4799800000001</c:v>
                </c:pt>
                <c:pt idx="937">
                  <c:v>1335.420044</c:v>
                </c:pt>
                <c:pt idx="938">
                  <c:v>1335.530029</c:v>
                </c:pt>
                <c:pt idx="939">
                  <c:v>1307.579956</c:v>
                </c:pt>
                <c:pt idx="940">
                  <c:v>1310.51001</c:v>
                </c:pt>
                <c:pt idx="941">
                  <c:v>1280.410034</c:v>
                </c:pt>
                <c:pt idx="942">
                  <c:v>1277.3599850000001</c:v>
                </c:pt>
                <c:pt idx="943">
                  <c:v>1283.3100589999999</c:v>
                </c:pt>
                <c:pt idx="944">
                  <c:v>1282.1999510000001</c:v>
                </c:pt>
                <c:pt idx="945">
                  <c:v>1268.369995</c:v>
                </c:pt>
                <c:pt idx="946">
                  <c:v>1282.709961</c:v>
                </c:pt>
                <c:pt idx="947">
                  <c:v>1282.8100589999999</c:v>
                </c:pt>
                <c:pt idx="948">
                  <c:v>1304.599976</c:v>
                </c:pt>
                <c:pt idx="949">
                  <c:v>1301.349976</c:v>
                </c:pt>
                <c:pt idx="950">
                  <c:v>1325.400024</c:v>
                </c:pt>
                <c:pt idx="951">
                  <c:v>1317.6400149999999</c:v>
                </c:pt>
                <c:pt idx="952">
                  <c:v>1336.0200199999999</c:v>
                </c:pt>
                <c:pt idx="953">
                  <c:v>1335.209961</c:v>
                </c:pt>
                <c:pt idx="954">
                  <c:v>1313.040039</c:v>
                </c:pt>
                <c:pt idx="955">
                  <c:v>1285.5500489999999</c:v>
                </c:pt>
                <c:pt idx="956">
                  <c:v>1283.420044</c:v>
                </c:pt>
                <c:pt idx="957">
                  <c:v>1247.410034</c:v>
                </c:pt>
                <c:pt idx="958">
                  <c:v>1254.130005</c:v>
                </c:pt>
                <c:pt idx="959">
                  <c:v>1261.3199460000001</c:v>
                </c:pt>
                <c:pt idx="960">
                  <c:v>1289.4300539999999</c:v>
                </c:pt>
                <c:pt idx="961">
                  <c:v>1283.6099850000001</c:v>
                </c:pt>
                <c:pt idx="962">
                  <c:v>1301.650024</c:v>
                </c:pt>
                <c:pt idx="963">
                  <c:v>1293.630005</c:v>
                </c:pt>
                <c:pt idx="964">
                  <c:v>1281.910034</c:v>
                </c:pt>
                <c:pt idx="965">
                  <c:v>1296.709961</c:v>
                </c:pt>
                <c:pt idx="966">
                  <c:v>1342.4399410000001</c:v>
                </c:pt>
                <c:pt idx="967">
                  <c:v>1362.9300539999999</c:v>
                </c:pt>
                <c:pt idx="968">
                  <c:v>1354.119995</c:v>
                </c:pt>
                <c:pt idx="969">
                  <c:v>1347.73999</c:v>
                </c:pt>
                <c:pt idx="970">
                  <c:v>1354.9300539999999</c:v>
                </c:pt>
                <c:pt idx="971">
                  <c:v>1362.6400149999999</c:v>
                </c:pt>
                <c:pt idx="972">
                  <c:v>1370.2299800000001</c:v>
                </c:pt>
                <c:pt idx="973">
                  <c:v>1377.01001</c:v>
                </c:pt>
                <c:pt idx="974">
                  <c:v>1365.280029</c:v>
                </c:pt>
                <c:pt idx="975">
                  <c:v>1373.459961</c:v>
                </c:pt>
                <c:pt idx="976">
                  <c:v>1381.459961</c:v>
                </c:pt>
                <c:pt idx="977">
                  <c:v>1396.0600589999999</c:v>
                </c:pt>
                <c:pt idx="978">
                  <c:v>1394.3900149999999</c:v>
                </c:pt>
                <c:pt idx="979">
                  <c:v>1420.0699460000001</c:v>
                </c:pt>
                <c:pt idx="980">
                  <c:v>1410.709961</c:v>
                </c:pt>
                <c:pt idx="981">
                  <c:v>1424.9399410000001</c:v>
                </c:pt>
                <c:pt idx="982">
                  <c:v>1422</c:v>
                </c:pt>
                <c:pt idx="983">
                  <c:v>1420.9399410000001</c:v>
                </c:pt>
                <c:pt idx="984">
                  <c:v>1404.6400149999999</c:v>
                </c:pt>
                <c:pt idx="985">
                  <c:v>1417.079956</c:v>
                </c:pt>
                <c:pt idx="986">
                  <c:v>1416.619995</c:v>
                </c:pt>
                <c:pt idx="987">
                  <c:v>1407.829956</c:v>
                </c:pt>
                <c:pt idx="988">
                  <c:v>1388.910034</c:v>
                </c:pt>
                <c:pt idx="989">
                  <c:v>1397.719971</c:v>
                </c:pt>
                <c:pt idx="990">
                  <c:v>1409.040039</c:v>
                </c:pt>
                <c:pt idx="991">
                  <c:v>1433.3000489999999</c:v>
                </c:pt>
                <c:pt idx="992">
                  <c:v>1423.329956</c:v>
                </c:pt>
                <c:pt idx="993">
                  <c:v>1409.170044</c:v>
                </c:pt>
                <c:pt idx="994">
                  <c:v>1403.880005</c:v>
                </c:pt>
                <c:pt idx="995">
                  <c:v>1408.1099850000001</c:v>
                </c:pt>
                <c:pt idx="996">
                  <c:v>1417.040039</c:v>
                </c:pt>
                <c:pt idx="997">
                  <c:v>1415.219971</c:v>
                </c:pt>
                <c:pt idx="998">
                  <c:v>1403.170044</c:v>
                </c:pt>
                <c:pt idx="999">
                  <c:v>1413.329956</c:v>
                </c:pt>
                <c:pt idx="1000">
                  <c:v>1418.780029</c:v>
                </c:pt>
                <c:pt idx="1001">
                  <c:v>1421.030029</c:v>
                </c:pt>
                <c:pt idx="1002">
                  <c:v>1418.089966</c:v>
                </c:pt>
                <c:pt idx="1003">
                  <c:v>1433.4300539999999</c:v>
                </c:pt>
                <c:pt idx="1004">
                  <c:v>1436.130005</c:v>
                </c:pt>
                <c:pt idx="1005">
                  <c:v>1458.339966</c:v>
                </c:pt>
                <c:pt idx="1006">
                  <c:v>1457.099976</c:v>
                </c:pt>
                <c:pt idx="1007">
                  <c:v>1457.660034</c:v>
                </c:pt>
                <c:pt idx="1008">
                  <c:v>1463.459961</c:v>
                </c:pt>
                <c:pt idx="1009">
                  <c:v>1464.469971</c:v>
                </c:pt>
                <c:pt idx="1010">
                  <c:v>1469.25</c:v>
                </c:pt>
                <c:pt idx="1011">
                  <c:v>1455.219971</c:v>
                </c:pt>
                <c:pt idx="1012">
                  <c:v>1399.420044</c:v>
                </c:pt>
                <c:pt idx="1013">
                  <c:v>1402.1099850000001</c:v>
                </c:pt>
                <c:pt idx="1014">
                  <c:v>1403.4499510000001</c:v>
                </c:pt>
                <c:pt idx="1015">
                  <c:v>1441.469971</c:v>
                </c:pt>
                <c:pt idx="1016">
                  <c:v>1457.599976</c:v>
                </c:pt>
                <c:pt idx="1017">
                  <c:v>1438.5600589999999</c:v>
                </c:pt>
                <c:pt idx="1018">
                  <c:v>1432.25</c:v>
                </c:pt>
                <c:pt idx="1019">
                  <c:v>1449.6800539999999</c:v>
                </c:pt>
                <c:pt idx="1020">
                  <c:v>1465.150024</c:v>
                </c:pt>
                <c:pt idx="1021">
                  <c:v>1455.1400149999999</c:v>
                </c:pt>
                <c:pt idx="1022">
                  <c:v>1455.900024</c:v>
                </c:pt>
                <c:pt idx="1023">
                  <c:v>1445.5699460000001</c:v>
                </c:pt>
                <c:pt idx="1024">
                  <c:v>1441.3599850000001</c:v>
                </c:pt>
                <c:pt idx="1025">
                  <c:v>1401.530029</c:v>
                </c:pt>
                <c:pt idx="1026">
                  <c:v>1410.030029</c:v>
                </c:pt>
                <c:pt idx="1027">
                  <c:v>1404.089966</c:v>
                </c:pt>
                <c:pt idx="1028">
                  <c:v>1398.5600589999999</c:v>
                </c:pt>
                <c:pt idx="1029">
                  <c:v>1360.160034</c:v>
                </c:pt>
                <c:pt idx="1030">
                  <c:v>1394.459961</c:v>
                </c:pt>
                <c:pt idx="1031">
                  <c:v>1409.280029</c:v>
                </c:pt>
                <c:pt idx="1032">
                  <c:v>1409.119995</c:v>
                </c:pt>
                <c:pt idx="1033">
                  <c:v>1424.969971</c:v>
                </c:pt>
                <c:pt idx="1034">
                  <c:v>1424.369995</c:v>
                </c:pt>
                <c:pt idx="1035">
                  <c:v>1424.23999</c:v>
                </c:pt>
                <c:pt idx="1036">
                  <c:v>1441.719971</c:v>
                </c:pt>
                <c:pt idx="1037">
                  <c:v>1411.709961</c:v>
                </c:pt>
                <c:pt idx="1038">
                  <c:v>1416.829956</c:v>
                </c:pt>
                <c:pt idx="1039">
                  <c:v>1387.119995</c:v>
                </c:pt>
                <c:pt idx="1040">
                  <c:v>1389.9399410000001</c:v>
                </c:pt>
                <c:pt idx="1041">
                  <c:v>1402.0500489999999</c:v>
                </c:pt>
                <c:pt idx="1042">
                  <c:v>1387.670044</c:v>
                </c:pt>
                <c:pt idx="1043">
                  <c:v>1388.26001</c:v>
                </c:pt>
                <c:pt idx="1044">
                  <c:v>1346.089966</c:v>
                </c:pt>
                <c:pt idx="1045">
                  <c:v>1352.170044</c:v>
                </c:pt>
                <c:pt idx="1046">
                  <c:v>1360.6899410000001</c:v>
                </c:pt>
                <c:pt idx="1047">
                  <c:v>1353.4300539999999</c:v>
                </c:pt>
                <c:pt idx="1048">
                  <c:v>1333.3599850000001</c:v>
                </c:pt>
                <c:pt idx="1049">
                  <c:v>1348.0500489999999</c:v>
                </c:pt>
                <c:pt idx="1050">
                  <c:v>1366.420044</c:v>
                </c:pt>
                <c:pt idx="1051">
                  <c:v>1379.1899410000001</c:v>
                </c:pt>
                <c:pt idx="1052">
                  <c:v>1381.76001</c:v>
                </c:pt>
                <c:pt idx="1053">
                  <c:v>1409.170044</c:v>
                </c:pt>
                <c:pt idx="1054">
                  <c:v>1391.280029</c:v>
                </c:pt>
                <c:pt idx="1055">
                  <c:v>1355.619995</c:v>
                </c:pt>
                <c:pt idx="1056">
                  <c:v>1366.6999510000001</c:v>
                </c:pt>
                <c:pt idx="1057">
                  <c:v>1401.6899410000001</c:v>
                </c:pt>
                <c:pt idx="1058">
                  <c:v>1395.0699460000001</c:v>
                </c:pt>
                <c:pt idx="1059">
                  <c:v>1383.619995</c:v>
                </c:pt>
                <c:pt idx="1060">
                  <c:v>1359.150024</c:v>
                </c:pt>
                <c:pt idx="1061">
                  <c:v>1392.1400149999999</c:v>
                </c:pt>
                <c:pt idx="1062">
                  <c:v>1458.469971</c:v>
                </c:pt>
                <c:pt idx="1063">
                  <c:v>1464.469971</c:v>
                </c:pt>
                <c:pt idx="1064">
                  <c:v>1456.630005</c:v>
                </c:pt>
                <c:pt idx="1065">
                  <c:v>1493.869995</c:v>
                </c:pt>
                <c:pt idx="1066">
                  <c:v>1500.6400149999999</c:v>
                </c:pt>
                <c:pt idx="1067">
                  <c:v>1527.349976</c:v>
                </c:pt>
                <c:pt idx="1068">
                  <c:v>1527.459961</c:v>
                </c:pt>
                <c:pt idx="1069">
                  <c:v>1523.8599850000001</c:v>
                </c:pt>
                <c:pt idx="1070">
                  <c:v>1507.7299800000001</c:v>
                </c:pt>
                <c:pt idx="1071">
                  <c:v>1508.5200199999999</c:v>
                </c:pt>
                <c:pt idx="1072">
                  <c:v>1487.920044</c:v>
                </c:pt>
                <c:pt idx="1073">
                  <c:v>1498.579956</c:v>
                </c:pt>
                <c:pt idx="1074">
                  <c:v>1505.969971</c:v>
                </c:pt>
                <c:pt idx="1075">
                  <c:v>1494.7299800000001</c:v>
                </c:pt>
                <c:pt idx="1076">
                  <c:v>1487.369995</c:v>
                </c:pt>
                <c:pt idx="1077">
                  <c:v>1501.339966</c:v>
                </c:pt>
                <c:pt idx="1078">
                  <c:v>1516.349976</c:v>
                </c:pt>
                <c:pt idx="1079">
                  <c:v>1504.459961</c:v>
                </c:pt>
                <c:pt idx="1080">
                  <c:v>1500.589966</c:v>
                </c:pt>
                <c:pt idx="1081">
                  <c:v>1467.170044</c:v>
                </c:pt>
                <c:pt idx="1082">
                  <c:v>1440.51001</c:v>
                </c:pt>
                <c:pt idx="1083">
                  <c:v>1356.5600589999999</c:v>
                </c:pt>
                <c:pt idx="1084">
                  <c:v>1401.4399410000001</c:v>
                </c:pt>
                <c:pt idx="1085">
                  <c:v>1441.6099850000001</c:v>
                </c:pt>
                <c:pt idx="1086">
                  <c:v>1427.469971</c:v>
                </c:pt>
                <c:pt idx="1087">
                  <c:v>1434.540039</c:v>
                </c:pt>
                <c:pt idx="1088">
                  <c:v>1429.8599850000001</c:v>
                </c:pt>
                <c:pt idx="1089">
                  <c:v>1477.4399410000001</c:v>
                </c:pt>
                <c:pt idx="1090">
                  <c:v>1460.98999</c:v>
                </c:pt>
                <c:pt idx="1091">
                  <c:v>1464.920044</c:v>
                </c:pt>
                <c:pt idx="1092">
                  <c:v>1452.4300539999999</c:v>
                </c:pt>
                <c:pt idx="1093">
                  <c:v>1468.25</c:v>
                </c:pt>
                <c:pt idx="1094">
                  <c:v>1446.290039</c:v>
                </c:pt>
                <c:pt idx="1095">
                  <c:v>1415.099976</c:v>
                </c:pt>
                <c:pt idx="1096">
                  <c:v>1409.5699460000001</c:v>
                </c:pt>
                <c:pt idx="1097">
                  <c:v>1432.630005</c:v>
                </c:pt>
                <c:pt idx="1098">
                  <c:v>1424.170044</c:v>
                </c:pt>
                <c:pt idx="1099">
                  <c:v>1412.1400149999999</c:v>
                </c:pt>
                <c:pt idx="1100">
                  <c:v>1383.0500489999999</c:v>
                </c:pt>
                <c:pt idx="1101">
                  <c:v>1407.8100589999999</c:v>
                </c:pt>
                <c:pt idx="1102">
                  <c:v>1420.959961</c:v>
                </c:pt>
                <c:pt idx="1103">
                  <c:v>1452.3599850000001</c:v>
                </c:pt>
                <c:pt idx="1104">
                  <c:v>1466.040039</c:v>
                </c:pt>
                <c:pt idx="1105">
                  <c:v>1447.8000489999999</c:v>
                </c:pt>
                <c:pt idx="1106">
                  <c:v>1437.209961</c:v>
                </c:pt>
                <c:pt idx="1107">
                  <c:v>1406.9499510000001</c:v>
                </c:pt>
                <c:pt idx="1108">
                  <c:v>1400.719971</c:v>
                </c:pt>
                <c:pt idx="1109">
                  <c:v>1373.8599850000001</c:v>
                </c:pt>
                <c:pt idx="1110">
                  <c:v>1399.0500489999999</c:v>
                </c:pt>
                <c:pt idx="1111">
                  <c:v>1381.5200199999999</c:v>
                </c:pt>
                <c:pt idx="1112">
                  <c:v>1378.0200199999999</c:v>
                </c:pt>
                <c:pt idx="1113">
                  <c:v>1422.4499510000001</c:v>
                </c:pt>
                <c:pt idx="1114">
                  <c:v>1420.599976</c:v>
                </c:pt>
                <c:pt idx="1115">
                  <c:v>1448.8100589999999</c:v>
                </c:pt>
                <c:pt idx="1116">
                  <c:v>1477.26001</c:v>
                </c:pt>
                <c:pt idx="1117">
                  <c:v>1467.630005</c:v>
                </c:pt>
                <c:pt idx="1118">
                  <c:v>1457.839966</c:v>
                </c:pt>
                <c:pt idx="1119">
                  <c:v>1471.3599850000001</c:v>
                </c:pt>
                <c:pt idx="1120">
                  <c:v>1461.670044</c:v>
                </c:pt>
                <c:pt idx="1121">
                  <c:v>1456.9499510000001</c:v>
                </c:pt>
                <c:pt idx="1122">
                  <c:v>1446</c:v>
                </c:pt>
                <c:pt idx="1123">
                  <c:v>1469.4399410000001</c:v>
                </c:pt>
                <c:pt idx="1124">
                  <c:v>1470.540039</c:v>
                </c:pt>
                <c:pt idx="1125">
                  <c:v>1478.7299800000001</c:v>
                </c:pt>
                <c:pt idx="1126">
                  <c:v>1464.459961</c:v>
                </c:pt>
                <c:pt idx="1127">
                  <c:v>1486</c:v>
                </c:pt>
                <c:pt idx="1128">
                  <c:v>1475.9499510000001</c:v>
                </c:pt>
                <c:pt idx="1129">
                  <c:v>1479.130005</c:v>
                </c:pt>
                <c:pt idx="1130">
                  <c:v>1452.1800539999999</c:v>
                </c:pt>
                <c:pt idx="1131">
                  <c:v>1441.4799800000001</c:v>
                </c:pt>
                <c:pt idx="1132">
                  <c:v>1455.3100589999999</c:v>
                </c:pt>
                <c:pt idx="1133">
                  <c:v>1450.5500489999999</c:v>
                </c:pt>
                <c:pt idx="1134">
                  <c:v>1454.8199460000001</c:v>
                </c:pt>
                <c:pt idx="1135">
                  <c:v>1442.3900149999999</c:v>
                </c:pt>
                <c:pt idx="1136">
                  <c:v>1454.599976</c:v>
                </c:pt>
                <c:pt idx="1137">
                  <c:v>1469.540039</c:v>
                </c:pt>
                <c:pt idx="1138">
                  <c:v>1446.2299800000001</c:v>
                </c:pt>
                <c:pt idx="1139">
                  <c:v>1456.670044</c:v>
                </c:pt>
                <c:pt idx="1140">
                  <c:v>1478.900024</c:v>
                </c:pt>
                <c:pt idx="1141">
                  <c:v>1475.619995</c:v>
                </c:pt>
                <c:pt idx="1142">
                  <c:v>1480.880005</c:v>
                </c:pt>
                <c:pt idx="1143">
                  <c:v>1492.920044</c:v>
                </c:pt>
                <c:pt idx="1144">
                  <c:v>1495.839966</c:v>
                </c:pt>
                <c:pt idx="1145">
                  <c:v>1509.9799800000001</c:v>
                </c:pt>
                <c:pt idx="1146">
                  <c:v>1510.48999</c:v>
                </c:pt>
                <c:pt idx="1147">
                  <c:v>1493.73999</c:v>
                </c:pt>
                <c:pt idx="1148">
                  <c:v>1481.959961</c:v>
                </c:pt>
                <c:pt idx="1149">
                  <c:v>1495.5699460000001</c:v>
                </c:pt>
                <c:pt idx="1150">
                  <c:v>1480.1899410000001</c:v>
                </c:pt>
                <c:pt idx="1151">
                  <c:v>1464.290039</c:v>
                </c:pt>
                <c:pt idx="1152">
                  <c:v>1474.469971</c:v>
                </c:pt>
                <c:pt idx="1153">
                  <c:v>1452.420044</c:v>
                </c:pt>
                <c:pt idx="1154">
                  <c:v>1449.619995</c:v>
                </c:pt>
                <c:pt idx="1155">
                  <c:v>1419.8900149999999</c:v>
                </c:pt>
                <c:pt idx="1156">
                  <c:v>1430.829956</c:v>
                </c:pt>
                <c:pt idx="1157">
                  <c:v>1438.099976</c:v>
                </c:pt>
                <c:pt idx="1158">
                  <c:v>1438.6999510000001</c:v>
                </c:pt>
                <c:pt idx="1159">
                  <c:v>1452.5600589999999</c:v>
                </c:pt>
                <c:pt idx="1160">
                  <c:v>1462.9300539999999</c:v>
                </c:pt>
                <c:pt idx="1161">
                  <c:v>1479.3199460000001</c:v>
                </c:pt>
                <c:pt idx="1162">
                  <c:v>1482.8000489999999</c:v>
                </c:pt>
                <c:pt idx="1163">
                  <c:v>1472.869995</c:v>
                </c:pt>
                <c:pt idx="1164">
                  <c:v>1460.25</c:v>
                </c:pt>
                <c:pt idx="1165">
                  <c:v>1471.839966</c:v>
                </c:pt>
                <c:pt idx="1166">
                  <c:v>1491.5600589999999</c:v>
                </c:pt>
                <c:pt idx="1167">
                  <c:v>1484.4300539999999</c:v>
                </c:pt>
                <c:pt idx="1168">
                  <c:v>1479.849976</c:v>
                </c:pt>
                <c:pt idx="1169">
                  <c:v>1496.0699460000001</c:v>
                </c:pt>
                <c:pt idx="1170">
                  <c:v>1491.719971</c:v>
                </c:pt>
                <c:pt idx="1171">
                  <c:v>1499.4799800000001</c:v>
                </c:pt>
                <c:pt idx="1172">
                  <c:v>1498.130005</c:v>
                </c:pt>
                <c:pt idx="1173">
                  <c:v>1505.969971</c:v>
                </c:pt>
                <c:pt idx="1174">
                  <c:v>1508.3100589999999</c:v>
                </c:pt>
                <c:pt idx="1175">
                  <c:v>1506.4499510000001</c:v>
                </c:pt>
                <c:pt idx="1176">
                  <c:v>1514.089966</c:v>
                </c:pt>
                <c:pt idx="1177">
                  <c:v>1509.839966</c:v>
                </c:pt>
                <c:pt idx="1178">
                  <c:v>1502.589966</c:v>
                </c:pt>
                <c:pt idx="1179">
                  <c:v>1517.6800539999999</c:v>
                </c:pt>
                <c:pt idx="1180">
                  <c:v>1520.7700199999999</c:v>
                </c:pt>
                <c:pt idx="1181">
                  <c:v>1507.079956</c:v>
                </c:pt>
                <c:pt idx="1182">
                  <c:v>1492.25</c:v>
                </c:pt>
                <c:pt idx="1183">
                  <c:v>1502.51001</c:v>
                </c:pt>
                <c:pt idx="1184">
                  <c:v>1494.5</c:v>
                </c:pt>
                <c:pt idx="1185">
                  <c:v>1489.26001</c:v>
                </c:pt>
                <c:pt idx="1186">
                  <c:v>1481.98999</c:v>
                </c:pt>
                <c:pt idx="1187">
                  <c:v>1484.910034</c:v>
                </c:pt>
                <c:pt idx="1188">
                  <c:v>1480.869995</c:v>
                </c:pt>
                <c:pt idx="1189">
                  <c:v>1465.8100589999999</c:v>
                </c:pt>
                <c:pt idx="1190">
                  <c:v>1444.51001</c:v>
                </c:pt>
                <c:pt idx="1191">
                  <c:v>1459.900024</c:v>
                </c:pt>
                <c:pt idx="1192">
                  <c:v>1451.339966</c:v>
                </c:pt>
                <c:pt idx="1193">
                  <c:v>1449.0500489999999</c:v>
                </c:pt>
                <c:pt idx="1194">
                  <c:v>1448.719971</c:v>
                </c:pt>
                <c:pt idx="1195">
                  <c:v>1439.030029</c:v>
                </c:pt>
                <c:pt idx="1196">
                  <c:v>1427.209961</c:v>
                </c:pt>
                <c:pt idx="1197">
                  <c:v>1426.5699460000001</c:v>
                </c:pt>
                <c:pt idx="1198">
                  <c:v>1458.290039</c:v>
                </c:pt>
                <c:pt idx="1199">
                  <c:v>1436.51001</c:v>
                </c:pt>
                <c:pt idx="1200">
                  <c:v>1436.2299800000001</c:v>
                </c:pt>
                <c:pt idx="1201">
                  <c:v>1426.459961</c:v>
                </c:pt>
                <c:pt idx="1202">
                  <c:v>1434.3199460000001</c:v>
                </c:pt>
                <c:pt idx="1203">
                  <c:v>1436.280029</c:v>
                </c:pt>
                <c:pt idx="1204">
                  <c:v>1408.98999</c:v>
                </c:pt>
                <c:pt idx="1205">
                  <c:v>1402.030029</c:v>
                </c:pt>
                <c:pt idx="1206">
                  <c:v>1387.0200199999999</c:v>
                </c:pt>
                <c:pt idx="1207">
                  <c:v>1364.589966</c:v>
                </c:pt>
                <c:pt idx="1208">
                  <c:v>1329.780029</c:v>
                </c:pt>
                <c:pt idx="1209">
                  <c:v>1374.170044</c:v>
                </c:pt>
                <c:pt idx="1210">
                  <c:v>1374.619995</c:v>
                </c:pt>
                <c:pt idx="1211">
                  <c:v>1349.969971</c:v>
                </c:pt>
                <c:pt idx="1212">
                  <c:v>1342.130005</c:v>
                </c:pt>
                <c:pt idx="1213">
                  <c:v>1388.76001</c:v>
                </c:pt>
                <c:pt idx="1214">
                  <c:v>1396.9300539999999</c:v>
                </c:pt>
                <c:pt idx="1215">
                  <c:v>1395.780029</c:v>
                </c:pt>
                <c:pt idx="1216">
                  <c:v>1398.130005</c:v>
                </c:pt>
                <c:pt idx="1217">
                  <c:v>1364.900024</c:v>
                </c:pt>
                <c:pt idx="1218">
                  <c:v>1364.4399410000001</c:v>
                </c:pt>
                <c:pt idx="1219">
                  <c:v>1379.579956</c:v>
                </c:pt>
                <c:pt idx="1220">
                  <c:v>1398.660034</c:v>
                </c:pt>
                <c:pt idx="1221">
                  <c:v>1429.400024</c:v>
                </c:pt>
                <c:pt idx="1222">
                  <c:v>1421.219971</c:v>
                </c:pt>
                <c:pt idx="1223">
                  <c:v>1428.3199460000001</c:v>
                </c:pt>
                <c:pt idx="1224">
                  <c:v>1426.6899410000001</c:v>
                </c:pt>
                <c:pt idx="1225">
                  <c:v>1432.1899410000001</c:v>
                </c:pt>
                <c:pt idx="1226">
                  <c:v>1431.869995</c:v>
                </c:pt>
                <c:pt idx="1227">
                  <c:v>1409.280029</c:v>
                </c:pt>
                <c:pt idx="1228">
                  <c:v>1400.1400149999999</c:v>
                </c:pt>
                <c:pt idx="1229">
                  <c:v>1365.9799800000001</c:v>
                </c:pt>
                <c:pt idx="1230">
                  <c:v>1351.26001</c:v>
                </c:pt>
                <c:pt idx="1231">
                  <c:v>1382.9499510000001</c:v>
                </c:pt>
                <c:pt idx="1232">
                  <c:v>1389.8100589999999</c:v>
                </c:pt>
                <c:pt idx="1233">
                  <c:v>1372.3199460000001</c:v>
                </c:pt>
                <c:pt idx="1234">
                  <c:v>1367.719971</c:v>
                </c:pt>
                <c:pt idx="1235">
                  <c:v>1342.619995</c:v>
                </c:pt>
                <c:pt idx="1236">
                  <c:v>1347.349976</c:v>
                </c:pt>
                <c:pt idx="1237">
                  <c:v>1322.3599850000001</c:v>
                </c:pt>
                <c:pt idx="1238">
                  <c:v>1341.7700199999999</c:v>
                </c:pt>
                <c:pt idx="1239">
                  <c:v>1348.969971</c:v>
                </c:pt>
                <c:pt idx="1240">
                  <c:v>1336.089966</c:v>
                </c:pt>
                <c:pt idx="1241">
                  <c:v>1341.9300539999999</c:v>
                </c:pt>
                <c:pt idx="1242">
                  <c:v>1314.9499510000001</c:v>
                </c:pt>
                <c:pt idx="1243">
                  <c:v>1315.2299800000001</c:v>
                </c:pt>
                <c:pt idx="1244">
                  <c:v>1324.969971</c:v>
                </c:pt>
                <c:pt idx="1245">
                  <c:v>1376.540039</c:v>
                </c:pt>
                <c:pt idx="1246">
                  <c:v>1351.459961</c:v>
                </c:pt>
                <c:pt idx="1247">
                  <c:v>1343.5500489999999</c:v>
                </c:pt>
                <c:pt idx="1248">
                  <c:v>1369.8900149999999</c:v>
                </c:pt>
                <c:pt idx="1249">
                  <c:v>1380.1999510000001</c:v>
                </c:pt>
                <c:pt idx="1250">
                  <c:v>1371.1800539999999</c:v>
                </c:pt>
                <c:pt idx="1251">
                  <c:v>1359.98999</c:v>
                </c:pt>
                <c:pt idx="1252">
                  <c:v>1340.9300539999999</c:v>
                </c:pt>
                <c:pt idx="1253">
                  <c:v>1312.150024</c:v>
                </c:pt>
                <c:pt idx="1254">
                  <c:v>1322.73999</c:v>
                </c:pt>
                <c:pt idx="1255">
                  <c:v>1305.599976</c:v>
                </c:pt>
                <c:pt idx="1256">
                  <c:v>1264.73999</c:v>
                </c:pt>
                <c:pt idx="1257">
                  <c:v>1274.8599850000001</c:v>
                </c:pt>
                <c:pt idx="1258">
                  <c:v>1305.9499510000001</c:v>
                </c:pt>
                <c:pt idx="1259">
                  <c:v>1315.1899410000001</c:v>
                </c:pt>
                <c:pt idx="1260">
                  <c:v>1328.920044</c:v>
                </c:pt>
                <c:pt idx="1261">
                  <c:v>1334.219971</c:v>
                </c:pt>
                <c:pt idx="1262">
                  <c:v>1320.280029</c:v>
                </c:pt>
                <c:pt idx="1263">
                  <c:v>1283.2700199999999</c:v>
                </c:pt>
                <c:pt idx="1264">
                  <c:v>1347.5600589999999</c:v>
                </c:pt>
                <c:pt idx="1265">
                  <c:v>1333.339966</c:v>
                </c:pt>
                <c:pt idx="1266">
                  <c:v>1298.349976</c:v>
                </c:pt>
                <c:pt idx="1267">
                  <c:v>1295.8599850000001</c:v>
                </c:pt>
                <c:pt idx="1268">
                  <c:v>1300.8000489999999</c:v>
                </c:pt>
                <c:pt idx="1269">
                  <c:v>1313.2700199999999</c:v>
                </c:pt>
                <c:pt idx="1270">
                  <c:v>1326.8199460000001</c:v>
                </c:pt>
                <c:pt idx="1271">
                  <c:v>1318.5500489999999</c:v>
                </c:pt>
                <c:pt idx="1272">
                  <c:v>1326.650024</c:v>
                </c:pt>
                <c:pt idx="1273">
                  <c:v>1329.469971</c:v>
                </c:pt>
                <c:pt idx="1274">
                  <c:v>1347.969971</c:v>
                </c:pt>
                <c:pt idx="1275">
                  <c:v>1342.540039</c:v>
                </c:pt>
                <c:pt idx="1276">
                  <c:v>1342.900024</c:v>
                </c:pt>
                <c:pt idx="1277">
                  <c:v>1360.400024</c:v>
                </c:pt>
                <c:pt idx="1278">
                  <c:v>1364.3000489999999</c:v>
                </c:pt>
                <c:pt idx="1279">
                  <c:v>1357.51001</c:v>
                </c:pt>
                <c:pt idx="1280">
                  <c:v>1354.9499510000001</c:v>
                </c:pt>
                <c:pt idx="1281">
                  <c:v>1364.170044</c:v>
                </c:pt>
                <c:pt idx="1282">
                  <c:v>1373.7299800000001</c:v>
                </c:pt>
                <c:pt idx="1283">
                  <c:v>1366.01001</c:v>
                </c:pt>
                <c:pt idx="1284">
                  <c:v>1373.469971</c:v>
                </c:pt>
                <c:pt idx="1285">
                  <c:v>1349.469971</c:v>
                </c:pt>
                <c:pt idx="1286">
                  <c:v>1354.3100589999999</c:v>
                </c:pt>
                <c:pt idx="1287">
                  <c:v>1352.26001</c:v>
                </c:pt>
                <c:pt idx="1288">
                  <c:v>1340.8900149999999</c:v>
                </c:pt>
                <c:pt idx="1289">
                  <c:v>1332.530029</c:v>
                </c:pt>
                <c:pt idx="1290">
                  <c:v>1314.76001</c:v>
                </c:pt>
                <c:pt idx="1291">
                  <c:v>1330.3100589999999</c:v>
                </c:pt>
                <c:pt idx="1292">
                  <c:v>1318.8000489999999</c:v>
                </c:pt>
                <c:pt idx="1293">
                  <c:v>1315.920044</c:v>
                </c:pt>
                <c:pt idx="1294">
                  <c:v>1326.6099850000001</c:v>
                </c:pt>
                <c:pt idx="1295">
                  <c:v>1301.530029</c:v>
                </c:pt>
                <c:pt idx="1296">
                  <c:v>1278.9399410000001</c:v>
                </c:pt>
                <c:pt idx="1297">
                  <c:v>1255.2700199999999</c:v>
                </c:pt>
                <c:pt idx="1298">
                  <c:v>1252.8199460000001</c:v>
                </c:pt>
                <c:pt idx="1299">
                  <c:v>1245.8599850000001</c:v>
                </c:pt>
                <c:pt idx="1300">
                  <c:v>1267.650024</c:v>
                </c:pt>
                <c:pt idx="1301">
                  <c:v>1257.9399410000001</c:v>
                </c:pt>
                <c:pt idx="1302">
                  <c:v>1239.9399410000001</c:v>
                </c:pt>
                <c:pt idx="1303">
                  <c:v>1241.2299800000001</c:v>
                </c:pt>
                <c:pt idx="1304">
                  <c:v>1234.1800539999999</c:v>
                </c:pt>
                <c:pt idx="1305">
                  <c:v>1241.410034</c:v>
                </c:pt>
                <c:pt idx="1306">
                  <c:v>1253.8000489999999</c:v>
                </c:pt>
                <c:pt idx="1307">
                  <c:v>1261.8900149999999</c:v>
                </c:pt>
                <c:pt idx="1308">
                  <c:v>1264.73999</c:v>
                </c:pt>
                <c:pt idx="1309">
                  <c:v>1233.420044</c:v>
                </c:pt>
                <c:pt idx="1310">
                  <c:v>1180.160034</c:v>
                </c:pt>
                <c:pt idx="1311">
                  <c:v>1197.660034</c:v>
                </c:pt>
                <c:pt idx="1312">
                  <c:v>1166.709961</c:v>
                </c:pt>
                <c:pt idx="1313">
                  <c:v>1173.5600589999999</c:v>
                </c:pt>
                <c:pt idx="1314">
                  <c:v>1150.530029</c:v>
                </c:pt>
                <c:pt idx="1315">
                  <c:v>1170.8100589999999</c:v>
                </c:pt>
                <c:pt idx="1316">
                  <c:v>1142.619995</c:v>
                </c:pt>
                <c:pt idx="1317">
                  <c:v>1122.1400149999999</c:v>
                </c:pt>
                <c:pt idx="1318">
                  <c:v>1117.579956</c:v>
                </c:pt>
                <c:pt idx="1319">
                  <c:v>1139.829956</c:v>
                </c:pt>
                <c:pt idx="1320">
                  <c:v>1152.6899410000001</c:v>
                </c:pt>
                <c:pt idx="1321">
                  <c:v>1182.170044</c:v>
                </c:pt>
                <c:pt idx="1322">
                  <c:v>1153.290039</c:v>
                </c:pt>
                <c:pt idx="1323">
                  <c:v>1147.9499510000001</c:v>
                </c:pt>
                <c:pt idx="1324">
                  <c:v>1160.329956</c:v>
                </c:pt>
                <c:pt idx="1325">
                  <c:v>1145.869995</c:v>
                </c:pt>
                <c:pt idx="1326">
                  <c:v>1106.459961</c:v>
                </c:pt>
                <c:pt idx="1327">
                  <c:v>1103.25</c:v>
                </c:pt>
                <c:pt idx="1328">
                  <c:v>1151.4399410000001</c:v>
                </c:pt>
                <c:pt idx="1329">
                  <c:v>1128.4300539999999</c:v>
                </c:pt>
                <c:pt idx="1330">
                  <c:v>1137.589966</c:v>
                </c:pt>
                <c:pt idx="1331">
                  <c:v>1168.380005</c:v>
                </c:pt>
                <c:pt idx="1332">
                  <c:v>1165.8900149999999</c:v>
                </c:pt>
                <c:pt idx="1333">
                  <c:v>1183.5</c:v>
                </c:pt>
                <c:pt idx="1334">
                  <c:v>1179.6800539999999</c:v>
                </c:pt>
                <c:pt idx="1335">
                  <c:v>1191.8100589999999</c:v>
                </c:pt>
                <c:pt idx="1336">
                  <c:v>1238.160034</c:v>
                </c:pt>
                <c:pt idx="1337">
                  <c:v>1253.6899410000001</c:v>
                </c:pt>
                <c:pt idx="1338">
                  <c:v>1242.9799800000001</c:v>
                </c:pt>
                <c:pt idx="1339">
                  <c:v>1224.3599850000001</c:v>
                </c:pt>
                <c:pt idx="1340">
                  <c:v>1209.469971</c:v>
                </c:pt>
                <c:pt idx="1341">
                  <c:v>1228.75</c:v>
                </c:pt>
                <c:pt idx="1342">
                  <c:v>1234.5200199999999</c:v>
                </c:pt>
                <c:pt idx="1343">
                  <c:v>1253.0500489999999</c:v>
                </c:pt>
                <c:pt idx="1344">
                  <c:v>1249.459961</c:v>
                </c:pt>
                <c:pt idx="1345">
                  <c:v>1266.4399410000001</c:v>
                </c:pt>
                <c:pt idx="1346">
                  <c:v>1267.4300539999999</c:v>
                </c:pt>
                <c:pt idx="1347">
                  <c:v>1248.579956</c:v>
                </c:pt>
                <c:pt idx="1348">
                  <c:v>1266.6099850000001</c:v>
                </c:pt>
                <c:pt idx="1349">
                  <c:v>1263.51001</c:v>
                </c:pt>
                <c:pt idx="1350">
                  <c:v>1261.1999510000001</c:v>
                </c:pt>
                <c:pt idx="1351">
                  <c:v>1255.540039</c:v>
                </c:pt>
                <c:pt idx="1352">
                  <c:v>1255.1800539999999</c:v>
                </c:pt>
                <c:pt idx="1353">
                  <c:v>1245.670044</c:v>
                </c:pt>
                <c:pt idx="1354">
                  <c:v>1248.920044</c:v>
                </c:pt>
                <c:pt idx="1355">
                  <c:v>1249.4399410000001</c:v>
                </c:pt>
                <c:pt idx="1356">
                  <c:v>1284.98999</c:v>
                </c:pt>
                <c:pt idx="1357">
                  <c:v>1288.48999</c:v>
                </c:pt>
                <c:pt idx="1358">
                  <c:v>1291.959961</c:v>
                </c:pt>
                <c:pt idx="1359">
                  <c:v>1312.829956</c:v>
                </c:pt>
                <c:pt idx="1360">
                  <c:v>1309.380005</c:v>
                </c:pt>
                <c:pt idx="1361">
                  <c:v>1289.0500489999999</c:v>
                </c:pt>
                <c:pt idx="1362">
                  <c:v>1293.170044</c:v>
                </c:pt>
                <c:pt idx="1363">
                  <c:v>1277.8900149999999</c:v>
                </c:pt>
                <c:pt idx="1364">
                  <c:v>1267.9300539999999</c:v>
                </c:pt>
                <c:pt idx="1365">
                  <c:v>1248.079956</c:v>
                </c:pt>
                <c:pt idx="1366">
                  <c:v>1255.8199460000001</c:v>
                </c:pt>
                <c:pt idx="1367">
                  <c:v>1260.670044</c:v>
                </c:pt>
                <c:pt idx="1368">
                  <c:v>1267.1099850000001</c:v>
                </c:pt>
                <c:pt idx="1369">
                  <c:v>1283.5699460000001</c:v>
                </c:pt>
                <c:pt idx="1370">
                  <c:v>1270.030029</c:v>
                </c:pt>
                <c:pt idx="1371">
                  <c:v>1276.959961</c:v>
                </c:pt>
                <c:pt idx="1372">
                  <c:v>1264.959961</c:v>
                </c:pt>
                <c:pt idx="1373">
                  <c:v>1254.3900149999999</c:v>
                </c:pt>
                <c:pt idx="1374">
                  <c:v>1255.849976</c:v>
                </c:pt>
                <c:pt idx="1375">
                  <c:v>1241.599976</c:v>
                </c:pt>
                <c:pt idx="1376">
                  <c:v>1219.869995</c:v>
                </c:pt>
                <c:pt idx="1377">
                  <c:v>1214.3599850000001</c:v>
                </c:pt>
                <c:pt idx="1378">
                  <c:v>1208.4300539999999</c:v>
                </c:pt>
                <c:pt idx="1379">
                  <c:v>1212.579956</c:v>
                </c:pt>
                <c:pt idx="1380">
                  <c:v>1223.1400149999999</c:v>
                </c:pt>
                <c:pt idx="1381">
                  <c:v>1237.040039</c:v>
                </c:pt>
                <c:pt idx="1382">
                  <c:v>1225.349976</c:v>
                </c:pt>
                <c:pt idx="1383">
                  <c:v>1218.599976</c:v>
                </c:pt>
                <c:pt idx="1384">
                  <c:v>1216.76001</c:v>
                </c:pt>
                <c:pt idx="1385">
                  <c:v>1211.0699460000001</c:v>
                </c:pt>
                <c:pt idx="1386">
                  <c:v>1226.1999510000001</c:v>
                </c:pt>
                <c:pt idx="1387">
                  <c:v>1224.380005</c:v>
                </c:pt>
                <c:pt idx="1388">
                  <c:v>1236.719971</c:v>
                </c:pt>
                <c:pt idx="1389">
                  <c:v>1234.4499510000001</c:v>
                </c:pt>
                <c:pt idx="1390">
                  <c:v>1219.23999</c:v>
                </c:pt>
                <c:pt idx="1391">
                  <c:v>1190.589966</c:v>
                </c:pt>
                <c:pt idx="1392">
                  <c:v>1198.780029</c:v>
                </c:pt>
                <c:pt idx="1393">
                  <c:v>1181.5200199999999</c:v>
                </c:pt>
                <c:pt idx="1394">
                  <c:v>1180.1800539999999</c:v>
                </c:pt>
                <c:pt idx="1395">
                  <c:v>1208.1400149999999</c:v>
                </c:pt>
                <c:pt idx="1396">
                  <c:v>1215.6800539999999</c:v>
                </c:pt>
                <c:pt idx="1397">
                  <c:v>1202.4499510000001</c:v>
                </c:pt>
                <c:pt idx="1398">
                  <c:v>1214.4399410000001</c:v>
                </c:pt>
                <c:pt idx="1399">
                  <c:v>1207.709961</c:v>
                </c:pt>
                <c:pt idx="1400">
                  <c:v>1215.0200199999999</c:v>
                </c:pt>
                <c:pt idx="1401">
                  <c:v>1210.849976</c:v>
                </c:pt>
                <c:pt idx="1402">
                  <c:v>1191.030029</c:v>
                </c:pt>
                <c:pt idx="1403">
                  <c:v>1171.650024</c:v>
                </c:pt>
                <c:pt idx="1404">
                  <c:v>1190.48999</c:v>
                </c:pt>
                <c:pt idx="1405">
                  <c:v>1202.9300539999999</c:v>
                </c:pt>
                <c:pt idx="1406">
                  <c:v>1205.8199460000001</c:v>
                </c:pt>
                <c:pt idx="1407">
                  <c:v>1204.5200199999999</c:v>
                </c:pt>
                <c:pt idx="1408">
                  <c:v>1211.2299800000001</c:v>
                </c:pt>
                <c:pt idx="1409">
                  <c:v>1215.9300539999999</c:v>
                </c:pt>
                <c:pt idx="1410">
                  <c:v>1220.75</c:v>
                </c:pt>
                <c:pt idx="1411">
                  <c:v>1214.349976</c:v>
                </c:pt>
                <c:pt idx="1412">
                  <c:v>1200.4799800000001</c:v>
                </c:pt>
                <c:pt idx="1413">
                  <c:v>1204.400024</c:v>
                </c:pt>
                <c:pt idx="1414">
                  <c:v>1183.530029</c:v>
                </c:pt>
                <c:pt idx="1415">
                  <c:v>1183.4300539999999</c:v>
                </c:pt>
                <c:pt idx="1416">
                  <c:v>1190.160034</c:v>
                </c:pt>
                <c:pt idx="1417">
                  <c:v>1191.290039</c:v>
                </c:pt>
                <c:pt idx="1418">
                  <c:v>1186.7299800000001</c:v>
                </c:pt>
                <c:pt idx="1419">
                  <c:v>1178.0200199999999</c:v>
                </c:pt>
                <c:pt idx="1420">
                  <c:v>1181.660034</c:v>
                </c:pt>
                <c:pt idx="1421">
                  <c:v>1161.969971</c:v>
                </c:pt>
                <c:pt idx="1422">
                  <c:v>1171.410034</c:v>
                </c:pt>
                <c:pt idx="1423">
                  <c:v>1157.26001</c:v>
                </c:pt>
                <c:pt idx="1424">
                  <c:v>1165.3100589999999</c:v>
                </c:pt>
                <c:pt idx="1425">
                  <c:v>1162.089966</c:v>
                </c:pt>
                <c:pt idx="1426">
                  <c:v>1184.9300539999999</c:v>
                </c:pt>
                <c:pt idx="1427">
                  <c:v>1179.209961</c:v>
                </c:pt>
                <c:pt idx="1428">
                  <c:v>1161.51001</c:v>
                </c:pt>
                <c:pt idx="1429">
                  <c:v>1148.5600589999999</c:v>
                </c:pt>
                <c:pt idx="1430">
                  <c:v>1129.030029</c:v>
                </c:pt>
                <c:pt idx="1431">
                  <c:v>1133.579956</c:v>
                </c:pt>
                <c:pt idx="1432">
                  <c:v>1132.9399410000001</c:v>
                </c:pt>
                <c:pt idx="1433">
                  <c:v>1131.73999</c:v>
                </c:pt>
                <c:pt idx="1434">
                  <c:v>1106.400024</c:v>
                </c:pt>
                <c:pt idx="1435">
                  <c:v>1085.780029</c:v>
                </c:pt>
                <c:pt idx="1436">
                  <c:v>1092.540039</c:v>
                </c:pt>
                <c:pt idx="1437">
                  <c:v>1038.7700199999999</c:v>
                </c:pt>
                <c:pt idx="1438">
                  <c:v>1032.73999</c:v>
                </c:pt>
                <c:pt idx="1439">
                  <c:v>1016.099976</c:v>
                </c:pt>
                <c:pt idx="1440">
                  <c:v>984.53997800000002</c:v>
                </c:pt>
                <c:pt idx="1441">
                  <c:v>965.79998799999998</c:v>
                </c:pt>
                <c:pt idx="1442">
                  <c:v>1003.450012</c:v>
                </c:pt>
                <c:pt idx="1443">
                  <c:v>1012.27002</c:v>
                </c:pt>
                <c:pt idx="1444">
                  <c:v>1007.039978</c:v>
                </c:pt>
                <c:pt idx="1445">
                  <c:v>1018.6099850000001</c:v>
                </c:pt>
                <c:pt idx="1446">
                  <c:v>1040.9399410000001</c:v>
                </c:pt>
                <c:pt idx="1447">
                  <c:v>1038.5500489999999</c:v>
                </c:pt>
                <c:pt idx="1448">
                  <c:v>1051.329956</c:v>
                </c:pt>
                <c:pt idx="1449">
                  <c:v>1072.280029</c:v>
                </c:pt>
                <c:pt idx="1450">
                  <c:v>1069.630005</c:v>
                </c:pt>
                <c:pt idx="1451">
                  <c:v>1071.380005</c:v>
                </c:pt>
                <c:pt idx="1452">
                  <c:v>1062.4399410000001</c:v>
                </c:pt>
                <c:pt idx="1453">
                  <c:v>1056.75</c:v>
                </c:pt>
                <c:pt idx="1454">
                  <c:v>1080.98999</c:v>
                </c:pt>
                <c:pt idx="1455">
                  <c:v>1097.4300539999999</c:v>
                </c:pt>
                <c:pt idx="1456">
                  <c:v>1091.650024</c:v>
                </c:pt>
                <c:pt idx="1457">
                  <c:v>1089.9799800000001</c:v>
                </c:pt>
                <c:pt idx="1458">
                  <c:v>1097.540039</c:v>
                </c:pt>
                <c:pt idx="1459">
                  <c:v>1077.089966</c:v>
                </c:pt>
                <c:pt idx="1460">
                  <c:v>1068.6099850000001</c:v>
                </c:pt>
                <c:pt idx="1461">
                  <c:v>1073.4799800000001</c:v>
                </c:pt>
                <c:pt idx="1462">
                  <c:v>1089.900024</c:v>
                </c:pt>
                <c:pt idx="1463">
                  <c:v>1084.780029</c:v>
                </c:pt>
                <c:pt idx="1464">
                  <c:v>1085.1999510000001</c:v>
                </c:pt>
                <c:pt idx="1465">
                  <c:v>1100.089966</c:v>
                </c:pt>
                <c:pt idx="1466">
                  <c:v>1104.6099850000001</c:v>
                </c:pt>
                <c:pt idx="1467">
                  <c:v>1078.3000489999999</c:v>
                </c:pt>
                <c:pt idx="1468">
                  <c:v>1059.790039</c:v>
                </c:pt>
                <c:pt idx="1469">
                  <c:v>1059.780029</c:v>
                </c:pt>
                <c:pt idx="1470">
                  <c:v>1084.099976</c:v>
                </c:pt>
                <c:pt idx="1471">
                  <c:v>1087.1999510000001</c:v>
                </c:pt>
                <c:pt idx="1472">
                  <c:v>1102.839966</c:v>
                </c:pt>
                <c:pt idx="1473">
                  <c:v>1118.8599850000001</c:v>
                </c:pt>
                <c:pt idx="1474">
                  <c:v>1115.8000489999999</c:v>
                </c:pt>
                <c:pt idx="1475">
                  <c:v>1118.540039</c:v>
                </c:pt>
                <c:pt idx="1476">
                  <c:v>1120.3100589999999</c:v>
                </c:pt>
                <c:pt idx="1477">
                  <c:v>1118.329956</c:v>
                </c:pt>
                <c:pt idx="1478">
                  <c:v>1139.089966</c:v>
                </c:pt>
                <c:pt idx="1479">
                  <c:v>1141.209961</c:v>
                </c:pt>
                <c:pt idx="1480">
                  <c:v>1142.23999</c:v>
                </c:pt>
                <c:pt idx="1481">
                  <c:v>1138.650024</c:v>
                </c:pt>
                <c:pt idx="1482">
                  <c:v>1151.0600589999999</c:v>
                </c:pt>
                <c:pt idx="1483">
                  <c:v>1142.660034</c:v>
                </c:pt>
                <c:pt idx="1484">
                  <c:v>1137.030029</c:v>
                </c:pt>
                <c:pt idx="1485">
                  <c:v>1150.339966</c:v>
                </c:pt>
                <c:pt idx="1486">
                  <c:v>1157.420044</c:v>
                </c:pt>
                <c:pt idx="1487">
                  <c:v>1149.5</c:v>
                </c:pt>
                <c:pt idx="1488">
                  <c:v>1128.5200199999999</c:v>
                </c:pt>
                <c:pt idx="1489">
                  <c:v>1140.1999510000001</c:v>
                </c:pt>
                <c:pt idx="1490">
                  <c:v>1139.4499510000001</c:v>
                </c:pt>
                <c:pt idx="1491">
                  <c:v>1129.900024</c:v>
                </c:pt>
                <c:pt idx="1492">
                  <c:v>1144.8000489999999</c:v>
                </c:pt>
                <c:pt idx="1493">
                  <c:v>1170.349976</c:v>
                </c:pt>
                <c:pt idx="1494">
                  <c:v>1167.099976</c:v>
                </c:pt>
                <c:pt idx="1495">
                  <c:v>1158.3100589999999</c:v>
                </c:pt>
                <c:pt idx="1496">
                  <c:v>1139.9300539999999</c:v>
                </c:pt>
                <c:pt idx="1497">
                  <c:v>1136.76001</c:v>
                </c:pt>
                <c:pt idx="1498">
                  <c:v>1137.0699460000001</c:v>
                </c:pt>
                <c:pt idx="1499">
                  <c:v>1119.380005</c:v>
                </c:pt>
                <c:pt idx="1500">
                  <c:v>1123.089966</c:v>
                </c:pt>
                <c:pt idx="1501">
                  <c:v>1134.3599850000001</c:v>
                </c:pt>
                <c:pt idx="1502">
                  <c:v>1142.920044</c:v>
                </c:pt>
                <c:pt idx="1503">
                  <c:v>1149.5600589999999</c:v>
                </c:pt>
                <c:pt idx="1504">
                  <c:v>1139.9300539999999</c:v>
                </c:pt>
                <c:pt idx="1505">
                  <c:v>1144.8900149999999</c:v>
                </c:pt>
                <c:pt idx="1506">
                  <c:v>1144.650024</c:v>
                </c:pt>
                <c:pt idx="1507">
                  <c:v>1149.369995</c:v>
                </c:pt>
                <c:pt idx="1508">
                  <c:v>1157.130005</c:v>
                </c:pt>
                <c:pt idx="1509">
                  <c:v>1161.0200199999999</c:v>
                </c:pt>
                <c:pt idx="1510">
                  <c:v>1148.079956</c:v>
                </c:pt>
                <c:pt idx="1511">
                  <c:v>1154.670044</c:v>
                </c:pt>
                <c:pt idx="1512">
                  <c:v>1165.2700199999999</c:v>
                </c:pt>
                <c:pt idx="1513">
                  <c:v>1172.51001</c:v>
                </c:pt>
                <c:pt idx="1514">
                  <c:v>1164.8900149999999</c:v>
                </c:pt>
                <c:pt idx="1515">
                  <c:v>1160.709961</c:v>
                </c:pt>
                <c:pt idx="1516">
                  <c:v>1155.1400149999999</c:v>
                </c:pt>
                <c:pt idx="1517">
                  <c:v>1156.5500489999999</c:v>
                </c:pt>
                <c:pt idx="1518">
                  <c:v>1145.599976</c:v>
                </c:pt>
                <c:pt idx="1519">
                  <c:v>1138.410034</c:v>
                </c:pt>
                <c:pt idx="1520">
                  <c:v>1146.1899410000001</c:v>
                </c:pt>
                <c:pt idx="1521">
                  <c:v>1127.5699460000001</c:v>
                </c:pt>
                <c:pt idx="1522">
                  <c:v>1138.880005</c:v>
                </c:pt>
                <c:pt idx="1523">
                  <c:v>1127.579956</c:v>
                </c:pt>
                <c:pt idx="1524">
                  <c:v>1119.3100589999999</c:v>
                </c:pt>
                <c:pt idx="1525">
                  <c:v>1128.1800539999999</c:v>
                </c:pt>
                <c:pt idx="1526">
                  <c:v>1132.150024</c:v>
                </c:pt>
                <c:pt idx="1527">
                  <c:v>1133.280029</c:v>
                </c:pt>
                <c:pt idx="1528">
                  <c:v>1133.0600589999999</c:v>
                </c:pt>
                <c:pt idx="1529">
                  <c:v>1100.6400149999999</c:v>
                </c:pt>
                <c:pt idx="1530">
                  <c:v>1113.5699460000001</c:v>
                </c:pt>
                <c:pt idx="1531">
                  <c:v>1130.1999510000001</c:v>
                </c:pt>
                <c:pt idx="1532">
                  <c:v>1122.1999510000001</c:v>
                </c:pt>
                <c:pt idx="1533">
                  <c:v>1094.4399410000001</c:v>
                </c:pt>
                <c:pt idx="1534">
                  <c:v>1090.0200199999999</c:v>
                </c:pt>
                <c:pt idx="1535">
                  <c:v>1083.51001</c:v>
                </c:pt>
                <c:pt idx="1536">
                  <c:v>1080.170044</c:v>
                </c:pt>
                <c:pt idx="1537">
                  <c:v>1096.219971</c:v>
                </c:pt>
                <c:pt idx="1538">
                  <c:v>1111.9399410000001</c:v>
                </c:pt>
                <c:pt idx="1539">
                  <c:v>1107.5</c:v>
                </c:pt>
                <c:pt idx="1540">
                  <c:v>1118.51001</c:v>
                </c:pt>
                <c:pt idx="1541">
                  <c:v>1116.4799800000001</c:v>
                </c:pt>
                <c:pt idx="1542">
                  <c:v>1104.1800539999999</c:v>
                </c:pt>
                <c:pt idx="1543">
                  <c:v>1083.339966</c:v>
                </c:pt>
                <c:pt idx="1544">
                  <c:v>1097.9799800000001</c:v>
                </c:pt>
                <c:pt idx="1545">
                  <c:v>1080.9499510000001</c:v>
                </c:pt>
                <c:pt idx="1546">
                  <c:v>1089.839966</c:v>
                </c:pt>
                <c:pt idx="1547">
                  <c:v>1109.4300539999999</c:v>
                </c:pt>
                <c:pt idx="1548">
                  <c:v>1109.380005</c:v>
                </c:pt>
                <c:pt idx="1549">
                  <c:v>1109.8900149999999</c:v>
                </c:pt>
                <c:pt idx="1550">
                  <c:v>1106.7299800000001</c:v>
                </c:pt>
                <c:pt idx="1551">
                  <c:v>1131.780029</c:v>
                </c:pt>
                <c:pt idx="1552">
                  <c:v>1153.839966</c:v>
                </c:pt>
                <c:pt idx="1553">
                  <c:v>1146.1400149999999</c:v>
                </c:pt>
                <c:pt idx="1554">
                  <c:v>1162.7700199999999</c:v>
                </c:pt>
                <c:pt idx="1555">
                  <c:v>1157.540039</c:v>
                </c:pt>
                <c:pt idx="1556">
                  <c:v>1164.3100589999999</c:v>
                </c:pt>
                <c:pt idx="1557">
                  <c:v>1168.26001</c:v>
                </c:pt>
                <c:pt idx="1558">
                  <c:v>1165.579956</c:v>
                </c:pt>
                <c:pt idx="1559">
                  <c:v>1154.089966</c:v>
                </c:pt>
                <c:pt idx="1560">
                  <c:v>1153.040039</c:v>
                </c:pt>
                <c:pt idx="1561">
                  <c:v>1166.160034</c:v>
                </c:pt>
                <c:pt idx="1562">
                  <c:v>1165.5500489999999</c:v>
                </c:pt>
                <c:pt idx="1563">
                  <c:v>1170.290039</c:v>
                </c:pt>
                <c:pt idx="1564">
                  <c:v>1151.849976</c:v>
                </c:pt>
                <c:pt idx="1565">
                  <c:v>1153.589966</c:v>
                </c:pt>
                <c:pt idx="1566">
                  <c:v>1148.6999510000001</c:v>
                </c:pt>
                <c:pt idx="1567">
                  <c:v>1131.869995</c:v>
                </c:pt>
                <c:pt idx="1568">
                  <c:v>1138.48999</c:v>
                </c:pt>
                <c:pt idx="1569">
                  <c:v>1144.579956</c:v>
                </c:pt>
                <c:pt idx="1570">
                  <c:v>1147.3900149999999</c:v>
                </c:pt>
                <c:pt idx="1571">
                  <c:v>1146.540039</c:v>
                </c:pt>
                <c:pt idx="1572">
                  <c:v>1136.76001</c:v>
                </c:pt>
                <c:pt idx="1573">
                  <c:v>1125.400024</c:v>
                </c:pt>
                <c:pt idx="1574">
                  <c:v>1126.339966</c:v>
                </c:pt>
                <c:pt idx="1575">
                  <c:v>1122.7299800000001</c:v>
                </c:pt>
                <c:pt idx="1576">
                  <c:v>1125.290039</c:v>
                </c:pt>
                <c:pt idx="1577">
                  <c:v>1117.8000489999999</c:v>
                </c:pt>
                <c:pt idx="1578">
                  <c:v>1130.469971</c:v>
                </c:pt>
                <c:pt idx="1579">
                  <c:v>1103.6899410000001</c:v>
                </c:pt>
                <c:pt idx="1580">
                  <c:v>1111.01001</c:v>
                </c:pt>
                <c:pt idx="1581">
                  <c:v>1102.5500489999999</c:v>
                </c:pt>
                <c:pt idx="1582">
                  <c:v>1128.369995</c:v>
                </c:pt>
                <c:pt idx="1583">
                  <c:v>1126.0699460000001</c:v>
                </c:pt>
                <c:pt idx="1584">
                  <c:v>1124.469971</c:v>
                </c:pt>
                <c:pt idx="1585">
                  <c:v>1125.170044</c:v>
                </c:pt>
                <c:pt idx="1586">
                  <c:v>1107.829956</c:v>
                </c:pt>
                <c:pt idx="1587">
                  <c:v>1100.959961</c:v>
                </c:pt>
                <c:pt idx="1588">
                  <c:v>1093.1400149999999</c:v>
                </c:pt>
                <c:pt idx="1589">
                  <c:v>1091.4799800000001</c:v>
                </c:pt>
                <c:pt idx="1590">
                  <c:v>1076.3199460000001</c:v>
                </c:pt>
                <c:pt idx="1591">
                  <c:v>1065.4499510000001</c:v>
                </c:pt>
                <c:pt idx="1592">
                  <c:v>1076.920044</c:v>
                </c:pt>
                <c:pt idx="1593">
                  <c:v>1086.459961</c:v>
                </c:pt>
                <c:pt idx="1594">
                  <c:v>1084.5600589999999</c:v>
                </c:pt>
                <c:pt idx="1595">
                  <c:v>1073.4300539999999</c:v>
                </c:pt>
                <c:pt idx="1596">
                  <c:v>1052.670044</c:v>
                </c:pt>
                <c:pt idx="1597">
                  <c:v>1049.48999</c:v>
                </c:pt>
                <c:pt idx="1598">
                  <c:v>1088.849976</c:v>
                </c:pt>
                <c:pt idx="1599">
                  <c:v>1073.01001</c:v>
                </c:pt>
                <c:pt idx="1600">
                  <c:v>1054.98999</c:v>
                </c:pt>
                <c:pt idx="1601">
                  <c:v>1074.5600589999999</c:v>
                </c:pt>
                <c:pt idx="1602">
                  <c:v>1097.280029</c:v>
                </c:pt>
                <c:pt idx="1603">
                  <c:v>1091.0699460000001</c:v>
                </c:pt>
                <c:pt idx="1604">
                  <c:v>1098.2299800000001</c:v>
                </c:pt>
                <c:pt idx="1605">
                  <c:v>1106.589966</c:v>
                </c:pt>
                <c:pt idx="1606">
                  <c:v>1091.880005</c:v>
                </c:pt>
                <c:pt idx="1607">
                  <c:v>1079.880005</c:v>
                </c:pt>
                <c:pt idx="1608">
                  <c:v>1086.0200199999999</c:v>
                </c:pt>
                <c:pt idx="1609">
                  <c:v>1097.079956</c:v>
                </c:pt>
                <c:pt idx="1610">
                  <c:v>1083.8199460000001</c:v>
                </c:pt>
                <c:pt idx="1611">
                  <c:v>1074.5500489999999</c:v>
                </c:pt>
                <c:pt idx="1612">
                  <c:v>1067.660034</c:v>
                </c:pt>
                <c:pt idx="1613">
                  <c:v>1064.660034</c:v>
                </c:pt>
                <c:pt idx="1614">
                  <c:v>1067.1400149999999</c:v>
                </c:pt>
                <c:pt idx="1615">
                  <c:v>1040.6800539999999</c:v>
                </c:pt>
                <c:pt idx="1616">
                  <c:v>1040.6899410000001</c:v>
                </c:pt>
                <c:pt idx="1617">
                  <c:v>1049.900024</c:v>
                </c:pt>
                <c:pt idx="1618">
                  <c:v>1029.150024</c:v>
                </c:pt>
                <c:pt idx="1619">
                  <c:v>1027.530029</c:v>
                </c:pt>
                <c:pt idx="1620">
                  <c:v>1030.73999</c:v>
                </c:pt>
                <c:pt idx="1621">
                  <c:v>1013.599976</c:v>
                </c:pt>
                <c:pt idx="1622">
                  <c:v>1020.26001</c:v>
                </c:pt>
                <c:pt idx="1623">
                  <c:v>1009.559998</c:v>
                </c:pt>
                <c:pt idx="1624">
                  <c:v>1007.27002</c:v>
                </c:pt>
                <c:pt idx="1625">
                  <c:v>1036.170044</c:v>
                </c:pt>
                <c:pt idx="1626">
                  <c:v>1037.1400149999999</c:v>
                </c:pt>
                <c:pt idx="1627">
                  <c:v>1019.98999</c:v>
                </c:pt>
                <c:pt idx="1628">
                  <c:v>1006.289978</c:v>
                </c:pt>
                <c:pt idx="1629">
                  <c:v>989.14001499999995</c:v>
                </c:pt>
                <c:pt idx="1630">
                  <c:v>992.71997099999999</c:v>
                </c:pt>
                <c:pt idx="1631">
                  <c:v>976.14001499999995</c:v>
                </c:pt>
                <c:pt idx="1632">
                  <c:v>973.53002900000001</c:v>
                </c:pt>
                <c:pt idx="1633">
                  <c:v>990.64001499999995</c:v>
                </c:pt>
                <c:pt idx="1634">
                  <c:v>989.82000700000003</c:v>
                </c:pt>
                <c:pt idx="1635">
                  <c:v>968.65002400000003</c:v>
                </c:pt>
                <c:pt idx="1636">
                  <c:v>948.09002699999996</c:v>
                </c:pt>
                <c:pt idx="1637">
                  <c:v>953.98999000000003</c:v>
                </c:pt>
                <c:pt idx="1638">
                  <c:v>989.03002900000001</c:v>
                </c:pt>
                <c:pt idx="1639">
                  <c:v>976.97997999999995</c:v>
                </c:pt>
                <c:pt idx="1640">
                  <c:v>952.830017</c:v>
                </c:pt>
                <c:pt idx="1641">
                  <c:v>920.46997099999999</c:v>
                </c:pt>
                <c:pt idx="1642">
                  <c:v>927.36999500000002</c:v>
                </c:pt>
                <c:pt idx="1643">
                  <c:v>921.39001499999995</c:v>
                </c:pt>
                <c:pt idx="1644">
                  <c:v>917.92999299999997</c:v>
                </c:pt>
                <c:pt idx="1645">
                  <c:v>900.94000200000005</c:v>
                </c:pt>
                <c:pt idx="1646">
                  <c:v>906.03997800000002</c:v>
                </c:pt>
                <c:pt idx="1647">
                  <c:v>881.55999799999995</c:v>
                </c:pt>
                <c:pt idx="1648">
                  <c:v>847.75</c:v>
                </c:pt>
                <c:pt idx="1649">
                  <c:v>819.84997599999997</c:v>
                </c:pt>
                <c:pt idx="1650">
                  <c:v>797.70001200000002</c:v>
                </c:pt>
                <c:pt idx="1651">
                  <c:v>843.42999299999997</c:v>
                </c:pt>
                <c:pt idx="1652">
                  <c:v>838.67999299999997</c:v>
                </c:pt>
                <c:pt idx="1653">
                  <c:v>852.84002699999996</c:v>
                </c:pt>
                <c:pt idx="1654">
                  <c:v>898.96002199999998</c:v>
                </c:pt>
                <c:pt idx="1655">
                  <c:v>902.78002900000001</c:v>
                </c:pt>
                <c:pt idx="1656">
                  <c:v>911.61999500000002</c:v>
                </c:pt>
                <c:pt idx="1657">
                  <c:v>884.65997300000004</c:v>
                </c:pt>
                <c:pt idx="1658">
                  <c:v>864.23999000000003</c:v>
                </c:pt>
                <c:pt idx="1659">
                  <c:v>834.59997599999997</c:v>
                </c:pt>
                <c:pt idx="1660">
                  <c:v>859.57000700000003</c:v>
                </c:pt>
                <c:pt idx="1661">
                  <c:v>876.77002000000005</c:v>
                </c:pt>
                <c:pt idx="1662">
                  <c:v>905.46002199999998</c:v>
                </c:pt>
                <c:pt idx="1663">
                  <c:v>908.64001499999995</c:v>
                </c:pt>
                <c:pt idx="1664">
                  <c:v>903.79998799999998</c:v>
                </c:pt>
                <c:pt idx="1665">
                  <c:v>884.21002199999998</c:v>
                </c:pt>
                <c:pt idx="1666">
                  <c:v>919.61999500000002</c:v>
                </c:pt>
                <c:pt idx="1667">
                  <c:v>930.25</c:v>
                </c:pt>
                <c:pt idx="1668">
                  <c:v>928.77002000000005</c:v>
                </c:pt>
                <c:pt idx="1669">
                  <c:v>950.70001200000002</c:v>
                </c:pt>
                <c:pt idx="1670">
                  <c:v>937.42999299999997</c:v>
                </c:pt>
                <c:pt idx="1671">
                  <c:v>949.35998500000005</c:v>
                </c:pt>
                <c:pt idx="1672">
                  <c:v>962.70001200000002</c:v>
                </c:pt>
                <c:pt idx="1673">
                  <c:v>940.85998500000005</c:v>
                </c:pt>
                <c:pt idx="1674">
                  <c:v>947.95001200000002</c:v>
                </c:pt>
                <c:pt idx="1675">
                  <c:v>934.82000700000003</c:v>
                </c:pt>
                <c:pt idx="1676">
                  <c:v>917.86999500000002</c:v>
                </c:pt>
                <c:pt idx="1677">
                  <c:v>917.79998799999998</c:v>
                </c:pt>
                <c:pt idx="1678">
                  <c:v>916.07000700000003</c:v>
                </c:pt>
                <c:pt idx="1679">
                  <c:v>878.02002000000005</c:v>
                </c:pt>
                <c:pt idx="1680">
                  <c:v>893.40002400000003</c:v>
                </c:pt>
                <c:pt idx="1681">
                  <c:v>879.15002400000003</c:v>
                </c:pt>
                <c:pt idx="1682">
                  <c:v>893.919983</c:v>
                </c:pt>
                <c:pt idx="1683">
                  <c:v>902.96002199999998</c:v>
                </c:pt>
                <c:pt idx="1684">
                  <c:v>909.580017</c:v>
                </c:pt>
                <c:pt idx="1685">
                  <c:v>909.45001200000002</c:v>
                </c:pt>
                <c:pt idx="1686">
                  <c:v>886.90997300000004</c:v>
                </c:pt>
                <c:pt idx="1687">
                  <c:v>889.80999799999995</c:v>
                </c:pt>
                <c:pt idx="1688">
                  <c:v>891.09997599999997</c:v>
                </c:pt>
                <c:pt idx="1689">
                  <c:v>873.52002000000005</c:v>
                </c:pt>
                <c:pt idx="1690">
                  <c:v>869.46002199999998</c:v>
                </c:pt>
                <c:pt idx="1691">
                  <c:v>843.32000700000003</c:v>
                </c:pt>
                <c:pt idx="1692">
                  <c:v>845.39001499999995</c:v>
                </c:pt>
                <c:pt idx="1693">
                  <c:v>833.70001200000002</c:v>
                </c:pt>
                <c:pt idx="1694">
                  <c:v>819.28997800000002</c:v>
                </c:pt>
                <c:pt idx="1695">
                  <c:v>839.65997300000004</c:v>
                </c:pt>
                <c:pt idx="1696">
                  <c:v>854.95001200000002</c:v>
                </c:pt>
                <c:pt idx="1697">
                  <c:v>827.36999500000002</c:v>
                </c:pt>
                <c:pt idx="1698">
                  <c:v>815.28002900000001</c:v>
                </c:pt>
                <c:pt idx="1699">
                  <c:v>847.90997300000004</c:v>
                </c:pt>
                <c:pt idx="1700">
                  <c:v>827.90997300000004</c:v>
                </c:pt>
                <c:pt idx="1701">
                  <c:v>818.95001200000002</c:v>
                </c:pt>
                <c:pt idx="1702">
                  <c:v>800.580017</c:v>
                </c:pt>
                <c:pt idx="1703">
                  <c:v>785.28002900000001</c:v>
                </c:pt>
                <c:pt idx="1704">
                  <c:v>798.54998799999998</c:v>
                </c:pt>
                <c:pt idx="1705">
                  <c:v>776.76000999999997</c:v>
                </c:pt>
                <c:pt idx="1706">
                  <c:v>803.919983</c:v>
                </c:pt>
                <c:pt idx="1707">
                  <c:v>835.32000700000003</c:v>
                </c:pt>
                <c:pt idx="1708">
                  <c:v>841.44000200000005</c:v>
                </c:pt>
                <c:pt idx="1709">
                  <c:v>881.27002000000005</c:v>
                </c:pt>
                <c:pt idx="1710">
                  <c:v>860.02002000000005</c:v>
                </c:pt>
                <c:pt idx="1711">
                  <c:v>879.20001200000002</c:v>
                </c:pt>
                <c:pt idx="1712">
                  <c:v>884.39001499999995</c:v>
                </c:pt>
                <c:pt idx="1713">
                  <c:v>899.71997099999999</c:v>
                </c:pt>
                <c:pt idx="1714">
                  <c:v>890.15997300000004</c:v>
                </c:pt>
                <c:pt idx="1715">
                  <c:v>896.14001499999995</c:v>
                </c:pt>
                <c:pt idx="1716">
                  <c:v>882.5</c:v>
                </c:pt>
                <c:pt idx="1717">
                  <c:v>897.65002400000003</c:v>
                </c:pt>
                <c:pt idx="1718">
                  <c:v>890.22997999999995</c:v>
                </c:pt>
                <c:pt idx="1719">
                  <c:v>882.15002400000003</c:v>
                </c:pt>
                <c:pt idx="1720">
                  <c:v>890.71002199999998</c:v>
                </c:pt>
                <c:pt idx="1721">
                  <c:v>885.76000999999997</c:v>
                </c:pt>
                <c:pt idx="1722">
                  <c:v>900.96002199999998</c:v>
                </c:pt>
                <c:pt idx="1723">
                  <c:v>908.34997599999997</c:v>
                </c:pt>
                <c:pt idx="1724">
                  <c:v>915.39001499999995</c:v>
                </c:pt>
                <c:pt idx="1725">
                  <c:v>923.76000999999997</c:v>
                </c:pt>
                <c:pt idx="1726">
                  <c:v>902.65002400000003</c:v>
                </c:pt>
                <c:pt idx="1727">
                  <c:v>894.73999000000003</c:v>
                </c:pt>
                <c:pt idx="1728">
                  <c:v>876.19000200000005</c:v>
                </c:pt>
                <c:pt idx="1729">
                  <c:v>882.95001200000002</c:v>
                </c:pt>
                <c:pt idx="1730">
                  <c:v>882.53002900000001</c:v>
                </c:pt>
                <c:pt idx="1731">
                  <c:v>904.27002000000005</c:v>
                </c:pt>
                <c:pt idx="1732">
                  <c:v>909.830017</c:v>
                </c:pt>
                <c:pt idx="1733">
                  <c:v>900.35998500000005</c:v>
                </c:pt>
                <c:pt idx="1734">
                  <c:v>896.73999000000003</c:v>
                </c:pt>
                <c:pt idx="1735">
                  <c:v>914.15002400000003</c:v>
                </c:pt>
                <c:pt idx="1736">
                  <c:v>933.76000999999997</c:v>
                </c:pt>
                <c:pt idx="1737">
                  <c:v>930.54998799999998</c:v>
                </c:pt>
                <c:pt idx="1738">
                  <c:v>932.86999500000002</c:v>
                </c:pt>
                <c:pt idx="1739">
                  <c:v>913.30999799999995</c:v>
                </c:pt>
                <c:pt idx="1740">
                  <c:v>938.86999500000002</c:v>
                </c:pt>
                <c:pt idx="1741">
                  <c:v>936.30999799999995</c:v>
                </c:pt>
                <c:pt idx="1742">
                  <c:v>934.53002900000001</c:v>
                </c:pt>
                <c:pt idx="1743">
                  <c:v>920.75</c:v>
                </c:pt>
                <c:pt idx="1744">
                  <c:v>917.580017</c:v>
                </c:pt>
                <c:pt idx="1745">
                  <c:v>906.54998799999998</c:v>
                </c:pt>
                <c:pt idx="1746">
                  <c:v>912.22997999999995</c:v>
                </c:pt>
                <c:pt idx="1747">
                  <c:v>892</c:v>
                </c:pt>
                <c:pt idx="1748">
                  <c:v>904.45001200000002</c:v>
                </c:pt>
                <c:pt idx="1749">
                  <c:v>904.96002199999998</c:v>
                </c:pt>
                <c:pt idx="1750">
                  <c:v>901.580017</c:v>
                </c:pt>
                <c:pt idx="1751">
                  <c:v>889.47997999999995</c:v>
                </c:pt>
                <c:pt idx="1752">
                  <c:v>910.40002400000003</c:v>
                </c:pt>
                <c:pt idx="1753">
                  <c:v>902.98999000000003</c:v>
                </c:pt>
                <c:pt idx="1754">
                  <c:v>891.11999500000002</c:v>
                </c:pt>
                <c:pt idx="1755">
                  <c:v>884.25</c:v>
                </c:pt>
                <c:pt idx="1756">
                  <c:v>895.76000999999997</c:v>
                </c:pt>
                <c:pt idx="1757">
                  <c:v>897.38000499999998</c:v>
                </c:pt>
                <c:pt idx="1758">
                  <c:v>892.46997099999999</c:v>
                </c:pt>
                <c:pt idx="1759">
                  <c:v>889.65997300000004</c:v>
                </c:pt>
                <c:pt idx="1760">
                  <c:v>875.40002400000003</c:v>
                </c:pt>
                <c:pt idx="1761">
                  <c:v>879.39001499999995</c:v>
                </c:pt>
                <c:pt idx="1762">
                  <c:v>879.82000700000003</c:v>
                </c:pt>
                <c:pt idx="1763">
                  <c:v>909.03002900000001</c:v>
                </c:pt>
                <c:pt idx="1764">
                  <c:v>908.59002699999996</c:v>
                </c:pt>
                <c:pt idx="1765">
                  <c:v>929.01000999999997</c:v>
                </c:pt>
                <c:pt idx="1766">
                  <c:v>922.92999299999997</c:v>
                </c:pt>
                <c:pt idx="1767">
                  <c:v>909.92999299999997</c:v>
                </c:pt>
                <c:pt idx="1768">
                  <c:v>927.57000700000003</c:v>
                </c:pt>
                <c:pt idx="1769">
                  <c:v>927.57000700000003</c:v>
                </c:pt>
                <c:pt idx="1770">
                  <c:v>926.26000999999997</c:v>
                </c:pt>
                <c:pt idx="1771">
                  <c:v>931.65997300000004</c:v>
                </c:pt>
                <c:pt idx="1772">
                  <c:v>918.21997099999999</c:v>
                </c:pt>
                <c:pt idx="1773">
                  <c:v>914.59997599999997</c:v>
                </c:pt>
                <c:pt idx="1774">
                  <c:v>901.78002900000001</c:v>
                </c:pt>
                <c:pt idx="1775">
                  <c:v>887.61999500000002</c:v>
                </c:pt>
                <c:pt idx="1776">
                  <c:v>878.35998500000005</c:v>
                </c:pt>
                <c:pt idx="1777">
                  <c:v>887.34002699999996</c:v>
                </c:pt>
                <c:pt idx="1778">
                  <c:v>861.40002400000003</c:v>
                </c:pt>
                <c:pt idx="1779">
                  <c:v>847.47997999999995</c:v>
                </c:pt>
                <c:pt idx="1780">
                  <c:v>858.53997800000002</c:v>
                </c:pt>
                <c:pt idx="1781">
                  <c:v>864.35998500000005</c:v>
                </c:pt>
                <c:pt idx="1782">
                  <c:v>844.60998500000005</c:v>
                </c:pt>
                <c:pt idx="1783">
                  <c:v>855.70001200000002</c:v>
                </c:pt>
                <c:pt idx="1784">
                  <c:v>860.32000700000003</c:v>
                </c:pt>
                <c:pt idx="1785">
                  <c:v>848.20001200000002</c:v>
                </c:pt>
                <c:pt idx="1786">
                  <c:v>843.59002699999996</c:v>
                </c:pt>
                <c:pt idx="1787">
                  <c:v>838.15002400000003</c:v>
                </c:pt>
                <c:pt idx="1788">
                  <c:v>829.69000200000005</c:v>
                </c:pt>
                <c:pt idx="1789">
                  <c:v>835.96997099999999</c:v>
                </c:pt>
                <c:pt idx="1790">
                  <c:v>829.20001200000002</c:v>
                </c:pt>
                <c:pt idx="1791">
                  <c:v>818.67999299999997</c:v>
                </c:pt>
                <c:pt idx="1792">
                  <c:v>817.36999500000002</c:v>
                </c:pt>
                <c:pt idx="1793">
                  <c:v>834.89001499999995</c:v>
                </c:pt>
                <c:pt idx="1794">
                  <c:v>851.169983</c:v>
                </c:pt>
                <c:pt idx="1795">
                  <c:v>845.13000499999998</c:v>
                </c:pt>
                <c:pt idx="1796">
                  <c:v>837.09997599999997</c:v>
                </c:pt>
                <c:pt idx="1797">
                  <c:v>848.169983</c:v>
                </c:pt>
                <c:pt idx="1798">
                  <c:v>832.580017</c:v>
                </c:pt>
                <c:pt idx="1799">
                  <c:v>838.57000700000003</c:v>
                </c:pt>
                <c:pt idx="1800">
                  <c:v>827.54998799999998</c:v>
                </c:pt>
                <c:pt idx="1801">
                  <c:v>837.28002900000001</c:v>
                </c:pt>
                <c:pt idx="1802">
                  <c:v>841.15002400000003</c:v>
                </c:pt>
                <c:pt idx="1803">
                  <c:v>834.80999799999995</c:v>
                </c:pt>
                <c:pt idx="1804">
                  <c:v>821.98999000000003</c:v>
                </c:pt>
                <c:pt idx="1805">
                  <c:v>829.84997599999997</c:v>
                </c:pt>
                <c:pt idx="1806">
                  <c:v>822.09997599999997</c:v>
                </c:pt>
                <c:pt idx="1807">
                  <c:v>828.89001499999995</c:v>
                </c:pt>
                <c:pt idx="1808">
                  <c:v>807.47997999999995</c:v>
                </c:pt>
                <c:pt idx="1809">
                  <c:v>800.72997999999995</c:v>
                </c:pt>
                <c:pt idx="1810">
                  <c:v>804.19000200000005</c:v>
                </c:pt>
                <c:pt idx="1811">
                  <c:v>831.90002400000003</c:v>
                </c:pt>
                <c:pt idx="1812">
                  <c:v>833.27002000000005</c:v>
                </c:pt>
                <c:pt idx="1813">
                  <c:v>862.78997800000002</c:v>
                </c:pt>
                <c:pt idx="1814">
                  <c:v>866.45001200000002</c:v>
                </c:pt>
                <c:pt idx="1815">
                  <c:v>874.02002000000005</c:v>
                </c:pt>
                <c:pt idx="1816">
                  <c:v>875.669983</c:v>
                </c:pt>
                <c:pt idx="1817">
                  <c:v>895.78997800000002</c:v>
                </c:pt>
                <c:pt idx="1818">
                  <c:v>864.22997999999995</c:v>
                </c:pt>
                <c:pt idx="1819">
                  <c:v>874.73999000000003</c:v>
                </c:pt>
                <c:pt idx="1820">
                  <c:v>869.95001200000002</c:v>
                </c:pt>
                <c:pt idx="1821">
                  <c:v>868.52002000000005</c:v>
                </c:pt>
                <c:pt idx="1822">
                  <c:v>863.5</c:v>
                </c:pt>
                <c:pt idx="1823">
                  <c:v>848.17999299999997</c:v>
                </c:pt>
                <c:pt idx="1824">
                  <c:v>858.47997999999995</c:v>
                </c:pt>
                <c:pt idx="1825">
                  <c:v>880.90002400000003</c:v>
                </c:pt>
                <c:pt idx="1826">
                  <c:v>876.45001200000002</c:v>
                </c:pt>
                <c:pt idx="1827">
                  <c:v>878.84997599999997</c:v>
                </c:pt>
                <c:pt idx="1828">
                  <c:v>879.92999299999997</c:v>
                </c:pt>
                <c:pt idx="1829">
                  <c:v>878.28997800000002</c:v>
                </c:pt>
                <c:pt idx="1830">
                  <c:v>865.98999000000003</c:v>
                </c:pt>
                <c:pt idx="1831">
                  <c:v>871.580017</c:v>
                </c:pt>
                <c:pt idx="1832">
                  <c:v>868.29998799999998</c:v>
                </c:pt>
                <c:pt idx="1833">
                  <c:v>885.22997999999995</c:v>
                </c:pt>
                <c:pt idx="1834">
                  <c:v>890.80999799999995</c:v>
                </c:pt>
                <c:pt idx="1835">
                  <c:v>879.90997300000004</c:v>
                </c:pt>
                <c:pt idx="1836">
                  <c:v>893.580017</c:v>
                </c:pt>
                <c:pt idx="1837">
                  <c:v>892.01000999999997</c:v>
                </c:pt>
                <c:pt idx="1838">
                  <c:v>911.36999500000002</c:v>
                </c:pt>
                <c:pt idx="1839">
                  <c:v>919.02002000000005</c:v>
                </c:pt>
                <c:pt idx="1840">
                  <c:v>911.42999299999997</c:v>
                </c:pt>
                <c:pt idx="1841">
                  <c:v>898.80999799999995</c:v>
                </c:pt>
                <c:pt idx="1842">
                  <c:v>914.84002699999996</c:v>
                </c:pt>
                <c:pt idx="1843">
                  <c:v>917.84002699999996</c:v>
                </c:pt>
                <c:pt idx="1844">
                  <c:v>916.919983</c:v>
                </c:pt>
                <c:pt idx="1845">
                  <c:v>916.29998799999998</c:v>
                </c:pt>
                <c:pt idx="1846">
                  <c:v>930.080017</c:v>
                </c:pt>
                <c:pt idx="1847">
                  <c:v>926.54998799999998</c:v>
                </c:pt>
                <c:pt idx="1848">
                  <c:v>934.39001499999995</c:v>
                </c:pt>
                <c:pt idx="1849">
                  <c:v>929.61999500000002</c:v>
                </c:pt>
                <c:pt idx="1850">
                  <c:v>920.27002000000005</c:v>
                </c:pt>
                <c:pt idx="1851">
                  <c:v>933.40997300000004</c:v>
                </c:pt>
                <c:pt idx="1852">
                  <c:v>945.10998500000005</c:v>
                </c:pt>
                <c:pt idx="1853">
                  <c:v>942.29998799999998</c:v>
                </c:pt>
                <c:pt idx="1854">
                  <c:v>939.28002900000001</c:v>
                </c:pt>
                <c:pt idx="1855">
                  <c:v>946.669983</c:v>
                </c:pt>
                <c:pt idx="1856">
                  <c:v>944.29998799999998</c:v>
                </c:pt>
                <c:pt idx="1857">
                  <c:v>920.77002000000005</c:v>
                </c:pt>
                <c:pt idx="1858">
                  <c:v>919.72997999999995</c:v>
                </c:pt>
                <c:pt idx="1859">
                  <c:v>923.419983</c:v>
                </c:pt>
                <c:pt idx="1860">
                  <c:v>931.86999500000002</c:v>
                </c:pt>
                <c:pt idx="1861">
                  <c:v>933.21997099999999</c:v>
                </c:pt>
                <c:pt idx="1862">
                  <c:v>951.47997999999995</c:v>
                </c:pt>
                <c:pt idx="1863">
                  <c:v>953.21997099999999</c:v>
                </c:pt>
                <c:pt idx="1864">
                  <c:v>949.64001499999995</c:v>
                </c:pt>
                <c:pt idx="1865">
                  <c:v>963.59002699999996</c:v>
                </c:pt>
                <c:pt idx="1866">
                  <c:v>967</c:v>
                </c:pt>
                <c:pt idx="1867">
                  <c:v>971.55999799999995</c:v>
                </c:pt>
                <c:pt idx="1868">
                  <c:v>986.23999000000003</c:v>
                </c:pt>
                <c:pt idx="1869">
                  <c:v>990.14001499999995</c:v>
                </c:pt>
                <c:pt idx="1870">
                  <c:v>987.76000999999997</c:v>
                </c:pt>
                <c:pt idx="1871">
                  <c:v>975.92999299999997</c:v>
                </c:pt>
                <c:pt idx="1872">
                  <c:v>984.84002699999996</c:v>
                </c:pt>
                <c:pt idx="1873">
                  <c:v>997.47997999999995</c:v>
                </c:pt>
                <c:pt idx="1874">
                  <c:v>998.51000999999997</c:v>
                </c:pt>
                <c:pt idx="1875">
                  <c:v>988.60998500000005</c:v>
                </c:pt>
                <c:pt idx="1876">
                  <c:v>1010.73999</c:v>
                </c:pt>
                <c:pt idx="1877">
                  <c:v>1011.659973</c:v>
                </c:pt>
                <c:pt idx="1878">
                  <c:v>1010.090027</c:v>
                </c:pt>
                <c:pt idx="1879">
                  <c:v>994.70001200000002</c:v>
                </c:pt>
                <c:pt idx="1880">
                  <c:v>995.69000200000005</c:v>
                </c:pt>
                <c:pt idx="1881">
                  <c:v>981.64001499999995</c:v>
                </c:pt>
                <c:pt idx="1882">
                  <c:v>983.45001200000002</c:v>
                </c:pt>
                <c:pt idx="1883">
                  <c:v>975.32000700000003</c:v>
                </c:pt>
                <c:pt idx="1884">
                  <c:v>985.82000700000003</c:v>
                </c:pt>
                <c:pt idx="1885">
                  <c:v>976.21997099999999</c:v>
                </c:pt>
                <c:pt idx="1886">
                  <c:v>974.5</c:v>
                </c:pt>
                <c:pt idx="1887">
                  <c:v>982.32000700000003</c:v>
                </c:pt>
                <c:pt idx="1888">
                  <c:v>993.75</c:v>
                </c:pt>
                <c:pt idx="1889">
                  <c:v>985.70001200000002</c:v>
                </c:pt>
                <c:pt idx="1890">
                  <c:v>1004.419983</c:v>
                </c:pt>
                <c:pt idx="1891">
                  <c:v>1007.840027</c:v>
                </c:pt>
                <c:pt idx="1892">
                  <c:v>1002.210022</c:v>
                </c:pt>
                <c:pt idx="1893">
                  <c:v>988.70001200000002</c:v>
                </c:pt>
                <c:pt idx="1894">
                  <c:v>998.14001499999995</c:v>
                </c:pt>
                <c:pt idx="1895">
                  <c:v>1003.8599850000001</c:v>
                </c:pt>
                <c:pt idx="1896">
                  <c:v>1000.419983</c:v>
                </c:pt>
                <c:pt idx="1897">
                  <c:v>994.09002699999996</c:v>
                </c:pt>
                <c:pt idx="1898">
                  <c:v>981.72997999999995</c:v>
                </c:pt>
                <c:pt idx="1899">
                  <c:v>993.32000700000003</c:v>
                </c:pt>
                <c:pt idx="1900">
                  <c:v>978.79998799999998</c:v>
                </c:pt>
                <c:pt idx="1901">
                  <c:v>988.10998500000005</c:v>
                </c:pt>
                <c:pt idx="1902">
                  <c:v>988.60998500000005</c:v>
                </c:pt>
                <c:pt idx="1903">
                  <c:v>981.59997599999997</c:v>
                </c:pt>
                <c:pt idx="1904">
                  <c:v>998.67999299999997</c:v>
                </c:pt>
                <c:pt idx="1905">
                  <c:v>996.52002000000005</c:v>
                </c:pt>
                <c:pt idx="1906">
                  <c:v>989.28002900000001</c:v>
                </c:pt>
                <c:pt idx="1907">
                  <c:v>987.48999000000003</c:v>
                </c:pt>
                <c:pt idx="1908">
                  <c:v>990.30999799999995</c:v>
                </c:pt>
                <c:pt idx="1909">
                  <c:v>980.15002400000003</c:v>
                </c:pt>
                <c:pt idx="1910">
                  <c:v>982.82000700000003</c:v>
                </c:pt>
                <c:pt idx="1911">
                  <c:v>965.46002199999998</c:v>
                </c:pt>
                <c:pt idx="1912">
                  <c:v>967.080017</c:v>
                </c:pt>
                <c:pt idx="1913">
                  <c:v>974.11999500000002</c:v>
                </c:pt>
                <c:pt idx="1914">
                  <c:v>977.59002699999996</c:v>
                </c:pt>
                <c:pt idx="1915">
                  <c:v>980.59002699999996</c:v>
                </c:pt>
                <c:pt idx="1916">
                  <c:v>990.34997599999997</c:v>
                </c:pt>
                <c:pt idx="1917">
                  <c:v>984.03002900000001</c:v>
                </c:pt>
                <c:pt idx="1918">
                  <c:v>990.51000999999997</c:v>
                </c:pt>
                <c:pt idx="1919">
                  <c:v>990.669983</c:v>
                </c:pt>
                <c:pt idx="1920">
                  <c:v>999.73999000000003</c:v>
                </c:pt>
                <c:pt idx="1921">
                  <c:v>1002.349976</c:v>
                </c:pt>
                <c:pt idx="1922">
                  <c:v>1000.299988</c:v>
                </c:pt>
                <c:pt idx="1923">
                  <c:v>1003.27002</c:v>
                </c:pt>
                <c:pt idx="1924">
                  <c:v>993.05999799999995</c:v>
                </c:pt>
                <c:pt idx="1925">
                  <c:v>993.71002199999998</c:v>
                </c:pt>
                <c:pt idx="1926">
                  <c:v>996.72997999999995</c:v>
                </c:pt>
                <c:pt idx="1927">
                  <c:v>996.78997800000002</c:v>
                </c:pt>
                <c:pt idx="1928">
                  <c:v>1002.840027</c:v>
                </c:pt>
                <c:pt idx="1929">
                  <c:v>1008.01001</c:v>
                </c:pt>
                <c:pt idx="1930">
                  <c:v>1021.98999</c:v>
                </c:pt>
                <c:pt idx="1931">
                  <c:v>1026.2700199999999</c:v>
                </c:pt>
                <c:pt idx="1932">
                  <c:v>1027.969971</c:v>
                </c:pt>
                <c:pt idx="1933">
                  <c:v>1021.3900149999999</c:v>
                </c:pt>
                <c:pt idx="1934">
                  <c:v>1031.6400149999999</c:v>
                </c:pt>
                <c:pt idx="1935">
                  <c:v>1023.169983</c:v>
                </c:pt>
                <c:pt idx="1936">
                  <c:v>1010.919983</c:v>
                </c:pt>
                <c:pt idx="1937">
                  <c:v>1016.419983</c:v>
                </c:pt>
                <c:pt idx="1938">
                  <c:v>1018.630005</c:v>
                </c:pt>
                <c:pt idx="1939">
                  <c:v>1014.809998</c:v>
                </c:pt>
                <c:pt idx="1940">
                  <c:v>1029.3199460000001</c:v>
                </c:pt>
                <c:pt idx="1941">
                  <c:v>1025.969971</c:v>
                </c:pt>
                <c:pt idx="1942">
                  <c:v>1039.579956</c:v>
                </c:pt>
                <c:pt idx="1943">
                  <c:v>1036.3000489999999</c:v>
                </c:pt>
                <c:pt idx="1944">
                  <c:v>1022.820007</c:v>
                </c:pt>
                <c:pt idx="1945">
                  <c:v>1029.030029</c:v>
                </c:pt>
                <c:pt idx="1946">
                  <c:v>1009.380005</c:v>
                </c:pt>
                <c:pt idx="1947">
                  <c:v>1003.27002</c:v>
                </c:pt>
                <c:pt idx="1948">
                  <c:v>996.84997599999997</c:v>
                </c:pt>
                <c:pt idx="1949">
                  <c:v>1006.580017</c:v>
                </c:pt>
                <c:pt idx="1950">
                  <c:v>995.96997099999999</c:v>
                </c:pt>
                <c:pt idx="1951">
                  <c:v>1018.219971</c:v>
                </c:pt>
                <c:pt idx="1952">
                  <c:v>1020.23999</c:v>
                </c:pt>
                <c:pt idx="1953">
                  <c:v>1029.849976</c:v>
                </c:pt>
                <c:pt idx="1954">
                  <c:v>1034.349976</c:v>
                </c:pt>
                <c:pt idx="1955">
                  <c:v>1039.25</c:v>
                </c:pt>
                <c:pt idx="1956">
                  <c:v>1033.780029</c:v>
                </c:pt>
                <c:pt idx="1957">
                  <c:v>1038.7299800000001</c:v>
                </c:pt>
                <c:pt idx="1958">
                  <c:v>1038.0600589999999</c:v>
                </c:pt>
                <c:pt idx="1959">
                  <c:v>1045.349976</c:v>
                </c:pt>
                <c:pt idx="1960">
                  <c:v>1049.4799800000001</c:v>
                </c:pt>
                <c:pt idx="1961">
                  <c:v>1046.76001</c:v>
                </c:pt>
                <c:pt idx="1962">
                  <c:v>1050.0699460000001</c:v>
                </c:pt>
                <c:pt idx="1963">
                  <c:v>1039.3199460000001</c:v>
                </c:pt>
                <c:pt idx="1964">
                  <c:v>1044.6800539999999</c:v>
                </c:pt>
                <c:pt idx="1965">
                  <c:v>1046.030029</c:v>
                </c:pt>
                <c:pt idx="1966">
                  <c:v>1030.3599850000001</c:v>
                </c:pt>
                <c:pt idx="1967">
                  <c:v>1033.7700199999999</c:v>
                </c:pt>
                <c:pt idx="1968">
                  <c:v>1028.910034</c:v>
                </c:pt>
                <c:pt idx="1969">
                  <c:v>1031.130005</c:v>
                </c:pt>
                <c:pt idx="1970">
                  <c:v>1046.790039</c:v>
                </c:pt>
                <c:pt idx="1971">
                  <c:v>1048.1099850000001</c:v>
                </c:pt>
                <c:pt idx="1972">
                  <c:v>1046.9399410000001</c:v>
                </c:pt>
                <c:pt idx="1973">
                  <c:v>1050.709961</c:v>
                </c:pt>
                <c:pt idx="1974">
                  <c:v>1059.0200199999999</c:v>
                </c:pt>
                <c:pt idx="1975">
                  <c:v>1053.25</c:v>
                </c:pt>
                <c:pt idx="1976">
                  <c:v>1051.8100589999999</c:v>
                </c:pt>
                <c:pt idx="1977">
                  <c:v>1058.0500489999999</c:v>
                </c:pt>
                <c:pt idx="1978">
                  <c:v>1053.209961</c:v>
                </c:pt>
                <c:pt idx="1979">
                  <c:v>1047.1099850000001</c:v>
                </c:pt>
                <c:pt idx="1980">
                  <c:v>1046.5699460000001</c:v>
                </c:pt>
                <c:pt idx="1981">
                  <c:v>1058.530029</c:v>
                </c:pt>
                <c:pt idx="1982">
                  <c:v>1058.410034</c:v>
                </c:pt>
                <c:pt idx="1983">
                  <c:v>1050.349976</c:v>
                </c:pt>
                <c:pt idx="1984">
                  <c:v>1043.630005</c:v>
                </c:pt>
                <c:pt idx="1985">
                  <c:v>1034.150024</c:v>
                </c:pt>
                <c:pt idx="1986">
                  <c:v>1042.4399410000001</c:v>
                </c:pt>
                <c:pt idx="1987">
                  <c:v>1033.650024</c:v>
                </c:pt>
                <c:pt idx="1988">
                  <c:v>1035.280029</c:v>
                </c:pt>
                <c:pt idx="1989">
                  <c:v>1052.079956</c:v>
                </c:pt>
                <c:pt idx="1990">
                  <c:v>1053.8900149999999</c:v>
                </c:pt>
                <c:pt idx="1991">
                  <c:v>1058.4499510000001</c:v>
                </c:pt>
                <c:pt idx="1992">
                  <c:v>1058.1999510000001</c:v>
                </c:pt>
                <c:pt idx="1993">
                  <c:v>1070.119995</c:v>
                </c:pt>
                <c:pt idx="1994">
                  <c:v>1066.619995</c:v>
                </c:pt>
                <c:pt idx="1995">
                  <c:v>1064.7299800000001</c:v>
                </c:pt>
                <c:pt idx="1996">
                  <c:v>1069.719971</c:v>
                </c:pt>
                <c:pt idx="1997">
                  <c:v>1061.5</c:v>
                </c:pt>
                <c:pt idx="1998">
                  <c:v>1069.3000489999999</c:v>
                </c:pt>
                <c:pt idx="1999">
                  <c:v>1060.1800539999999</c:v>
                </c:pt>
                <c:pt idx="2000">
                  <c:v>1059.0500489999999</c:v>
                </c:pt>
                <c:pt idx="2001">
                  <c:v>1071.209961</c:v>
                </c:pt>
                <c:pt idx="2002">
                  <c:v>1074.1400149999999</c:v>
                </c:pt>
                <c:pt idx="2003">
                  <c:v>1068.040039</c:v>
                </c:pt>
                <c:pt idx="2004">
                  <c:v>1075.130005</c:v>
                </c:pt>
                <c:pt idx="2005">
                  <c:v>1076.4799800000001</c:v>
                </c:pt>
                <c:pt idx="2006">
                  <c:v>1089.1800539999999</c:v>
                </c:pt>
                <c:pt idx="2007">
                  <c:v>1088.660034</c:v>
                </c:pt>
                <c:pt idx="2008">
                  <c:v>1092.9399410000001</c:v>
                </c:pt>
                <c:pt idx="2009">
                  <c:v>1096.0200199999999</c:v>
                </c:pt>
                <c:pt idx="2010">
                  <c:v>1094.040039</c:v>
                </c:pt>
                <c:pt idx="2011">
                  <c:v>1095.8900149999999</c:v>
                </c:pt>
                <c:pt idx="2012">
                  <c:v>1109.4799800000001</c:v>
                </c:pt>
                <c:pt idx="2013">
                  <c:v>1109.6400149999999</c:v>
                </c:pt>
                <c:pt idx="2014">
                  <c:v>1111.920044</c:v>
                </c:pt>
                <c:pt idx="2015">
                  <c:v>1108.4799800000001</c:v>
                </c:pt>
                <c:pt idx="2016">
                  <c:v>1122.219971</c:v>
                </c:pt>
                <c:pt idx="2017">
                  <c:v>1123.670044</c:v>
                </c:pt>
                <c:pt idx="2018">
                  <c:v>1126.329956</c:v>
                </c:pt>
                <c:pt idx="2019">
                  <c:v>1131.920044</c:v>
                </c:pt>
                <c:pt idx="2020">
                  <c:v>1121.8599850000001</c:v>
                </c:pt>
                <c:pt idx="2021">
                  <c:v>1127.2299800000001</c:v>
                </c:pt>
                <c:pt idx="2022">
                  <c:v>1121.219971</c:v>
                </c:pt>
                <c:pt idx="2023">
                  <c:v>1130.5200199999999</c:v>
                </c:pt>
                <c:pt idx="2024">
                  <c:v>1132.0500489999999</c:v>
                </c:pt>
                <c:pt idx="2025">
                  <c:v>1139.829956</c:v>
                </c:pt>
                <c:pt idx="2026">
                  <c:v>1138.7700199999999</c:v>
                </c:pt>
                <c:pt idx="2027">
                  <c:v>1147.619995</c:v>
                </c:pt>
                <c:pt idx="2028">
                  <c:v>1143.9399410000001</c:v>
                </c:pt>
                <c:pt idx="2029">
                  <c:v>1141.5500489999999</c:v>
                </c:pt>
                <c:pt idx="2030">
                  <c:v>1155.369995</c:v>
                </c:pt>
                <c:pt idx="2031">
                  <c:v>1144.0500489999999</c:v>
                </c:pt>
                <c:pt idx="2032">
                  <c:v>1128.4799800000001</c:v>
                </c:pt>
                <c:pt idx="2033">
                  <c:v>1134.1099850000001</c:v>
                </c:pt>
                <c:pt idx="2034">
                  <c:v>1131.130005</c:v>
                </c:pt>
                <c:pt idx="2035">
                  <c:v>1135.26001</c:v>
                </c:pt>
                <c:pt idx="2036">
                  <c:v>1136.030029</c:v>
                </c:pt>
                <c:pt idx="2037">
                  <c:v>1126.5200199999999</c:v>
                </c:pt>
                <c:pt idx="2038">
                  <c:v>1128.589966</c:v>
                </c:pt>
                <c:pt idx="2039">
                  <c:v>1142.76001</c:v>
                </c:pt>
                <c:pt idx="2040">
                  <c:v>1139.8100589999999</c:v>
                </c:pt>
                <c:pt idx="2041">
                  <c:v>1145.540039</c:v>
                </c:pt>
                <c:pt idx="2042">
                  <c:v>1157.76001</c:v>
                </c:pt>
                <c:pt idx="2043">
                  <c:v>1152.1099850000001</c:v>
                </c:pt>
                <c:pt idx="2044">
                  <c:v>1145.8100589999999</c:v>
                </c:pt>
                <c:pt idx="2045">
                  <c:v>1156.98999</c:v>
                </c:pt>
                <c:pt idx="2046">
                  <c:v>1151.8199460000001</c:v>
                </c:pt>
                <c:pt idx="2047">
                  <c:v>1147.0600589999999</c:v>
                </c:pt>
                <c:pt idx="2048">
                  <c:v>1144.1099850000001</c:v>
                </c:pt>
                <c:pt idx="2049">
                  <c:v>1140.98999</c:v>
                </c:pt>
                <c:pt idx="2050">
                  <c:v>1139.089966</c:v>
                </c:pt>
                <c:pt idx="2051">
                  <c:v>1143.670044</c:v>
                </c:pt>
                <c:pt idx="2052">
                  <c:v>1144.910034</c:v>
                </c:pt>
                <c:pt idx="2053">
                  <c:v>1144.9399410000001</c:v>
                </c:pt>
                <c:pt idx="2054">
                  <c:v>1155.969971</c:v>
                </c:pt>
                <c:pt idx="2055">
                  <c:v>1149.099976</c:v>
                </c:pt>
                <c:pt idx="2056">
                  <c:v>1151.030029</c:v>
                </c:pt>
                <c:pt idx="2057">
                  <c:v>1154.869995</c:v>
                </c:pt>
                <c:pt idx="2058">
                  <c:v>1156.8599850000001</c:v>
                </c:pt>
                <c:pt idx="2059">
                  <c:v>1147.1999510000001</c:v>
                </c:pt>
                <c:pt idx="2060">
                  <c:v>1140.579956</c:v>
                </c:pt>
                <c:pt idx="2061">
                  <c:v>1123.8900149999999</c:v>
                </c:pt>
                <c:pt idx="2062">
                  <c:v>1106.780029</c:v>
                </c:pt>
                <c:pt idx="2063">
                  <c:v>1120.5699460000001</c:v>
                </c:pt>
                <c:pt idx="2064">
                  <c:v>1104.48999</c:v>
                </c:pt>
                <c:pt idx="2065">
                  <c:v>1110.6999510000001</c:v>
                </c:pt>
                <c:pt idx="2066">
                  <c:v>1123.75</c:v>
                </c:pt>
                <c:pt idx="2067">
                  <c:v>1122.3199460000001</c:v>
                </c:pt>
                <c:pt idx="2068">
                  <c:v>1109.780029</c:v>
                </c:pt>
                <c:pt idx="2069">
                  <c:v>1095.400024</c:v>
                </c:pt>
                <c:pt idx="2070">
                  <c:v>1093.9499510000001</c:v>
                </c:pt>
                <c:pt idx="2071">
                  <c:v>1091.329956</c:v>
                </c:pt>
                <c:pt idx="2072">
                  <c:v>1109.1899410000001</c:v>
                </c:pt>
                <c:pt idx="2073">
                  <c:v>1108.0600589999999</c:v>
                </c:pt>
                <c:pt idx="2074">
                  <c:v>1122.469971</c:v>
                </c:pt>
                <c:pt idx="2075">
                  <c:v>1127</c:v>
                </c:pt>
                <c:pt idx="2076">
                  <c:v>1126.209961</c:v>
                </c:pt>
                <c:pt idx="2077">
                  <c:v>1132.170044</c:v>
                </c:pt>
                <c:pt idx="2078">
                  <c:v>1141.8100589999999</c:v>
                </c:pt>
                <c:pt idx="2079">
                  <c:v>1150.5699460000001</c:v>
                </c:pt>
                <c:pt idx="2080">
                  <c:v>1148.160034</c:v>
                </c:pt>
                <c:pt idx="2081">
                  <c:v>1140.530029</c:v>
                </c:pt>
                <c:pt idx="2082">
                  <c:v>1139.3199460000001</c:v>
                </c:pt>
                <c:pt idx="2083">
                  <c:v>1145.1999510000001</c:v>
                </c:pt>
                <c:pt idx="2084">
                  <c:v>1129.4399410000001</c:v>
                </c:pt>
                <c:pt idx="2085">
                  <c:v>1128.170044</c:v>
                </c:pt>
                <c:pt idx="2086">
                  <c:v>1128.839966</c:v>
                </c:pt>
                <c:pt idx="2087">
                  <c:v>1134.6099850000001</c:v>
                </c:pt>
                <c:pt idx="2088">
                  <c:v>1135.8199460000001</c:v>
                </c:pt>
                <c:pt idx="2089">
                  <c:v>1118.150024</c:v>
                </c:pt>
                <c:pt idx="2090">
                  <c:v>1124.089966</c:v>
                </c:pt>
                <c:pt idx="2091">
                  <c:v>1139.9300539999999</c:v>
                </c:pt>
                <c:pt idx="2092">
                  <c:v>1140.599976</c:v>
                </c:pt>
                <c:pt idx="2093">
                  <c:v>1135.530029</c:v>
                </c:pt>
                <c:pt idx="2094">
                  <c:v>1138.1099850000001</c:v>
                </c:pt>
                <c:pt idx="2095">
                  <c:v>1122.410034</c:v>
                </c:pt>
                <c:pt idx="2096">
                  <c:v>1113.8900149999999</c:v>
                </c:pt>
                <c:pt idx="2097">
                  <c:v>1107.3000489999999</c:v>
                </c:pt>
                <c:pt idx="2098">
                  <c:v>1117.48999</c:v>
                </c:pt>
                <c:pt idx="2099">
                  <c:v>1119.5500489999999</c:v>
                </c:pt>
                <c:pt idx="2100">
                  <c:v>1121.530029</c:v>
                </c:pt>
                <c:pt idx="2101">
                  <c:v>1113.98999</c:v>
                </c:pt>
                <c:pt idx="2102">
                  <c:v>1098.6999510000001</c:v>
                </c:pt>
                <c:pt idx="2103">
                  <c:v>1087.119995</c:v>
                </c:pt>
                <c:pt idx="2104">
                  <c:v>1095.4499510000001</c:v>
                </c:pt>
                <c:pt idx="2105">
                  <c:v>1097.280029</c:v>
                </c:pt>
                <c:pt idx="2106">
                  <c:v>1096.4399410000001</c:v>
                </c:pt>
                <c:pt idx="2107">
                  <c:v>1095.6999510000001</c:v>
                </c:pt>
                <c:pt idx="2108">
                  <c:v>1084.099976</c:v>
                </c:pt>
                <c:pt idx="2109">
                  <c:v>1091.48999</c:v>
                </c:pt>
                <c:pt idx="2110">
                  <c:v>1088.6800539999999</c:v>
                </c:pt>
                <c:pt idx="2111">
                  <c:v>1089.1899410000001</c:v>
                </c:pt>
                <c:pt idx="2112">
                  <c:v>1093.5600589999999</c:v>
                </c:pt>
                <c:pt idx="2113">
                  <c:v>1095.410034</c:v>
                </c:pt>
                <c:pt idx="2114">
                  <c:v>1113.0500489999999</c:v>
                </c:pt>
                <c:pt idx="2115">
                  <c:v>1114.9399410000001</c:v>
                </c:pt>
                <c:pt idx="2116">
                  <c:v>1121.280029</c:v>
                </c:pt>
                <c:pt idx="2117">
                  <c:v>1120.6800539999999</c:v>
                </c:pt>
                <c:pt idx="2118">
                  <c:v>1121.1999510000001</c:v>
                </c:pt>
                <c:pt idx="2119">
                  <c:v>1124.98999</c:v>
                </c:pt>
                <c:pt idx="2120">
                  <c:v>1116.6400149999999</c:v>
                </c:pt>
                <c:pt idx="2121">
                  <c:v>1122.5</c:v>
                </c:pt>
                <c:pt idx="2122">
                  <c:v>1140.420044</c:v>
                </c:pt>
                <c:pt idx="2123">
                  <c:v>1142.1800539999999</c:v>
                </c:pt>
                <c:pt idx="2124">
                  <c:v>1131.329956</c:v>
                </c:pt>
                <c:pt idx="2125">
                  <c:v>1136.469971</c:v>
                </c:pt>
                <c:pt idx="2126">
                  <c:v>1125.290039</c:v>
                </c:pt>
                <c:pt idx="2127">
                  <c:v>1132.01001</c:v>
                </c:pt>
                <c:pt idx="2128">
                  <c:v>1133.5600589999999</c:v>
                </c:pt>
                <c:pt idx="2129">
                  <c:v>1132.0500489999999</c:v>
                </c:pt>
                <c:pt idx="2130">
                  <c:v>1135.0200199999999</c:v>
                </c:pt>
                <c:pt idx="2131">
                  <c:v>1130.3000489999999</c:v>
                </c:pt>
                <c:pt idx="2132">
                  <c:v>1134.410034</c:v>
                </c:pt>
                <c:pt idx="2133">
                  <c:v>1144.0600589999999</c:v>
                </c:pt>
                <c:pt idx="2134">
                  <c:v>1140.650024</c:v>
                </c:pt>
                <c:pt idx="2135">
                  <c:v>1134.4300539999999</c:v>
                </c:pt>
                <c:pt idx="2136">
                  <c:v>1133.349976</c:v>
                </c:pt>
                <c:pt idx="2137">
                  <c:v>1136.1999510000001</c:v>
                </c:pt>
                <c:pt idx="2138">
                  <c:v>1140.839966</c:v>
                </c:pt>
                <c:pt idx="2139">
                  <c:v>1128.9399410000001</c:v>
                </c:pt>
                <c:pt idx="2140">
                  <c:v>1125.380005</c:v>
                </c:pt>
                <c:pt idx="2141">
                  <c:v>1116.209961</c:v>
                </c:pt>
                <c:pt idx="2142">
                  <c:v>1118.329956</c:v>
                </c:pt>
                <c:pt idx="2143">
                  <c:v>1109.1099850000001</c:v>
                </c:pt>
                <c:pt idx="2144">
                  <c:v>1112.8100589999999</c:v>
                </c:pt>
                <c:pt idx="2145">
                  <c:v>1114.349976</c:v>
                </c:pt>
                <c:pt idx="2146">
                  <c:v>1115.1400149999999</c:v>
                </c:pt>
                <c:pt idx="2147">
                  <c:v>1111.469971</c:v>
                </c:pt>
                <c:pt idx="2148">
                  <c:v>1106.6899410000001</c:v>
                </c:pt>
                <c:pt idx="2149">
                  <c:v>1101.3900149999999</c:v>
                </c:pt>
                <c:pt idx="2150">
                  <c:v>1100.900024</c:v>
                </c:pt>
                <c:pt idx="2151">
                  <c:v>1108.670044</c:v>
                </c:pt>
                <c:pt idx="2152">
                  <c:v>1093.880005</c:v>
                </c:pt>
                <c:pt idx="2153">
                  <c:v>1096.839966</c:v>
                </c:pt>
                <c:pt idx="2154">
                  <c:v>1086.1999510000001</c:v>
                </c:pt>
                <c:pt idx="2155">
                  <c:v>1084.0699460000001</c:v>
                </c:pt>
                <c:pt idx="2156">
                  <c:v>1094.829956</c:v>
                </c:pt>
                <c:pt idx="2157">
                  <c:v>1095.420044</c:v>
                </c:pt>
                <c:pt idx="2158">
                  <c:v>1100.4300539999999</c:v>
                </c:pt>
                <c:pt idx="2159">
                  <c:v>1101.719971</c:v>
                </c:pt>
                <c:pt idx="2160">
                  <c:v>1106.619995</c:v>
                </c:pt>
                <c:pt idx="2161">
                  <c:v>1099.6899410000001</c:v>
                </c:pt>
                <c:pt idx="2162">
                  <c:v>1098.630005</c:v>
                </c:pt>
                <c:pt idx="2163">
                  <c:v>1080.6999510000001</c:v>
                </c:pt>
                <c:pt idx="2164">
                  <c:v>1063.969971</c:v>
                </c:pt>
                <c:pt idx="2165">
                  <c:v>1065.219971</c:v>
                </c:pt>
                <c:pt idx="2166">
                  <c:v>1079.040039</c:v>
                </c:pt>
                <c:pt idx="2167">
                  <c:v>1075.790039</c:v>
                </c:pt>
                <c:pt idx="2168">
                  <c:v>1063.2299800000001</c:v>
                </c:pt>
                <c:pt idx="2169">
                  <c:v>1064.8000489999999</c:v>
                </c:pt>
                <c:pt idx="2170">
                  <c:v>1079.339966</c:v>
                </c:pt>
                <c:pt idx="2171">
                  <c:v>1081.709961</c:v>
                </c:pt>
                <c:pt idx="2172">
                  <c:v>1095.170044</c:v>
                </c:pt>
                <c:pt idx="2173">
                  <c:v>1091.2299800000001</c:v>
                </c:pt>
                <c:pt idx="2174">
                  <c:v>1098.349976</c:v>
                </c:pt>
                <c:pt idx="2175">
                  <c:v>1095.6800539999999</c:v>
                </c:pt>
                <c:pt idx="2176">
                  <c:v>1096.1899410000001</c:v>
                </c:pt>
                <c:pt idx="2177">
                  <c:v>1104.959961</c:v>
                </c:pt>
                <c:pt idx="2178">
                  <c:v>1105.089966</c:v>
                </c:pt>
                <c:pt idx="2179">
                  <c:v>1107.7700199999999</c:v>
                </c:pt>
                <c:pt idx="2180">
                  <c:v>1099.150024</c:v>
                </c:pt>
                <c:pt idx="2181">
                  <c:v>1104.23999</c:v>
                </c:pt>
                <c:pt idx="2182">
                  <c:v>1105.910034</c:v>
                </c:pt>
                <c:pt idx="2183">
                  <c:v>1118.3100589999999</c:v>
                </c:pt>
                <c:pt idx="2184">
                  <c:v>1113.630005</c:v>
                </c:pt>
                <c:pt idx="2185">
                  <c:v>1121.3000489999999</c:v>
                </c:pt>
                <c:pt idx="2186">
                  <c:v>1116.2700199999999</c:v>
                </c:pt>
                <c:pt idx="2187">
                  <c:v>1118.380005</c:v>
                </c:pt>
                <c:pt idx="2188">
                  <c:v>1123.920044</c:v>
                </c:pt>
                <c:pt idx="2189">
                  <c:v>1125.8199460000001</c:v>
                </c:pt>
                <c:pt idx="2190">
                  <c:v>1128.329956</c:v>
                </c:pt>
                <c:pt idx="2191">
                  <c:v>1120.369995</c:v>
                </c:pt>
                <c:pt idx="2192">
                  <c:v>1123.5</c:v>
                </c:pt>
                <c:pt idx="2193">
                  <c:v>1128.5500489999999</c:v>
                </c:pt>
                <c:pt idx="2194">
                  <c:v>1122.1999510000001</c:v>
                </c:pt>
                <c:pt idx="2195">
                  <c:v>1129.3000489999999</c:v>
                </c:pt>
                <c:pt idx="2196">
                  <c:v>1113.5600589999999</c:v>
                </c:pt>
                <c:pt idx="2197">
                  <c:v>1108.3599850000001</c:v>
                </c:pt>
                <c:pt idx="2198">
                  <c:v>1110.1099850000001</c:v>
                </c:pt>
                <c:pt idx="2199">
                  <c:v>1103.5200199999999</c:v>
                </c:pt>
                <c:pt idx="2200">
                  <c:v>1110.0600589999999</c:v>
                </c:pt>
                <c:pt idx="2201">
                  <c:v>1114.8000489999999</c:v>
                </c:pt>
                <c:pt idx="2202">
                  <c:v>1114.579956</c:v>
                </c:pt>
                <c:pt idx="2203">
                  <c:v>1131.5</c:v>
                </c:pt>
                <c:pt idx="2204">
                  <c:v>1135.170044</c:v>
                </c:pt>
                <c:pt idx="2205">
                  <c:v>1134.4799800000001</c:v>
                </c:pt>
                <c:pt idx="2206">
                  <c:v>1142.0500489999999</c:v>
                </c:pt>
                <c:pt idx="2207">
                  <c:v>1130.650024</c:v>
                </c:pt>
                <c:pt idx="2208">
                  <c:v>1122.1400149999999</c:v>
                </c:pt>
                <c:pt idx="2209">
                  <c:v>1124.3900149999999</c:v>
                </c:pt>
                <c:pt idx="2210">
                  <c:v>1121.839966</c:v>
                </c:pt>
                <c:pt idx="2211">
                  <c:v>1113.650024</c:v>
                </c:pt>
                <c:pt idx="2212">
                  <c:v>1103.290039</c:v>
                </c:pt>
                <c:pt idx="2213">
                  <c:v>1108.1999510000001</c:v>
                </c:pt>
                <c:pt idx="2214">
                  <c:v>1114.0200199999999</c:v>
                </c:pt>
                <c:pt idx="2215">
                  <c:v>1103.2299800000001</c:v>
                </c:pt>
                <c:pt idx="2216">
                  <c:v>1103.660034</c:v>
                </c:pt>
                <c:pt idx="2217">
                  <c:v>1106.48999</c:v>
                </c:pt>
                <c:pt idx="2218">
                  <c:v>1095.73999</c:v>
                </c:pt>
                <c:pt idx="2219">
                  <c:v>1094.8000489999999</c:v>
                </c:pt>
                <c:pt idx="2220">
                  <c:v>1111.089966</c:v>
                </c:pt>
                <c:pt idx="2221">
                  <c:v>1125.400024</c:v>
                </c:pt>
                <c:pt idx="2222">
                  <c:v>1127.4399410000001</c:v>
                </c:pt>
                <c:pt idx="2223">
                  <c:v>1130.1999510000001</c:v>
                </c:pt>
                <c:pt idx="2224">
                  <c:v>1130.51001</c:v>
                </c:pt>
                <c:pt idx="2225">
                  <c:v>1130.5600589999999</c:v>
                </c:pt>
                <c:pt idx="2226">
                  <c:v>1143.1999510000001</c:v>
                </c:pt>
                <c:pt idx="2227">
                  <c:v>1161.670044</c:v>
                </c:pt>
                <c:pt idx="2228">
                  <c:v>1166.170044</c:v>
                </c:pt>
                <c:pt idx="2229">
                  <c:v>1164.8900149999999</c:v>
                </c:pt>
                <c:pt idx="2230">
                  <c:v>1164.079956</c:v>
                </c:pt>
                <c:pt idx="2231">
                  <c:v>1162.910034</c:v>
                </c:pt>
                <c:pt idx="2232">
                  <c:v>1173.4799800000001</c:v>
                </c:pt>
                <c:pt idx="2233">
                  <c:v>1184.170044</c:v>
                </c:pt>
                <c:pt idx="2234">
                  <c:v>1183.8100589999999</c:v>
                </c:pt>
                <c:pt idx="2235">
                  <c:v>1175.4300539999999</c:v>
                </c:pt>
                <c:pt idx="2236">
                  <c:v>1181.9399410000001</c:v>
                </c:pt>
                <c:pt idx="2237">
                  <c:v>1183.5500489999999</c:v>
                </c:pt>
                <c:pt idx="2238">
                  <c:v>1170.339966</c:v>
                </c:pt>
                <c:pt idx="2239">
                  <c:v>1177.23999</c:v>
                </c:pt>
                <c:pt idx="2240">
                  <c:v>1176.9399410000001</c:v>
                </c:pt>
                <c:pt idx="2241">
                  <c:v>1181.76001</c:v>
                </c:pt>
                <c:pt idx="2242">
                  <c:v>1182.650024</c:v>
                </c:pt>
                <c:pt idx="2243">
                  <c:v>1178.5699460000001</c:v>
                </c:pt>
                <c:pt idx="2244">
                  <c:v>1173.8199460000001</c:v>
                </c:pt>
                <c:pt idx="2245">
                  <c:v>1191.369995</c:v>
                </c:pt>
                <c:pt idx="2246">
                  <c:v>1190.329956</c:v>
                </c:pt>
                <c:pt idx="2247">
                  <c:v>1191.170044</c:v>
                </c:pt>
                <c:pt idx="2248">
                  <c:v>1190.25</c:v>
                </c:pt>
                <c:pt idx="2249">
                  <c:v>1177.0699460000001</c:v>
                </c:pt>
                <c:pt idx="2250">
                  <c:v>1182.8100589999999</c:v>
                </c:pt>
                <c:pt idx="2251">
                  <c:v>1189.23999</c:v>
                </c:pt>
                <c:pt idx="2252">
                  <c:v>1188</c:v>
                </c:pt>
                <c:pt idx="2253">
                  <c:v>1198.6800539999999</c:v>
                </c:pt>
                <c:pt idx="2254">
                  <c:v>1203.380005</c:v>
                </c:pt>
                <c:pt idx="2255">
                  <c:v>1205.719971</c:v>
                </c:pt>
                <c:pt idx="2256">
                  <c:v>1203.209961</c:v>
                </c:pt>
                <c:pt idx="2257">
                  <c:v>1194.1999510000001</c:v>
                </c:pt>
                <c:pt idx="2258">
                  <c:v>1194.650024</c:v>
                </c:pt>
                <c:pt idx="2259">
                  <c:v>1205.4499510000001</c:v>
                </c:pt>
                <c:pt idx="2260">
                  <c:v>1209.5699460000001</c:v>
                </c:pt>
                <c:pt idx="2261">
                  <c:v>1210.130005</c:v>
                </c:pt>
                <c:pt idx="2262">
                  <c:v>1204.920044</c:v>
                </c:pt>
                <c:pt idx="2263">
                  <c:v>1213.540039</c:v>
                </c:pt>
                <c:pt idx="2264">
                  <c:v>1213.4499510000001</c:v>
                </c:pt>
                <c:pt idx="2265">
                  <c:v>1213.5500489999999</c:v>
                </c:pt>
                <c:pt idx="2266">
                  <c:v>1211.920044</c:v>
                </c:pt>
                <c:pt idx="2267">
                  <c:v>1202.079956</c:v>
                </c:pt>
                <c:pt idx="2268">
                  <c:v>1188.0500489999999</c:v>
                </c:pt>
                <c:pt idx="2269">
                  <c:v>1183.73999</c:v>
                </c:pt>
                <c:pt idx="2270">
                  <c:v>1187.8900149999999</c:v>
                </c:pt>
                <c:pt idx="2271">
                  <c:v>1186.1899410000001</c:v>
                </c:pt>
                <c:pt idx="2272">
                  <c:v>1190.25</c:v>
                </c:pt>
                <c:pt idx="2273">
                  <c:v>1182.98999</c:v>
                </c:pt>
                <c:pt idx="2274">
                  <c:v>1187.6999510000001</c:v>
                </c:pt>
                <c:pt idx="2275">
                  <c:v>1177.4499510000001</c:v>
                </c:pt>
                <c:pt idx="2276">
                  <c:v>1184.5200199999999</c:v>
                </c:pt>
                <c:pt idx="2277">
                  <c:v>1195.9799800000001</c:v>
                </c:pt>
                <c:pt idx="2278">
                  <c:v>1184.630005</c:v>
                </c:pt>
                <c:pt idx="2279">
                  <c:v>1175.410034</c:v>
                </c:pt>
                <c:pt idx="2280">
                  <c:v>1167.869995</c:v>
                </c:pt>
                <c:pt idx="2281">
                  <c:v>1163.75</c:v>
                </c:pt>
                <c:pt idx="2282">
                  <c:v>1168.410034</c:v>
                </c:pt>
                <c:pt idx="2283">
                  <c:v>1174.0699460000001</c:v>
                </c:pt>
                <c:pt idx="2284">
                  <c:v>1174.5500489999999</c:v>
                </c:pt>
                <c:pt idx="2285">
                  <c:v>1171.3599850000001</c:v>
                </c:pt>
                <c:pt idx="2286">
                  <c:v>1181.2700199999999</c:v>
                </c:pt>
                <c:pt idx="2287">
                  <c:v>1189.410034</c:v>
                </c:pt>
                <c:pt idx="2288">
                  <c:v>1193.1899410000001</c:v>
                </c:pt>
                <c:pt idx="2289">
                  <c:v>1189.8900149999999</c:v>
                </c:pt>
                <c:pt idx="2290">
                  <c:v>1203.030029</c:v>
                </c:pt>
                <c:pt idx="2291">
                  <c:v>1201.719971</c:v>
                </c:pt>
                <c:pt idx="2292">
                  <c:v>1202.3000489999999</c:v>
                </c:pt>
                <c:pt idx="2293">
                  <c:v>1191.98999</c:v>
                </c:pt>
                <c:pt idx="2294">
                  <c:v>1197.01001</c:v>
                </c:pt>
                <c:pt idx="2295">
                  <c:v>1205.3000489999999</c:v>
                </c:pt>
                <c:pt idx="2296">
                  <c:v>1206.1400149999999</c:v>
                </c:pt>
                <c:pt idx="2297">
                  <c:v>1210.119995</c:v>
                </c:pt>
                <c:pt idx="2298">
                  <c:v>1210.339966</c:v>
                </c:pt>
                <c:pt idx="2299">
                  <c:v>1200.75</c:v>
                </c:pt>
                <c:pt idx="2300">
                  <c:v>1201.589966</c:v>
                </c:pt>
                <c:pt idx="2301">
                  <c:v>1184.160034</c:v>
                </c:pt>
                <c:pt idx="2302">
                  <c:v>1190.8000489999999</c:v>
                </c:pt>
                <c:pt idx="2303">
                  <c:v>1200.1999510000001</c:v>
                </c:pt>
                <c:pt idx="2304">
                  <c:v>1211.369995</c:v>
                </c:pt>
                <c:pt idx="2305">
                  <c:v>1203.599976</c:v>
                </c:pt>
                <c:pt idx="2306">
                  <c:v>1210.410034</c:v>
                </c:pt>
                <c:pt idx="2307">
                  <c:v>1210.079956</c:v>
                </c:pt>
                <c:pt idx="2308">
                  <c:v>1210.469971</c:v>
                </c:pt>
                <c:pt idx="2309">
                  <c:v>1222.119995</c:v>
                </c:pt>
                <c:pt idx="2310">
                  <c:v>1225.3100589999999</c:v>
                </c:pt>
                <c:pt idx="2311">
                  <c:v>1219.4300539999999</c:v>
                </c:pt>
                <c:pt idx="2312">
                  <c:v>1207.01001</c:v>
                </c:pt>
                <c:pt idx="2313">
                  <c:v>1209.25</c:v>
                </c:pt>
                <c:pt idx="2314">
                  <c:v>1200.079956</c:v>
                </c:pt>
                <c:pt idx="2315">
                  <c:v>1206.829956</c:v>
                </c:pt>
                <c:pt idx="2316">
                  <c:v>1197.75</c:v>
                </c:pt>
                <c:pt idx="2317">
                  <c:v>1188.0699460000001</c:v>
                </c:pt>
                <c:pt idx="2318">
                  <c:v>1190.209961</c:v>
                </c:pt>
                <c:pt idx="2319">
                  <c:v>1189.650024</c:v>
                </c:pt>
                <c:pt idx="2320">
                  <c:v>1183.780029</c:v>
                </c:pt>
                <c:pt idx="2321">
                  <c:v>1171.709961</c:v>
                </c:pt>
                <c:pt idx="2322">
                  <c:v>1172.530029</c:v>
                </c:pt>
                <c:pt idx="2323">
                  <c:v>1171.420044</c:v>
                </c:pt>
                <c:pt idx="2324">
                  <c:v>1174.280029</c:v>
                </c:pt>
                <c:pt idx="2325">
                  <c:v>1165.3599850000001</c:v>
                </c:pt>
                <c:pt idx="2326">
                  <c:v>1181.410034</c:v>
                </c:pt>
                <c:pt idx="2327">
                  <c:v>1180.589966</c:v>
                </c:pt>
                <c:pt idx="2328">
                  <c:v>1172.920044</c:v>
                </c:pt>
                <c:pt idx="2329">
                  <c:v>1176.119995</c:v>
                </c:pt>
                <c:pt idx="2330">
                  <c:v>1181.3900149999999</c:v>
                </c:pt>
                <c:pt idx="2331">
                  <c:v>1184.0699460000001</c:v>
                </c:pt>
                <c:pt idx="2332">
                  <c:v>1191.1400149999999</c:v>
                </c:pt>
                <c:pt idx="2333">
                  <c:v>1181.1999510000001</c:v>
                </c:pt>
                <c:pt idx="2334">
                  <c:v>1181.209961</c:v>
                </c:pt>
                <c:pt idx="2335">
                  <c:v>1187.76001</c:v>
                </c:pt>
                <c:pt idx="2336">
                  <c:v>1173.790039</c:v>
                </c:pt>
                <c:pt idx="2337">
                  <c:v>1162.0500489999999</c:v>
                </c:pt>
                <c:pt idx="2338">
                  <c:v>1142.619995</c:v>
                </c:pt>
                <c:pt idx="2339">
                  <c:v>1145.9799800000001</c:v>
                </c:pt>
                <c:pt idx="2340">
                  <c:v>1152.780029</c:v>
                </c:pt>
                <c:pt idx="2341">
                  <c:v>1137.5</c:v>
                </c:pt>
                <c:pt idx="2342">
                  <c:v>1159.9499510000001</c:v>
                </c:pt>
                <c:pt idx="2343">
                  <c:v>1152.119995</c:v>
                </c:pt>
                <c:pt idx="2344">
                  <c:v>1162.099976</c:v>
                </c:pt>
                <c:pt idx="2345">
                  <c:v>1151.829956</c:v>
                </c:pt>
                <c:pt idx="2346">
                  <c:v>1156.380005</c:v>
                </c:pt>
                <c:pt idx="2347">
                  <c:v>1143.219971</c:v>
                </c:pt>
                <c:pt idx="2348">
                  <c:v>1156.849976</c:v>
                </c:pt>
                <c:pt idx="2349">
                  <c:v>1162.160034</c:v>
                </c:pt>
                <c:pt idx="2350">
                  <c:v>1161.170044</c:v>
                </c:pt>
                <c:pt idx="2351">
                  <c:v>1175.650024</c:v>
                </c:pt>
                <c:pt idx="2352">
                  <c:v>1172.630005</c:v>
                </c:pt>
                <c:pt idx="2353">
                  <c:v>1171.349976</c:v>
                </c:pt>
                <c:pt idx="2354">
                  <c:v>1178.839966</c:v>
                </c:pt>
                <c:pt idx="2355">
                  <c:v>1166.219971</c:v>
                </c:pt>
                <c:pt idx="2356">
                  <c:v>1171.1099850000001</c:v>
                </c:pt>
                <c:pt idx="2357">
                  <c:v>1159.3599850000001</c:v>
                </c:pt>
                <c:pt idx="2358">
                  <c:v>1154.0500489999999</c:v>
                </c:pt>
                <c:pt idx="2359">
                  <c:v>1165.6899410000001</c:v>
                </c:pt>
                <c:pt idx="2360">
                  <c:v>1173.8000489999999</c:v>
                </c:pt>
                <c:pt idx="2361">
                  <c:v>1185.5600589999999</c:v>
                </c:pt>
                <c:pt idx="2362">
                  <c:v>1191.079956</c:v>
                </c:pt>
                <c:pt idx="2363">
                  <c:v>1189.280029</c:v>
                </c:pt>
                <c:pt idx="2364">
                  <c:v>1193.8599850000001</c:v>
                </c:pt>
                <c:pt idx="2365">
                  <c:v>1194.0699460000001</c:v>
                </c:pt>
                <c:pt idx="2366">
                  <c:v>1190.01001</c:v>
                </c:pt>
                <c:pt idx="2367">
                  <c:v>1197.619995</c:v>
                </c:pt>
                <c:pt idx="2368">
                  <c:v>1198.780029</c:v>
                </c:pt>
                <c:pt idx="2369">
                  <c:v>1191.5</c:v>
                </c:pt>
                <c:pt idx="2370">
                  <c:v>1202.219971</c:v>
                </c:pt>
                <c:pt idx="2371">
                  <c:v>1204.290039</c:v>
                </c:pt>
                <c:pt idx="2372">
                  <c:v>1196.0200199999999</c:v>
                </c:pt>
                <c:pt idx="2373">
                  <c:v>1197.51001</c:v>
                </c:pt>
                <c:pt idx="2374">
                  <c:v>1197.26001</c:v>
                </c:pt>
                <c:pt idx="2375">
                  <c:v>1194.670044</c:v>
                </c:pt>
                <c:pt idx="2376">
                  <c:v>1200.9300539999999</c:v>
                </c:pt>
                <c:pt idx="2377">
                  <c:v>1198.1099850000001</c:v>
                </c:pt>
                <c:pt idx="2378">
                  <c:v>1200.8199460000001</c:v>
                </c:pt>
                <c:pt idx="2379">
                  <c:v>1203.910034</c:v>
                </c:pt>
                <c:pt idx="2380">
                  <c:v>1206.579956</c:v>
                </c:pt>
                <c:pt idx="2381">
                  <c:v>1210.959961</c:v>
                </c:pt>
                <c:pt idx="2382">
                  <c:v>1216.959961</c:v>
                </c:pt>
                <c:pt idx="2383">
                  <c:v>1216.099976</c:v>
                </c:pt>
                <c:pt idx="2384">
                  <c:v>1213.6099850000001</c:v>
                </c:pt>
                <c:pt idx="2385">
                  <c:v>1213.880005</c:v>
                </c:pt>
                <c:pt idx="2386">
                  <c:v>1200.7299800000001</c:v>
                </c:pt>
                <c:pt idx="2387">
                  <c:v>1191.5699460000001</c:v>
                </c:pt>
                <c:pt idx="2388">
                  <c:v>1190.6899410000001</c:v>
                </c:pt>
                <c:pt idx="2389">
                  <c:v>1201.5699460000001</c:v>
                </c:pt>
                <c:pt idx="2390">
                  <c:v>1199.849976</c:v>
                </c:pt>
                <c:pt idx="2391">
                  <c:v>1191.329956</c:v>
                </c:pt>
                <c:pt idx="2392">
                  <c:v>1194.4399410000001</c:v>
                </c:pt>
                <c:pt idx="2393">
                  <c:v>1204.98999</c:v>
                </c:pt>
                <c:pt idx="2394">
                  <c:v>1194.9399410000001</c:v>
                </c:pt>
                <c:pt idx="2395">
                  <c:v>1197.869995</c:v>
                </c:pt>
                <c:pt idx="2396">
                  <c:v>1211.8599850000001</c:v>
                </c:pt>
                <c:pt idx="2397">
                  <c:v>1219.4399410000001</c:v>
                </c:pt>
                <c:pt idx="2398">
                  <c:v>1222.209961</c:v>
                </c:pt>
                <c:pt idx="2399">
                  <c:v>1223.290039</c:v>
                </c:pt>
                <c:pt idx="2400">
                  <c:v>1226.5</c:v>
                </c:pt>
                <c:pt idx="2401">
                  <c:v>1227.920044</c:v>
                </c:pt>
                <c:pt idx="2402">
                  <c:v>1221.130005</c:v>
                </c:pt>
                <c:pt idx="2403">
                  <c:v>1229.349976</c:v>
                </c:pt>
                <c:pt idx="2404">
                  <c:v>1235.1999510000001</c:v>
                </c:pt>
                <c:pt idx="2405">
                  <c:v>1227.040039</c:v>
                </c:pt>
                <c:pt idx="2406">
                  <c:v>1233.6800539999999</c:v>
                </c:pt>
                <c:pt idx="2407">
                  <c:v>1229.030029</c:v>
                </c:pt>
                <c:pt idx="2408">
                  <c:v>1231.160034</c:v>
                </c:pt>
                <c:pt idx="2409">
                  <c:v>1236.790039</c:v>
                </c:pt>
                <c:pt idx="2410">
                  <c:v>1243.719971</c:v>
                </c:pt>
                <c:pt idx="2411">
                  <c:v>1234.1800539999999</c:v>
                </c:pt>
                <c:pt idx="2412">
                  <c:v>1235.349976</c:v>
                </c:pt>
                <c:pt idx="2413">
                  <c:v>1244.119995</c:v>
                </c:pt>
                <c:pt idx="2414">
                  <c:v>1245.040039</c:v>
                </c:pt>
                <c:pt idx="2415">
                  <c:v>1235.8599850000001</c:v>
                </c:pt>
                <c:pt idx="2416">
                  <c:v>1226.420044</c:v>
                </c:pt>
                <c:pt idx="2417">
                  <c:v>1223.130005</c:v>
                </c:pt>
                <c:pt idx="2418">
                  <c:v>1231.380005</c:v>
                </c:pt>
                <c:pt idx="2419">
                  <c:v>1229.130005</c:v>
                </c:pt>
                <c:pt idx="2420">
                  <c:v>1237.8100589999999</c:v>
                </c:pt>
                <c:pt idx="2421">
                  <c:v>1230.3900149999999</c:v>
                </c:pt>
                <c:pt idx="2422">
                  <c:v>1233.869995</c:v>
                </c:pt>
                <c:pt idx="2423">
                  <c:v>1219.339966</c:v>
                </c:pt>
                <c:pt idx="2424">
                  <c:v>1220.23999</c:v>
                </c:pt>
                <c:pt idx="2425">
                  <c:v>1219.0200199999999</c:v>
                </c:pt>
                <c:pt idx="2426">
                  <c:v>1219.709961</c:v>
                </c:pt>
                <c:pt idx="2427">
                  <c:v>1221.7299800000001</c:v>
                </c:pt>
                <c:pt idx="2428">
                  <c:v>1217.589966</c:v>
                </c:pt>
                <c:pt idx="2429">
                  <c:v>1209.589966</c:v>
                </c:pt>
                <c:pt idx="2430">
                  <c:v>1212.369995</c:v>
                </c:pt>
                <c:pt idx="2431">
                  <c:v>1205.099976</c:v>
                </c:pt>
                <c:pt idx="2432">
                  <c:v>1212.280029</c:v>
                </c:pt>
                <c:pt idx="2433">
                  <c:v>1208.410034</c:v>
                </c:pt>
                <c:pt idx="2434">
                  <c:v>1220.329956</c:v>
                </c:pt>
                <c:pt idx="2435">
                  <c:v>1221.589966</c:v>
                </c:pt>
                <c:pt idx="2436">
                  <c:v>1218.0200199999999</c:v>
                </c:pt>
                <c:pt idx="2437">
                  <c:v>1233.3900149999999</c:v>
                </c:pt>
                <c:pt idx="2438">
                  <c:v>1236.3599850000001</c:v>
                </c:pt>
                <c:pt idx="2439">
                  <c:v>1231.670044</c:v>
                </c:pt>
                <c:pt idx="2440">
                  <c:v>1241.4799800000001</c:v>
                </c:pt>
                <c:pt idx="2441">
                  <c:v>1240.5600589999999</c:v>
                </c:pt>
                <c:pt idx="2442">
                  <c:v>1231.1999510000001</c:v>
                </c:pt>
                <c:pt idx="2443">
                  <c:v>1227.160034</c:v>
                </c:pt>
                <c:pt idx="2444">
                  <c:v>1227.7299800000001</c:v>
                </c:pt>
                <c:pt idx="2445">
                  <c:v>1237.910034</c:v>
                </c:pt>
                <c:pt idx="2446">
                  <c:v>1231.0200199999999</c:v>
                </c:pt>
                <c:pt idx="2447">
                  <c:v>1221.339966</c:v>
                </c:pt>
                <c:pt idx="2448">
                  <c:v>1210.1999510000001</c:v>
                </c:pt>
                <c:pt idx="2449">
                  <c:v>1214.619995</c:v>
                </c:pt>
                <c:pt idx="2450">
                  <c:v>1215.290039</c:v>
                </c:pt>
                <c:pt idx="2451">
                  <c:v>1215.630005</c:v>
                </c:pt>
                <c:pt idx="2452">
                  <c:v>1215.660034</c:v>
                </c:pt>
                <c:pt idx="2453">
                  <c:v>1216.8900149999999</c:v>
                </c:pt>
                <c:pt idx="2454">
                  <c:v>1227.6800539999999</c:v>
                </c:pt>
                <c:pt idx="2455">
                  <c:v>1228.8100589999999</c:v>
                </c:pt>
                <c:pt idx="2456">
                  <c:v>1226.6999510000001</c:v>
                </c:pt>
                <c:pt idx="2457">
                  <c:v>1214.469971</c:v>
                </c:pt>
                <c:pt idx="2458">
                  <c:v>1196.3900149999999</c:v>
                </c:pt>
                <c:pt idx="2459">
                  <c:v>1191.48999</c:v>
                </c:pt>
                <c:pt idx="2460">
                  <c:v>1195.900024</c:v>
                </c:pt>
                <c:pt idx="2461">
                  <c:v>1187.329956</c:v>
                </c:pt>
                <c:pt idx="2462">
                  <c:v>1184.869995</c:v>
                </c:pt>
                <c:pt idx="2463">
                  <c:v>1177.6800539999999</c:v>
                </c:pt>
                <c:pt idx="2464">
                  <c:v>1176.839966</c:v>
                </c:pt>
                <c:pt idx="2465">
                  <c:v>1186.5699460000001</c:v>
                </c:pt>
                <c:pt idx="2466">
                  <c:v>1190.099976</c:v>
                </c:pt>
                <c:pt idx="2467">
                  <c:v>1178.1400149999999</c:v>
                </c:pt>
                <c:pt idx="2468">
                  <c:v>1195.76001</c:v>
                </c:pt>
                <c:pt idx="2469">
                  <c:v>1177.8000489999999</c:v>
                </c:pt>
                <c:pt idx="2470">
                  <c:v>1179.589966</c:v>
                </c:pt>
                <c:pt idx="2471">
                  <c:v>1199.380005</c:v>
                </c:pt>
                <c:pt idx="2472">
                  <c:v>1196.540039</c:v>
                </c:pt>
                <c:pt idx="2473">
                  <c:v>1191.380005</c:v>
                </c:pt>
                <c:pt idx="2474">
                  <c:v>1178.900024</c:v>
                </c:pt>
                <c:pt idx="2475">
                  <c:v>1198.410034</c:v>
                </c:pt>
                <c:pt idx="2476">
                  <c:v>1207.01001</c:v>
                </c:pt>
                <c:pt idx="2477">
                  <c:v>1202.76001</c:v>
                </c:pt>
                <c:pt idx="2478">
                  <c:v>1214.76001</c:v>
                </c:pt>
                <c:pt idx="2479">
                  <c:v>1219.9399410000001</c:v>
                </c:pt>
                <c:pt idx="2480">
                  <c:v>1220.1400149999999</c:v>
                </c:pt>
                <c:pt idx="2481">
                  <c:v>1222.8100589999999</c:v>
                </c:pt>
                <c:pt idx="2482">
                  <c:v>1218.589966</c:v>
                </c:pt>
                <c:pt idx="2483">
                  <c:v>1220.650024</c:v>
                </c:pt>
                <c:pt idx="2484">
                  <c:v>1230.959961</c:v>
                </c:pt>
                <c:pt idx="2485">
                  <c:v>1234.719971</c:v>
                </c:pt>
                <c:pt idx="2486">
                  <c:v>1233.76001</c:v>
                </c:pt>
                <c:pt idx="2487">
                  <c:v>1229.01001</c:v>
                </c:pt>
                <c:pt idx="2488">
                  <c:v>1231.209961</c:v>
                </c:pt>
                <c:pt idx="2489">
                  <c:v>1242.8000489999999</c:v>
                </c:pt>
                <c:pt idx="2490">
                  <c:v>1248.2700199999999</c:v>
                </c:pt>
                <c:pt idx="2491">
                  <c:v>1254.849976</c:v>
                </c:pt>
                <c:pt idx="2492">
                  <c:v>1261.2299800000001</c:v>
                </c:pt>
                <c:pt idx="2493">
                  <c:v>1265.6099850000001</c:v>
                </c:pt>
                <c:pt idx="2494">
                  <c:v>1268.25</c:v>
                </c:pt>
                <c:pt idx="2495">
                  <c:v>1257.459961</c:v>
                </c:pt>
                <c:pt idx="2496">
                  <c:v>1257.4799800000001</c:v>
                </c:pt>
                <c:pt idx="2497">
                  <c:v>1249.4799800000001</c:v>
                </c:pt>
                <c:pt idx="2498">
                  <c:v>1264.670044</c:v>
                </c:pt>
                <c:pt idx="2499">
                  <c:v>1265.079956</c:v>
                </c:pt>
                <c:pt idx="2500">
                  <c:v>1262.089966</c:v>
                </c:pt>
                <c:pt idx="2501">
                  <c:v>1263.6999510000001</c:v>
                </c:pt>
                <c:pt idx="2502">
                  <c:v>1257.369995</c:v>
                </c:pt>
                <c:pt idx="2503">
                  <c:v>1255.839966</c:v>
                </c:pt>
                <c:pt idx="2504">
                  <c:v>1259.369995</c:v>
                </c:pt>
                <c:pt idx="2505">
                  <c:v>1260.4300539999999</c:v>
                </c:pt>
                <c:pt idx="2506">
                  <c:v>1267.4300539999999</c:v>
                </c:pt>
                <c:pt idx="2507">
                  <c:v>1272.73999</c:v>
                </c:pt>
                <c:pt idx="2508">
                  <c:v>1270.9399410000001</c:v>
                </c:pt>
                <c:pt idx="2509">
                  <c:v>1267.3199460000001</c:v>
                </c:pt>
                <c:pt idx="2510">
                  <c:v>1259.920044</c:v>
                </c:pt>
                <c:pt idx="2511">
                  <c:v>1259.619995</c:v>
                </c:pt>
                <c:pt idx="2512">
                  <c:v>1262.790039</c:v>
                </c:pt>
                <c:pt idx="2513">
                  <c:v>1268.119995</c:v>
                </c:pt>
                <c:pt idx="2514">
                  <c:v>1268.660034</c:v>
                </c:pt>
                <c:pt idx="2515">
                  <c:v>1256.540039</c:v>
                </c:pt>
                <c:pt idx="2516">
                  <c:v>1258.170044</c:v>
                </c:pt>
                <c:pt idx="2517">
                  <c:v>1254.420044</c:v>
                </c:pt>
                <c:pt idx="2518">
                  <c:v>1248.290039</c:v>
                </c:pt>
                <c:pt idx="2519">
                  <c:v>1268.8000489999999</c:v>
                </c:pt>
                <c:pt idx="2520">
                  <c:v>1273.459961</c:v>
                </c:pt>
                <c:pt idx="2521">
                  <c:v>1273.4799800000001</c:v>
                </c:pt>
                <c:pt idx="2522">
                  <c:v>1285.4499510000001</c:v>
                </c:pt>
                <c:pt idx="2523">
                  <c:v>1290.150024</c:v>
                </c:pt>
                <c:pt idx="2524">
                  <c:v>1289.6899410000001</c:v>
                </c:pt>
                <c:pt idx="2525">
                  <c:v>1294.1800539999999</c:v>
                </c:pt>
                <c:pt idx="2526">
                  <c:v>1286.0600589999999</c:v>
                </c:pt>
                <c:pt idx="2527">
                  <c:v>1287.6099850000001</c:v>
                </c:pt>
                <c:pt idx="2528">
                  <c:v>1282.9300539999999</c:v>
                </c:pt>
                <c:pt idx="2529">
                  <c:v>1277.9300539999999</c:v>
                </c:pt>
                <c:pt idx="2530">
                  <c:v>1285.040039</c:v>
                </c:pt>
                <c:pt idx="2531">
                  <c:v>1261.48999</c:v>
                </c:pt>
                <c:pt idx="2532">
                  <c:v>1263.8199460000001</c:v>
                </c:pt>
                <c:pt idx="2533">
                  <c:v>1266.8599850000001</c:v>
                </c:pt>
                <c:pt idx="2534">
                  <c:v>1264.6800539999999</c:v>
                </c:pt>
                <c:pt idx="2535">
                  <c:v>1273.829956</c:v>
                </c:pt>
                <c:pt idx="2536">
                  <c:v>1283.719971</c:v>
                </c:pt>
                <c:pt idx="2537">
                  <c:v>1285.1899410000001</c:v>
                </c:pt>
                <c:pt idx="2538">
                  <c:v>1280.079956</c:v>
                </c:pt>
                <c:pt idx="2539">
                  <c:v>1282.459961</c:v>
                </c:pt>
                <c:pt idx="2540">
                  <c:v>1270.839966</c:v>
                </c:pt>
                <c:pt idx="2541">
                  <c:v>1264.030029</c:v>
                </c:pt>
                <c:pt idx="2542">
                  <c:v>1265.0200199999999</c:v>
                </c:pt>
                <c:pt idx="2543">
                  <c:v>1254.780029</c:v>
                </c:pt>
                <c:pt idx="2544">
                  <c:v>1265.650024</c:v>
                </c:pt>
                <c:pt idx="2545">
                  <c:v>1263.780029</c:v>
                </c:pt>
                <c:pt idx="2546">
                  <c:v>1266.98999</c:v>
                </c:pt>
                <c:pt idx="2547">
                  <c:v>1262.8599850000001</c:v>
                </c:pt>
                <c:pt idx="2548">
                  <c:v>1275.530029</c:v>
                </c:pt>
                <c:pt idx="2549">
                  <c:v>1280</c:v>
                </c:pt>
                <c:pt idx="2550">
                  <c:v>1289.380005</c:v>
                </c:pt>
                <c:pt idx="2551">
                  <c:v>1287.23999</c:v>
                </c:pt>
                <c:pt idx="2552">
                  <c:v>1283.030029</c:v>
                </c:pt>
                <c:pt idx="2553">
                  <c:v>1292.670044</c:v>
                </c:pt>
                <c:pt idx="2554">
                  <c:v>1287.790039</c:v>
                </c:pt>
                <c:pt idx="2555">
                  <c:v>1289.4300539999999</c:v>
                </c:pt>
                <c:pt idx="2556">
                  <c:v>1294.119995</c:v>
                </c:pt>
                <c:pt idx="2557">
                  <c:v>1280.660034</c:v>
                </c:pt>
                <c:pt idx="2558">
                  <c:v>1291.23999</c:v>
                </c:pt>
                <c:pt idx="2559">
                  <c:v>1289.1400149999999</c:v>
                </c:pt>
                <c:pt idx="2560">
                  <c:v>1287.2299800000001</c:v>
                </c:pt>
                <c:pt idx="2561">
                  <c:v>1278.26001</c:v>
                </c:pt>
                <c:pt idx="2562">
                  <c:v>1275.880005</c:v>
                </c:pt>
                <c:pt idx="2563">
                  <c:v>1278.469971</c:v>
                </c:pt>
                <c:pt idx="2564">
                  <c:v>1272.2299800000001</c:v>
                </c:pt>
                <c:pt idx="2565">
                  <c:v>1281.420044</c:v>
                </c:pt>
                <c:pt idx="2566">
                  <c:v>1284.130005</c:v>
                </c:pt>
                <c:pt idx="2567">
                  <c:v>1297.4799800000001</c:v>
                </c:pt>
                <c:pt idx="2568">
                  <c:v>1303.0200199999999</c:v>
                </c:pt>
                <c:pt idx="2569">
                  <c:v>1305.329956</c:v>
                </c:pt>
                <c:pt idx="2570">
                  <c:v>1307.25</c:v>
                </c:pt>
                <c:pt idx="2571">
                  <c:v>1305.079956</c:v>
                </c:pt>
                <c:pt idx="2572">
                  <c:v>1297.2299800000001</c:v>
                </c:pt>
                <c:pt idx="2573">
                  <c:v>1305.040039</c:v>
                </c:pt>
                <c:pt idx="2574">
                  <c:v>1301.670044</c:v>
                </c:pt>
                <c:pt idx="2575">
                  <c:v>1302.9499510000001</c:v>
                </c:pt>
                <c:pt idx="2576">
                  <c:v>1301.6099850000001</c:v>
                </c:pt>
                <c:pt idx="2577">
                  <c:v>1293.2299800000001</c:v>
                </c:pt>
                <c:pt idx="2578">
                  <c:v>1302.8900149999999</c:v>
                </c:pt>
                <c:pt idx="2579">
                  <c:v>1300.25</c:v>
                </c:pt>
                <c:pt idx="2580">
                  <c:v>1294.869995</c:v>
                </c:pt>
                <c:pt idx="2581">
                  <c:v>1297.8100589999999</c:v>
                </c:pt>
                <c:pt idx="2582">
                  <c:v>1305.9300539999999</c:v>
                </c:pt>
                <c:pt idx="2583">
                  <c:v>1311.5600589999999</c:v>
                </c:pt>
                <c:pt idx="2584">
                  <c:v>1309.040039</c:v>
                </c:pt>
                <c:pt idx="2585">
                  <c:v>1295.5</c:v>
                </c:pt>
                <c:pt idx="2586">
                  <c:v>1296.619995</c:v>
                </c:pt>
                <c:pt idx="2587">
                  <c:v>1286.5699460000001</c:v>
                </c:pt>
                <c:pt idx="2588">
                  <c:v>1288.119995</c:v>
                </c:pt>
                <c:pt idx="2589">
                  <c:v>1289.119995</c:v>
                </c:pt>
                <c:pt idx="2590">
                  <c:v>1285.329956</c:v>
                </c:pt>
                <c:pt idx="2591">
                  <c:v>1307.280029</c:v>
                </c:pt>
                <c:pt idx="2592">
                  <c:v>1309.9300539999999</c:v>
                </c:pt>
                <c:pt idx="2593">
                  <c:v>1311.459961</c:v>
                </c:pt>
                <c:pt idx="2594">
                  <c:v>1311.280029</c:v>
                </c:pt>
                <c:pt idx="2595">
                  <c:v>1308.1099850000001</c:v>
                </c:pt>
                <c:pt idx="2596">
                  <c:v>1301.73999</c:v>
                </c:pt>
                <c:pt idx="2597">
                  <c:v>1305.410034</c:v>
                </c:pt>
                <c:pt idx="2598">
                  <c:v>1309.719971</c:v>
                </c:pt>
                <c:pt idx="2599">
                  <c:v>1310.6099850000001</c:v>
                </c:pt>
                <c:pt idx="2600">
                  <c:v>1305.1899410000001</c:v>
                </c:pt>
                <c:pt idx="2601">
                  <c:v>1313.209961</c:v>
                </c:pt>
                <c:pt idx="2602">
                  <c:v>1308.119995</c:v>
                </c:pt>
                <c:pt idx="2603">
                  <c:v>1312.25</c:v>
                </c:pt>
                <c:pt idx="2604">
                  <c:v>1325.76001</c:v>
                </c:pt>
                <c:pt idx="2605">
                  <c:v>1324.660034</c:v>
                </c:pt>
                <c:pt idx="2606">
                  <c:v>1325.1400149999999</c:v>
                </c:pt>
                <c:pt idx="2607">
                  <c:v>1322.849976</c:v>
                </c:pt>
                <c:pt idx="2608">
                  <c:v>1305.920044</c:v>
                </c:pt>
                <c:pt idx="2609">
                  <c:v>1291.23999</c:v>
                </c:pt>
                <c:pt idx="2610">
                  <c:v>1294.5</c:v>
                </c:pt>
                <c:pt idx="2611">
                  <c:v>1292.079956</c:v>
                </c:pt>
                <c:pt idx="2612">
                  <c:v>1270.3199460000001</c:v>
                </c:pt>
                <c:pt idx="2613">
                  <c:v>1261.8100589999999</c:v>
                </c:pt>
                <c:pt idx="2614">
                  <c:v>1267.030029</c:v>
                </c:pt>
                <c:pt idx="2615">
                  <c:v>1262.0699460000001</c:v>
                </c:pt>
                <c:pt idx="2616">
                  <c:v>1256.579956</c:v>
                </c:pt>
                <c:pt idx="2617">
                  <c:v>1258.5699460000001</c:v>
                </c:pt>
                <c:pt idx="2618">
                  <c:v>1272.880005</c:v>
                </c:pt>
                <c:pt idx="2619">
                  <c:v>1280.160034</c:v>
                </c:pt>
                <c:pt idx="2620">
                  <c:v>1259.869995</c:v>
                </c:pt>
                <c:pt idx="2621">
                  <c:v>1270.089966</c:v>
                </c:pt>
                <c:pt idx="2622">
                  <c:v>1285.709961</c:v>
                </c:pt>
                <c:pt idx="2623">
                  <c:v>1288.219971</c:v>
                </c:pt>
                <c:pt idx="2624">
                  <c:v>1265.290039</c:v>
                </c:pt>
                <c:pt idx="2625">
                  <c:v>1263.849976</c:v>
                </c:pt>
                <c:pt idx="2626">
                  <c:v>1256.150024</c:v>
                </c:pt>
                <c:pt idx="2627">
                  <c:v>1257.9300539999999</c:v>
                </c:pt>
                <c:pt idx="2628">
                  <c:v>1252.3000489999999</c:v>
                </c:pt>
                <c:pt idx="2629">
                  <c:v>1237.4399410000001</c:v>
                </c:pt>
                <c:pt idx="2630">
                  <c:v>1223.6899410000001</c:v>
                </c:pt>
                <c:pt idx="2631">
                  <c:v>1230.040039</c:v>
                </c:pt>
                <c:pt idx="2632">
                  <c:v>1256.160034</c:v>
                </c:pt>
                <c:pt idx="2633">
                  <c:v>1251.540039</c:v>
                </c:pt>
                <c:pt idx="2634">
                  <c:v>1240.130005</c:v>
                </c:pt>
                <c:pt idx="2635">
                  <c:v>1240.119995</c:v>
                </c:pt>
                <c:pt idx="2636">
                  <c:v>1252.1999510000001</c:v>
                </c:pt>
                <c:pt idx="2637">
                  <c:v>1245.599976</c:v>
                </c:pt>
                <c:pt idx="2638">
                  <c:v>1244.5</c:v>
                </c:pt>
                <c:pt idx="2639">
                  <c:v>1250.5600589999999</c:v>
                </c:pt>
                <c:pt idx="2640">
                  <c:v>1239.1999510000001</c:v>
                </c:pt>
                <c:pt idx="2641">
                  <c:v>1246</c:v>
                </c:pt>
                <c:pt idx="2642">
                  <c:v>1272.869995</c:v>
                </c:pt>
                <c:pt idx="2643">
                  <c:v>1270.1999510000001</c:v>
                </c:pt>
                <c:pt idx="2644">
                  <c:v>1280.1899410000001</c:v>
                </c:pt>
                <c:pt idx="2645">
                  <c:v>1270.910034</c:v>
                </c:pt>
                <c:pt idx="2646">
                  <c:v>1274.079956</c:v>
                </c:pt>
                <c:pt idx="2647">
                  <c:v>1265.4799800000001</c:v>
                </c:pt>
                <c:pt idx="2648">
                  <c:v>1267.339966</c:v>
                </c:pt>
                <c:pt idx="2649">
                  <c:v>1272.4300539999999</c:v>
                </c:pt>
                <c:pt idx="2650">
                  <c:v>1258.599976</c:v>
                </c:pt>
                <c:pt idx="2651">
                  <c:v>1242.280029</c:v>
                </c:pt>
                <c:pt idx="2652">
                  <c:v>1236.1999510000001</c:v>
                </c:pt>
                <c:pt idx="2653">
                  <c:v>1234.48999</c:v>
                </c:pt>
                <c:pt idx="2654">
                  <c:v>1236.8599850000001</c:v>
                </c:pt>
                <c:pt idx="2655">
                  <c:v>1259.8100589999999</c:v>
                </c:pt>
                <c:pt idx="2656">
                  <c:v>1249.130005</c:v>
                </c:pt>
                <c:pt idx="2657">
                  <c:v>1240.290039</c:v>
                </c:pt>
                <c:pt idx="2658">
                  <c:v>1260.910034</c:v>
                </c:pt>
                <c:pt idx="2659">
                  <c:v>1268.880005</c:v>
                </c:pt>
                <c:pt idx="2660">
                  <c:v>1268.400024</c:v>
                </c:pt>
                <c:pt idx="2661">
                  <c:v>1263.1999510000001</c:v>
                </c:pt>
                <c:pt idx="2662">
                  <c:v>1278.5500489999999</c:v>
                </c:pt>
                <c:pt idx="2663">
                  <c:v>1276.660034</c:v>
                </c:pt>
                <c:pt idx="2664">
                  <c:v>1270.920044</c:v>
                </c:pt>
                <c:pt idx="2665">
                  <c:v>1277.410034</c:v>
                </c:pt>
                <c:pt idx="2666">
                  <c:v>1280.2700199999999</c:v>
                </c:pt>
                <c:pt idx="2667">
                  <c:v>1279.3599850000001</c:v>
                </c:pt>
                <c:pt idx="2668">
                  <c:v>1275.7700199999999</c:v>
                </c:pt>
                <c:pt idx="2669">
                  <c:v>1271.4799800000001</c:v>
                </c:pt>
                <c:pt idx="2670">
                  <c:v>1265.9499510000001</c:v>
                </c:pt>
                <c:pt idx="2671">
                  <c:v>1271.8100589999999</c:v>
                </c:pt>
                <c:pt idx="2672">
                  <c:v>1266.73999</c:v>
                </c:pt>
                <c:pt idx="2673">
                  <c:v>1268.209961</c:v>
                </c:pt>
                <c:pt idx="2674">
                  <c:v>1285.579956</c:v>
                </c:pt>
                <c:pt idx="2675">
                  <c:v>1295.4300539999999</c:v>
                </c:pt>
                <c:pt idx="2676">
                  <c:v>1297.4799800000001</c:v>
                </c:pt>
                <c:pt idx="2677">
                  <c:v>1302.3000489999999</c:v>
                </c:pt>
                <c:pt idx="2678">
                  <c:v>1297.5200199999999</c:v>
                </c:pt>
                <c:pt idx="2679">
                  <c:v>1298.8199460000001</c:v>
                </c:pt>
                <c:pt idx="2680">
                  <c:v>1292.98999</c:v>
                </c:pt>
                <c:pt idx="2681">
                  <c:v>1296.0600589999999</c:v>
                </c:pt>
                <c:pt idx="2682">
                  <c:v>1295.089966</c:v>
                </c:pt>
                <c:pt idx="2683">
                  <c:v>1301.780029</c:v>
                </c:pt>
                <c:pt idx="2684">
                  <c:v>1304.280029</c:v>
                </c:pt>
                <c:pt idx="2685">
                  <c:v>1305.369995</c:v>
                </c:pt>
                <c:pt idx="2686">
                  <c:v>1303.8199460000001</c:v>
                </c:pt>
                <c:pt idx="2687">
                  <c:v>1311.01001</c:v>
                </c:pt>
                <c:pt idx="2688">
                  <c:v>1313.25</c:v>
                </c:pt>
                <c:pt idx="2689">
                  <c:v>1300.26001</c:v>
                </c:pt>
                <c:pt idx="2690">
                  <c:v>1294.0200199999999</c:v>
                </c:pt>
                <c:pt idx="2691">
                  <c:v>1298.920044</c:v>
                </c:pt>
                <c:pt idx="2692">
                  <c:v>1299.540039</c:v>
                </c:pt>
                <c:pt idx="2693">
                  <c:v>1313</c:v>
                </c:pt>
                <c:pt idx="2694">
                  <c:v>1318.0699460000001</c:v>
                </c:pt>
                <c:pt idx="2695">
                  <c:v>1316.280029</c:v>
                </c:pt>
                <c:pt idx="2696">
                  <c:v>1319.660034</c:v>
                </c:pt>
                <c:pt idx="2697">
                  <c:v>1321.1800539999999</c:v>
                </c:pt>
                <c:pt idx="2698">
                  <c:v>1317.6400149999999</c:v>
                </c:pt>
                <c:pt idx="2699">
                  <c:v>1325.1800539999999</c:v>
                </c:pt>
                <c:pt idx="2700">
                  <c:v>1318.030029</c:v>
                </c:pt>
                <c:pt idx="2701">
                  <c:v>1314.780029</c:v>
                </c:pt>
                <c:pt idx="2702">
                  <c:v>1326.369995</c:v>
                </c:pt>
                <c:pt idx="2703">
                  <c:v>1336.349976</c:v>
                </c:pt>
                <c:pt idx="2704">
                  <c:v>1336.589966</c:v>
                </c:pt>
                <c:pt idx="2705">
                  <c:v>1338.880005</c:v>
                </c:pt>
                <c:pt idx="2706">
                  <c:v>1335.849976</c:v>
                </c:pt>
                <c:pt idx="2707">
                  <c:v>1331.3199460000001</c:v>
                </c:pt>
                <c:pt idx="2708">
                  <c:v>1334.1099850000001</c:v>
                </c:pt>
                <c:pt idx="2709">
                  <c:v>1350.1999510000001</c:v>
                </c:pt>
                <c:pt idx="2710">
                  <c:v>1353.219971</c:v>
                </c:pt>
                <c:pt idx="2711">
                  <c:v>1349.589966</c:v>
                </c:pt>
                <c:pt idx="2712">
                  <c:v>1350.660034</c:v>
                </c:pt>
                <c:pt idx="2713">
                  <c:v>1353.420044</c:v>
                </c:pt>
                <c:pt idx="2714">
                  <c:v>1349.9499510000001</c:v>
                </c:pt>
                <c:pt idx="2715">
                  <c:v>1362.829956</c:v>
                </c:pt>
                <c:pt idx="2716">
                  <c:v>1365.619995</c:v>
                </c:pt>
                <c:pt idx="2717">
                  <c:v>1369.0600589999999</c:v>
                </c:pt>
                <c:pt idx="2718">
                  <c:v>1364.0500489999999</c:v>
                </c:pt>
                <c:pt idx="2719">
                  <c:v>1365.8000489999999</c:v>
                </c:pt>
                <c:pt idx="2720">
                  <c:v>1366.959961</c:v>
                </c:pt>
                <c:pt idx="2721">
                  <c:v>1368.599976</c:v>
                </c:pt>
                <c:pt idx="2722">
                  <c:v>1377.0200199999999</c:v>
                </c:pt>
                <c:pt idx="2723">
                  <c:v>1377.380005</c:v>
                </c:pt>
                <c:pt idx="2724">
                  <c:v>1382.219971</c:v>
                </c:pt>
                <c:pt idx="2725">
                  <c:v>1389.079956</c:v>
                </c:pt>
                <c:pt idx="2726">
                  <c:v>1377.339966</c:v>
                </c:pt>
                <c:pt idx="2727">
                  <c:v>1377.9300539999999</c:v>
                </c:pt>
                <c:pt idx="2728">
                  <c:v>1377.9399410000001</c:v>
                </c:pt>
                <c:pt idx="2729">
                  <c:v>1367.8100589999999</c:v>
                </c:pt>
                <c:pt idx="2730">
                  <c:v>1367.339966</c:v>
                </c:pt>
                <c:pt idx="2731">
                  <c:v>1364.3000489999999</c:v>
                </c:pt>
                <c:pt idx="2732">
                  <c:v>1379.780029</c:v>
                </c:pt>
                <c:pt idx="2733">
                  <c:v>1382.839966</c:v>
                </c:pt>
                <c:pt idx="2734">
                  <c:v>1385.719971</c:v>
                </c:pt>
                <c:pt idx="2735">
                  <c:v>1378.329956</c:v>
                </c:pt>
                <c:pt idx="2736">
                  <c:v>1380.900024</c:v>
                </c:pt>
                <c:pt idx="2737">
                  <c:v>1384.420044</c:v>
                </c:pt>
                <c:pt idx="2738">
                  <c:v>1393.219971</c:v>
                </c:pt>
                <c:pt idx="2739">
                  <c:v>1396.5699460000001</c:v>
                </c:pt>
                <c:pt idx="2740">
                  <c:v>1399.76001</c:v>
                </c:pt>
                <c:pt idx="2741">
                  <c:v>1401.1999510000001</c:v>
                </c:pt>
                <c:pt idx="2742">
                  <c:v>1400.5</c:v>
                </c:pt>
                <c:pt idx="2743">
                  <c:v>1402.8100589999999</c:v>
                </c:pt>
                <c:pt idx="2744">
                  <c:v>1406.089966</c:v>
                </c:pt>
                <c:pt idx="2745">
                  <c:v>1400.9499510000001</c:v>
                </c:pt>
                <c:pt idx="2746">
                  <c:v>1381.959961</c:v>
                </c:pt>
                <c:pt idx="2747">
                  <c:v>1386.719971</c:v>
                </c:pt>
                <c:pt idx="2748">
                  <c:v>1399.4799800000001</c:v>
                </c:pt>
                <c:pt idx="2749">
                  <c:v>1400.630005</c:v>
                </c:pt>
                <c:pt idx="2750">
                  <c:v>1396.709961</c:v>
                </c:pt>
                <c:pt idx="2751">
                  <c:v>1409.119995</c:v>
                </c:pt>
                <c:pt idx="2752">
                  <c:v>1414.76001</c:v>
                </c:pt>
                <c:pt idx="2753">
                  <c:v>1412.900024</c:v>
                </c:pt>
                <c:pt idx="2754">
                  <c:v>1407.290039</c:v>
                </c:pt>
                <c:pt idx="2755">
                  <c:v>1409.839966</c:v>
                </c:pt>
                <c:pt idx="2756">
                  <c:v>1413.040039</c:v>
                </c:pt>
                <c:pt idx="2757">
                  <c:v>1411.5600589999999</c:v>
                </c:pt>
                <c:pt idx="2758">
                  <c:v>1413.209961</c:v>
                </c:pt>
                <c:pt idx="2759">
                  <c:v>1425.48999</c:v>
                </c:pt>
                <c:pt idx="2760">
                  <c:v>1427.089966</c:v>
                </c:pt>
                <c:pt idx="2761">
                  <c:v>1422.4799800000001</c:v>
                </c:pt>
                <c:pt idx="2762">
                  <c:v>1425.5500489999999</c:v>
                </c:pt>
                <c:pt idx="2763">
                  <c:v>1423.530029</c:v>
                </c:pt>
                <c:pt idx="2764">
                  <c:v>1418.3000489999999</c:v>
                </c:pt>
                <c:pt idx="2765">
                  <c:v>1410.76001</c:v>
                </c:pt>
                <c:pt idx="2766">
                  <c:v>1416.900024</c:v>
                </c:pt>
                <c:pt idx="2767">
                  <c:v>1426.839966</c:v>
                </c:pt>
                <c:pt idx="2768">
                  <c:v>1424.7299800000001</c:v>
                </c:pt>
                <c:pt idx="2769">
                  <c:v>1418.3000489999999</c:v>
                </c:pt>
                <c:pt idx="2770">
                  <c:v>1416.599976</c:v>
                </c:pt>
                <c:pt idx="2771">
                  <c:v>1418.339966</c:v>
                </c:pt>
                <c:pt idx="2772">
                  <c:v>1409.709961</c:v>
                </c:pt>
                <c:pt idx="2773">
                  <c:v>1412.839966</c:v>
                </c:pt>
                <c:pt idx="2774">
                  <c:v>1412.1099850000001</c:v>
                </c:pt>
                <c:pt idx="2775">
                  <c:v>1414.849976</c:v>
                </c:pt>
                <c:pt idx="2776">
                  <c:v>1423.8199460000001</c:v>
                </c:pt>
                <c:pt idx="2777">
                  <c:v>1430.7299800000001</c:v>
                </c:pt>
                <c:pt idx="2778">
                  <c:v>1431.900024</c:v>
                </c:pt>
                <c:pt idx="2779">
                  <c:v>1430.619995</c:v>
                </c:pt>
                <c:pt idx="2780">
                  <c:v>1426.369995</c:v>
                </c:pt>
                <c:pt idx="2781">
                  <c:v>1430.5</c:v>
                </c:pt>
                <c:pt idx="2782">
                  <c:v>1422.9499510000001</c:v>
                </c:pt>
                <c:pt idx="2783">
                  <c:v>1427.98999</c:v>
                </c:pt>
                <c:pt idx="2784">
                  <c:v>1440.130005</c:v>
                </c:pt>
                <c:pt idx="2785">
                  <c:v>1423.900024</c:v>
                </c:pt>
                <c:pt idx="2786">
                  <c:v>1422.1800539999999</c:v>
                </c:pt>
                <c:pt idx="2787">
                  <c:v>1420.619995</c:v>
                </c:pt>
                <c:pt idx="2788">
                  <c:v>1428.8199460000001</c:v>
                </c:pt>
                <c:pt idx="2789">
                  <c:v>1438.23999</c:v>
                </c:pt>
                <c:pt idx="2790">
                  <c:v>1445.9399410000001</c:v>
                </c:pt>
                <c:pt idx="2791">
                  <c:v>1448.3900149999999</c:v>
                </c:pt>
                <c:pt idx="2792">
                  <c:v>1446.98999</c:v>
                </c:pt>
                <c:pt idx="2793">
                  <c:v>1448</c:v>
                </c:pt>
                <c:pt idx="2794">
                  <c:v>1450.0200199999999</c:v>
                </c:pt>
                <c:pt idx="2795">
                  <c:v>1448.3100589999999</c:v>
                </c:pt>
                <c:pt idx="2796">
                  <c:v>1438.0600589999999</c:v>
                </c:pt>
                <c:pt idx="2797">
                  <c:v>1433.369995</c:v>
                </c:pt>
                <c:pt idx="2798">
                  <c:v>1444.26001</c:v>
                </c:pt>
                <c:pt idx="2799">
                  <c:v>1455.3000489999999</c:v>
                </c:pt>
                <c:pt idx="2800">
                  <c:v>1456.8100589999999</c:v>
                </c:pt>
                <c:pt idx="2801">
                  <c:v>1455.540039</c:v>
                </c:pt>
                <c:pt idx="2802">
                  <c:v>1459.6800539999999</c:v>
                </c:pt>
                <c:pt idx="2803">
                  <c:v>1457.630005</c:v>
                </c:pt>
                <c:pt idx="2804">
                  <c:v>1456.380005</c:v>
                </c:pt>
                <c:pt idx="2805">
                  <c:v>1451.1899410000001</c:v>
                </c:pt>
                <c:pt idx="2806">
                  <c:v>1449.369995</c:v>
                </c:pt>
                <c:pt idx="2807">
                  <c:v>1399.040039</c:v>
                </c:pt>
                <c:pt idx="2808">
                  <c:v>1406.8199460000001</c:v>
                </c:pt>
                <c:pt idx="2809">
                  <c:v>1403.170044</c:v>
                </c:pt>
                <c:pt idx="2810">
                  <c:v>1387.170044</c:v>
                </c:pt>
                <c:pt idx="2811">
                  <c:v>1374.119995</c:v>
                </c:pt>
                <c:pt idx="2812">
                  <c:v>1395.410034</c:v>
                </c:pt>
                <c:pt idx="2813">
                  <c:v>1391.969971</c:v>
                </c:pt>
                <c:pt idx="2814">
                  <c:v>1401.8900149999999</c:v>
                </c:pt>
                <c:pt idx="2815">
                  <c:v>1402.839966</c:v>
                </c:pt>
                <c:pt idx="2816">
                  <c:v>1406.599976</c:v>
                </c:pt>
                <c:pt idx="2817">
                  <c:v>1377.9499510000001</c:v>
                </c:pt>
                <c:pt idx="2818">
                  <c:v>1387.170044</c:v>
                </c:pt>
                <c:pt idx="2819">
                  <c:v>1392.280029</c:v>
                </c:pt>
                <c:pt idx="2820">
                  <c:v>1386.9499510000001</c:v>
                </c:pt>
                <c:pt idx="2821">
                  <c:v>1402.0600589999999</c:v>
                </c:pt>
                <c:pt idx="2822">
                  <c:v>1410.9399410000001</c:v>
                </c:pt>
                <c:pt idx="2823">
                  <c:v>1435.040039</c:v>
                </c:pt>
                <c:pt idx="2824">
                  <c:v>1434.540039</c:v>
                </c:pt>
                <c:pt idx="2825">
                  <c:v>1436.1099850000001</c:v>
                </c:pt>
                <c:pt idx="2826">
                  <c:v>1437.5</c:v>
                </c:pt>
                <c:pt idx="2827">
                  <c:v>1428.6099850000001</c:v>
                </c:pt>
                <c:pt idx="2828">
                  <c:v>1417.2299800000001</c:v>
                </c:pt>
                <c:pt idx="2829">
                  <c:v>1422.530029</c:v>
                </c:pt>
                <c:pt idx="2830">
                  <c:v>1420.8599850000001</c:v>
                </c:pt>
                <c:pt idx="2831">
                  <c:v>1424.5500489999999</c:v>
                </c:pt>
                <c:pt idx="2832">
                  <c:v>1437.7700199999999</c:v>
                </c:pt>
                <c:pt idx="2833">
                  <c:v>1439.369995</c:v>
                </c:pt>
                <c:pt idx="2834">
                  <c:v>1443.76001</c:v>
                </c:pt>
                <c:pt idx="2835">
                  <c:v>1444.6099850000001</c:v>
                </c:pt>
                <c:pt idx="2836">
                  <c:v>1448.3900149999999</c:v>
                </c:pt>
                <c:pt idx="2837">
                  <c:v>1438.869995</c:v>
                </c:pt>
                <c:pt idx="2838">
                  <c:v>1447.8000489999999</c:v>
                </c:pt>
                <c:pt idx="2839">
                  <c:v>1452.849976</c:v>
                </c:pt>
                <c:pt idx="2840">
                  <c:v>1468.329956</c:v>
                </c:pt>
                <c:pt idx="2841">
                  <c:v>1471.4799800000001</c:v>
                </c:pt>
                <c:pt idx="2842">
                  <c:v>1472.5</c:v>
                </c:pt>
                <c:pt idx="2843">
                  <c:v>1470.7299800000001</c:v>
                </c:pt>
                <c:pt idx="2844">
                  <c:v>1484.349976</c:v>
                </c:pt>
                <c:pt idx="2845">
                  <c:v>1480.9300539999999</c:v>
                </c:pt>
                <c:pt idx="2846">
                  <c:v>1480.410034</c:v>
                </c:pt>
                <c:pt idx="2847">
                  <c:v>1495.420044</c:v>
                </c:pt>
                <c:pt idx="2848">
                  <c:v>1494.25</c:v>
                </c:pt>
                <c:pt idx="2849">
                  <c:v>1494.0699460000001</c:v>
                </c:pt>
                <c:pt idx="2850">
                  <c:v>1482.369995</c:v>
                </c:pt>
                <c:pt idx="2851">
                  <c:v>1486.3000489999999</c:v>
                </c:pt>
                <c:pt idx="2852">
                  <c:v>1495.920044</c:v>
                </c:pt>
                <c:pt idx="2853">
                  <c:v>1502.3900149999999</c:v>
                </c:pt>
                <c:pt idx="2854">
                  <c:v>1505.619995</c:v>
                </c:pt>
                <c:pt idx="2855">
                  <c:v>1509.4799800000001</c:v>
                </c:pt>
                <c:pt idx="2856">
                  <c:v>1507.719971</c:v>
                </c:pt>
                <c:pt idx="2857">
                  <c:v>1512.579956</c:v>
                </c:pt>
                <c:pt idx="2858">
                  <c:v>1491.469971</c:v>
                </c:pt>
                <c:pt idx="2859">
                  <c:v>1505.849976</c:v>
                </c:pt>
                <c:pt idx="2860">
                  <c:v>1503.150024</c:v>
                </c:pt>
                <c:pt idx="2861">
                  <c:v>1501.1899410000001</c:v>
                </c:pt>
                <c:pt idx="2862">
                  <c:v>1514.1400149999999</c:v>
                </c:pt>
                <c:pt idx="2863">
                  <c:v>1512.75</c:v>
                </c:pt>
                <c:pt idx="2864">
                  <c:v>1522.75</c:v>
                </c:pt>
                <c:pt idx="2865">
                  <c:v>1525.099976</c:v>
                </c:pt>
                <c:pt idx="2866">
                  <c:v>1524.119995</c:v>
                </c:pt>
                <c:pt idx="2867">
                  <c:v>1522.280029</c:v>
                </c:pt>
                <c:pt idx="2868">
                  <c:v>1507.51001</c:v>
                </c:pt>
                <c:pt idx="2869">
                  <c:v>1515.7299800000001</c:v>
                </c:pt>
                <c:pt idx="2870">
                  <c:v>1518.1099850000001</c:v>
                </c:pt>
                <c:pt idx="2871">
                  <c:v>1530.2299800000001</c:v>
                </c:pt>
                <c:pt idx="2872">
                  <c:v>1530.619995</c:v>
                </c:pt>
                <c:pt idx="2873">
                  <c:v>1536.339966</c:v>
                </c:pt>
                <c:pt idx="2874">
                  <c:v>1539.1800539999999</c:v>
                </c:pt>
                <c:pt idx="2875">
                  <c:v>1530.9499510000001</c:v>
                </c:pt>
                <c:pt idx="2876">
                  <c:v>1517.380005</c:v>
                </c:pt>
                <c:pt idx="2877">
                  <c:v>1490.719971</c:v>
                </c:pt>
                <c:pt idx="2878">
                  <c:v>1507.670044</c:v>
                </c:pt>
                <c:pt idx="2879">
                  <c:v>1509.119995</c:v>
                </c:pt>
                <c:pt idx="2880">
                  <c:v>1493</c:v>
                </c:pt>
                <c:pt idx="2881">
                  <c:v>1515.670044</c:v>
                </c:pt>
                <c:pt idx="2882">
                  <c:v>1522.969971</c:v>
                </c:pt>
                <c:pt idx="2883">
                  <c:v>1532.910034</c:v>
                </c:pt>
                <c:pt idx="2884">
                  <c:v>1531.0500489999999</c:v>
                </c:pt>
                <c:pt idx="2885">
                  <c:v>1533.6999510000001</c:v>
                </c:pt>
                <c:pt idx="2886">
                  <c:v>1512.839966</c:v>
                </c:pt>
                <c:pt idx="2887">
                  <c:v>1522.1899410000001</c:v>
                </c:pt>
                <c:pt idx="2888">
                  <c:v>1502.5600589999999</c:v>
                </c:pt>
                <c:pt idx="2889">
                  <c:v>1497.73999</c:v>
                </c:pt>
                <c:pt idx="2890">
                  <c:v>1492.8900149999999</c:v>
                </c:pt>
                <c:pt idx="2891">
                  <c:v>1506.339966</c:v>
                </c:pt>
                <c:pt idx="2892">
                  <c:v>1505.709961</c:v>
                </c:pt>
                <c:pt idx="2893">
                  <c:v>1503.349976</c:v>
                </c:pt>
                <c:pt idx="2894">
                  <c:v>1519.4300539999999</c:v>
                </c:pt>
                <c:pt idx="2895">
                  <c:v>1524.869995</c:v>
                </c:pt>
                <c:pt idx="2896">
                  <c:v>1525.400024</c:v>
                </c:pt>
                <c:pt idx="2897">
                  <c:v>1530.4399410000001</c:v>
                </c:pt>
                <c:pt idx="2898">
                  <c:v>1531.849976</c:v>
                </c:pt>
                <c:pt idx="2899">
                  <c:v>1510.119995</c:v>
                </c:pt>
                <c:pt idx="2900">
                  <c:v>1518.76001</c:v>
                </c:pt>
                <c:pt idx="2901">
                  <c:v>1547.6999510000001</c:v>
                </c:pt>
                <c:pt idx="2902">
                  <c:v>1552.5</c:v>
                </c:pt>
                <c:pt idx="2903">
                  <c:v>1549.5200199999999</c:v>
                </c:pt>
                <c:pt idx="2904">
                  <c:v>1549.369995</c:v>
                </c:pt>
                <c:pt idx="2905">
                  <c:v>1546.170044</c:v>
                </c:pt>
                <c:pt idx="2906">
                  <c:v>1553.079956</c:v>
                </c:pt>
                <c:pt idx="2907">
                  <c:v>1534.099976</c:v>
                </c:pt>
                <c:pt idx="2908">
                  <c:v>1541.5699460000001</c:v>
                </c:pt>
                <c:pt idx="2909">
                  <c:v>1511.040039</c:v>
                </c:pt>
                <c:pt idx="2910">
                  <c:v>1518.089966</c:v>
                </c:pt>
                <c:pt idx="2911">
                  <c:v>1482.660034</c:v>
                </c:pt>
                <c:pt idx="2912">
                  <c:v>1458.9499510000001</c:v>
                </c:pt>
                <c:pt idx="2913">
                  <c:v>1473.910034</c:v>
                </c:pt>
                <c:pt idx="2914">
                  <c:v>1455.2700199999999</c:v>
                </c:pt>
                <c:pt idx="2915">
                  <c:v>1465.8100589999999</c:v>
                </c:pt>
                <c:pt idx="2916">
                  <c:v>1472.1999510000001</c:v>
                </c:pt>
                <c:pt idx="2917">
                  <c:v>1433.0600589999999</c:v>
                </c:pt>
                <c:pt idx="2918">
                  <c:v>1467.670044</c:v>
                </c:pt>
                <c:pt idx="2919">
                  <c:v>1476.709961</c:v>
                </c:pt>
                <c:pt idx="2920">
                  <c:v>1497.48999</c:v>
                </c:pt>
                <c:pt idx="2921">
                  <c:v>1453.089966</c:v>
                </c:pt>
                <c:pt idx="2922">
                  <c:v>1453.6400149999999</c:v>
                </c:pt>
                <c:pt idx="2923">
                  <c:v>1452.920044</c:v>
                </c:pt>
                <c:pt idx="2924">
                  <c:v>1426.540039</c:v>
                </c:pt>
                <c:pt idx="2925">
                  <c:v>1406.6999510000001</c:v>
                </c:pt>
                <c:pt idx="2926">
                  <c:v>1411.2700199999999</c:v>
                </c:pt>
                <c:pt idx="2927">
                  <c:v>1445.9399410000001</c:v>
                </c:pt>
                <c:pt idx="2928">
                  <c:v>1445.5500489999999</c:v>
                </c:pt>
                <c:pt idx="2929">
                  <c:v>1447.119995</c:v>
                </c:pt>
                <c:pt idx="2930">
                  <c:v>1464.0699460000001</c:v>
                </c:pt>
                <c:pt idx="2931">
                  <c:v>1462.5</c:v>
                </c:pt>
                <c:pt idx="2932">
                  <c:v>1479.369995</c:v>
                </c:pt>
                <c:pt idx="2933">
                  <c:v>1466.790039</c:v>
                </c:pt>
                <c:pt idx="2934">
                  <c:v>1432.3599850000001</c:v>
                </c:pt>
                <c:pt idx="2935">
                  <c:v>1463.76001</c:v>
                </c:pt>
                <c:pt idx="2936">
                  <c:v>1457.6400149999999</c:v>
                </c:pt>
                <c:pt idx="2937">
                  <c:v>1473.98999</c:v>
                </c:pt>
                <c:pt idx="2938">
                  <c:v>1489.420044</c:v>
                </c:pt>
                <c:pt idx="2939">
                  <c:v>1472.290039</c:v>
                </c:pt>
                <c:pt idx="2940">
                  <c:v>1478.5500489999999</c:v>
                </c:pt>
                <c:pt idx="2941">
                  <c:v>1453.5500489999999</c:v>
                </c:pt>
                <c:pt idx="2942">
                  <c:v>1451.6999510000001</c:v>
                </c:pt>
                <c:pt idx="2943">
                  <c:v>1471.48999</c:v>
                </c:pt>
                <c:pt idx="2944">
                  <c:v>1471.5600589999999</c:v>
                </c:pt>
                <c:pt idx="2945">
                  <c:v>1483.9499510000001</c:v>
                </c:pt>
                <c:pt idx="2946">
                  <c:v>1484.25</c:v>
                </c:pt>
                <c:pt idx="2947">
                  <c:v>1476.650024</c:v>
                </c:pt>
                <c:pt idx="2948">
                  <c:v>1519.780029</c:v>
                </c:pt>
                <c:pt idx="2949">
                  <c:v>1529.030029</c:v>
                </c:pt>
                <c:pt idx="2950">
                  <c:v>1518.75</c:v>
                </c:pt>
                <c:pt idx="2951">
                  <c:v>1525.75</c:v>
                </c:pt>
                <c:pt idx="2952">
                  <c:v>1517.7299800000001</c:v>
                </c:pt>
                <c:pt idx="2953">
                  <c:v>1517.209961</c:v>
                </c:pt>
                <c:pt idx="2954">
                  <c:v>1525.420044</c:v>
                </c:pt>
                <c:pt idx="2955">
                  <c:v>1531.380005</c:v>
                </c:pt>
                <c:pt idx="2956">
                  <c:v>1526.75</c:v>
                </c:pt>
                <c:pt idx="2957">
                  <c:v>1547.040039</c:v>
                </c:pt>
                <c:pt idx="2958">
                  <c:v>1546.630005</c:v>
                </c:pt>
                <c:pt idx="2959">
                  <c:v>1539.589966</c:v>
                </c:pt>
                <c:pt idx="2960">
                  <c:v>1542.839966</c:v>
                </c:pt>
                <c:pt idx="2961">
                  <c:v>1557.589966</c:v>
                </c:pt>
                <c:pt idx="2962">
                  <c:v>1552.579956</c:v>
                </c:pt>
                <c:pt idx="2963">
                  <c:v>1565.150024</c:v>
                </c:pt>
                <c:pt idx="2964">
                  <c:v>1562.469971</c:v>
                </c:pt>
                <c:pt idx="2965">
                  <c:v>1554.410034</c:v>
                </c:pt>
                <c:pt idx="2966">
                  <c:v>1561.8000489999999</c:v>
                </c:pt>
                <c:pt idx="2967">
                  <c:v>1548.709961</c:v>
                </c:pt>
                <c:pt idx="2968">
                  <c:v>1538.530029</c:v>
                </c:pt>
                <c:pt idx="2969">
                  <c:v>1541.23999</c:v>
                </c:pt>
                <c:pt idx="2970">
                  <c:v>1540.079956</c:v>
                </c:pt>
                <c:pt idx="2971">
                  <c:v>1500.630005</c:v>
                </c:pt>
                <c:pt idx="2972">
                  <c:v>1506.329956</c:v>
                </c:pt>
                <c:pt idx="2973">
                  <c:v>1519.589966</c:v>
                </c:pt>
                <c:pt idx="2974">
                  <c:v>1515.880005</c:v>
                </c:pt>
                <c:pt idx="2975">
                  <c:v>1514.400024</c:v>
                </c:pt>
                <c:pt idx="2976">
                  <c:v>1535.280029</c:v>
                </c:pt>
                <c:pt idx="2977">
                  <c:v>1540.9799800000001</c:v>
                </c:pt>
                <c:pt idx="2978">
                  <c:v>1531.0200199999999</c:v>
                </c:pt>
                <c:pt idx="2979">
                  <c:v>1549.380005</c:v>
                </c:pt>
                <c:pt idx="2980">
                  <c:v>1508.4399410000001</c:v>
                </c:pt>
                <c:pt idx="2981">
                  <c:v>1509.650024</c:v>
                </c:pt>
                <c:pt idx="2982">
                  <c:v>1502.170044</c:v>
                </c:pt>
                <c:pt idx="2983">
                  <c:v>1520.2700199999999</c:v>
                </c:pt>
                <c:pt idx="2984">
                  <c:v>1475.619995</c:v>
                </c:pt>
                <c:pt idx="2985">
                  <c:v>1474.7700199999999</c:v>
                </c:pt>
                <c:pt idx="2986">
                  <c:v>1453.6999510000001</c:v>
                </c:pt>
                <c:pt idx="2987">
                  <c:v>1439.1800539999999</c:v>
                </c:pt>
                <c:pt idx="2988">
                  <c:v>1481.0500489999999</c:v>
                </c:pt>
                <c:pt idx="2989">
                  <c:v>1470.579956</c:v>
                </c:pt>
                <c:pt idx="2990">
                  <c:v>1451.150024</c:v>
                </c:pt>
                <c:pt idx="2991">
                  <c:v>1458.73999</c:v>
                </c:pt>
                <c:pt idx="2992">
                  <c:v>1433.2700199999999</c:v>
                </c:pt>
                <c:pt idx="2993">
                  <c:v>1439.6999510000001</c:v>
                </c:pt>
                <c:pt idx="2994">
                  <c:v>1416.7700199999999</c:v>
                </c:pt>
                <c:pt idx="2995">
                  <c:v>1440.6999510000001</c:v>
                </c:pt>
                <c:pt idx="2996">
                  <c:v>1407.219971</c:v>
                </c:pt>
                <c:pt idx="2997">
                  <c:v>1428.2299800000001</c:v>
                </c:pt>
                <c:pt idx="2998">
                  <c:v>1469.0200199999999</c:v>
                </c:pt>
                <c:pt idx="2999">
                  <c:v>1469.719971</c:v>
                </c:pt>
                <c:pt idx="3000">
                  <c:v>1481.1400149999999</c:v>
                </c:pt>
                <c:pt idx="3001">
                  <c:v>1472.420044</c:v>
                </c:pt>
                <c:pt idx="3002">
                  <c:v>1462.790039</c:v>
                </c:pt>
                <c:pt idx="3003">
                  <c:v>1485.01001</c:v>
                </c:pt>
                <c:pt idx="3004">
                  <c:v>1507.339966</c:v>
                </c:pt>
                <c:pt idx="3005">
                  <c:v>1504.660034</c:v>
                </c:pt>
                <c:pt idx="3006">
                  <c:v>1515.959961</c:v>
                </c:pt>
                <c:pt idx="3007">
                  <c:v>1477.650024</c:v>
                </c:pt>
                <c:pt idx="3008">
                  <c:v>1486.589966</c:v>
                </c:pt>
                <c:pt idx="3009">
                  <c:v>1488.410034</c:v>
                </c:pt>
                <c:pt idx="3010">
                  <c:v>1467.9499510000001</c:v>
                </c:pt>
                <c:pt idx="3011">
                  <c:v>1445.900024</c:v>
                </c:pt>
                <c:pt idx="3012">
                  <c:v>1454.9799800000001</c:v>
                </c:pt>
                <c:pt idx="3013">
                  <c:v>1453</c:v>
                </c:pt>
                <c:pt idx="3014">
                  <c:v>1460.119995</c:v>
                </c:pt>
                <c:pt idx="3015">
                  <c:v>1484.459961</c:v>
                </c:pt>
                <c:pt idx="3016">
                  <c:v>1496.4499510000001</c:v>
                </c:pt>
                <c:pt idx="3017">
                  <c:v>1497.660034</c:v>
                </c:pt>
                <c:pt idx="3018">
                  <c:v>1476.2700199999999</c:v>
                </c:pt>
                <c:pt idx="3019">
                  <c:v>1478.48999</c:v>
                </c:pt>
                <c:pt idx="3020">
                  <c:v>1468.3599850000001</c:v>
                </c:pt>
                <c:pt idx="3021">
                  <c:v>1447.160034</c:v>
                </c:pt>
                <c:pt idx="3022">
                  <c:v>1447.160034</c:v>
                </c:pt>
                <c:pt idx="3023">
                  <c:v>1411.630005</c:v>
                </c:pt>
                <c:pt idx="3024">
                  <c:v>1416.1800539999999</c:v>
                </c:pt>
                <c:pt idx="3025">
                  <c:v>1390.1899410000001</c:v>
                </c:pt>
                <c:pt idx="3026">
                  <c:v>1409.130005</c:v>
                </c:pt>
                <c:pt idx="3027">
                  <c:v>1420.329956</c:v>
                </c:pt>
                <c:pt idx="3028">
                  <c:v>1401.0200199999999</c:v>
                </c:pt>
                <c:pt idx="3029">
                  <c:v>1416.25</c:v>
                </c:pt>
                <c:pt idx="3030">
                  <c:v>1380.9499510000001</c:v>
                </c:pt>
                <c:pt idx="3031">
                  <c:v>1373.1999510000001</c:v>
                </c:pt>
                <c:pt idx="3032">
                  <c:v>1333.25</c:v>
                </c:pt>
                <c:pt idx="3033">
                  <c:v>1325.1899410000001</c:v>
                </c:pt>
                <c:pt idx="3034">
                  <c:v>1310.5</c:v>
                </c:pt>
                <c:pt idx="3035">
                  <c:v>1338.599976</c:v>
                </c:pt>
                <c:pt idx="3036">
                  <c:v>1352.0699460000001</c:v>
                </c:pt>
                <c:pt idx="3037">
                  <c:v>1330.6099850000001</c:v>
                </c:pt>
                <c:pt idx="3038">
                  <c:v>1353.959961</c:v>
                </c:pt>
                <c:pt idx="3039">
                  <c:v>1362.3000489999999</c:v>
                </c:pt>
                <c:pt idx="3040">
                  <c:v>1355.8100589999999</c:v>
                </c:pt>
                <c:pt idx="3041">
                  <c:v>1378.5500489999999</c:v>
                </c:pt>
                <c:pt idx="3042">
                  <c:v>1395.420044</c:v>
                </c:pt>
                <c:pt idx="3043">
                  <c:v>1380.8199460000001</c:v>
                </c:pt>
                <c:pt idx="3044">
                  <c:v>1336.6400149999999</c:v>
                </c:pt>
                <c:pt idx="3045">
                  <c:v>1326.4499510000001</c:v>
                </c:pt>
                <c:pt idx="3046">
                  <c:v>1336.910034</c:v>
                </c:pt>
                <c:pt idx="3047">
                  <c:v>1331.290039</c:v>
                </c:pt>
                <c:pt idx="3048">
                  <c:v>1339.130005</c:v>
                </c:pt>
                <c:pt idx="3049">
                  <c:v>1348.8599850000001</c:v>
                </c:pt>
                <c:pt idx="3050">
                  <c:v>1367.209961</c:v>
                </c:pt>
                <c:pt idx="3051">
                  <c:v>1348.8599850000001</c:v>
                </c:pt>
                <c:pt idx="3052">
                  <c:v>1349.98999</c:v>
                </c:pt>
                <c:pt idx="3053">
                  <c:v>1348.780029</c:v>
                </c:pt>
                <c:pt idx="3054">
                  <c:v>1360.030029</c:v>
                </c:pt>
                <c:pt idx="3055">
                  <c:v>1342.530029</c:v>
                </c:pt>
                <c:pt idx="3056">
                  <c:v>1353.1099850000001</c:v>
                </c:pt>
                <c:pt idx="3057">
                  <c:v>1371.8000489999999</c:v>
                </c:pt>
                <c:pt idx="3058">
                  <c:v>1381.290039</c:v>
                </c:pt>
                <c:pt idx="3059">
                  <c:v>1380.0200199999999</c:v>
                </c:pt>
                <c:pt idx="3060">
                  <c:v>1367.6800539999999</c:v>
                </c:pt>
                <c:pt idx="3061">
                  <c:v>1330.630005</c:v>
                </c:pt>
                <c:pt idx="3062">
                  <c:v>1331.339966</c:v>
                </c:pt>
                <c:pt idx="3063">
                  <c:v>1326.75</c:v>
                </c:pt>
                <c:pt idx="3064">
                  <c:v>1333.6999510000001</c:v>
                </c:pt>
                <c:pt idx="3065">
                  <c:v>1304.339966</c:v>
                </c:pt>
                <c:pt idx="3066">
                  <c:v>1293.369995</c:v>
                </c:pt>
                <c:pt idx="3067">
                  <c:v>1273.369995</c:v>
                </c:pt>
                <c:pt idx="3068">
                  <c:v>1320.650024</c:v>
                </c:pt>
                <c:pt idx="3069">
                  <c:v>1308.7700199999999</c:v>
                </c:pt>
                <c:pt idx="3070">
                  <c:v>1315.4799800000001</c:v>
                </c:pt>
                <c:pt idx="3071">
                  <c:v>1288.1400149999999</c:v>
                </c:pt>
                <c:pt idx="3072">
                  <c:v>1276.599976</c:v>
                </c:pt>
                <c:pt idx="3073">
                  <c:v>1330.73999</c:v>
                </c:pt>
                <c:pt idx="3074">
                  <c:v>1298.420044</c:v>
                </c:pt>
                <c:pt idx="3075">
                  <c:v>1329.51001</c:v>
                </c:pt>
                <c:pt idx="3076">
                  <c:v>1349.880005</c:v>
                </c:pt>
                <c:pt idx="3077">
                  <c:v>1352.98999</c:v>
                </c:pt>
                <c:pt idx="3078">
                  <c:v>1341.130005</c:v>
                </c:pt>
                <c:pt idx="3079">
                  <c:v>1325.76001</c:v>
                </c:pt>
                <c:pt idx="3080">
                  <c:v>1315.219971</c:v>
                </c:pt>
                <c:pt idx="3081">
                  <c:v>1322.6999510000001</c:v>
                </c:pt>
                <c:pt idx="3082">
                  <c:v>1370.1800539999999</c:v>
                </c:pt>
                <c:pt idx="3083">
                  <c:v>1367.530029</c:v>
                </c:pt>
                <c:pt idx="3084">
                  <c:v>1369.3100589999999</c:v>
                </c:pt>
                <c:pt idx="3085">
                  <c:v>1370.400024</c:v>
                </c:pt>
                <c:pt idx="3086">
                  <c:v>1372.540039</c:v>
                </c:pt>
                <c:pt idx="3087">
                  <c:v>1365.540039</c:v>
                </c:pt>
                <c:pt idx="3088">
                  <c:v>1354.48999</c:v>
                </c:pt>
                <c:pt idx="3089">
                  <c:v>1360.5500489999999</c:v>
                </c:pt>
                <c:pt idx="3090">
                  <c:v>1332.829956</c:v>
                </c:pt>
                <c:pt idx="3091">
                  <c:v>1328.3199460000001</c:v>
                </c:pt>
                <c:pt idx="3092">
                  <c:v>1334.4300539999999</c:v>
                </c:pt>
                <c:pt idx="3093">
                  <c:v>1364.709961</c:v>
                </c:pt>
                <c:pt idx="3094">
                  <c:v>1365.5600589999999</c:v>
                </c:pt>
                <c:pt idx="3095">
                  <c:v>1390.329956</c:v>
                </c:pt>
                <c:pt idx="3096">
                  <c:v>1388.170044</c:v>
                </c:pt>
                <c:pt idx="3097">
                  <c:v>1375.9399410000001</c:v>
                </c:pt>
                <c:pt idx="3098">
                  <c:v>1379.9300539999999</c:v>
                </c:pt>
                <c:pt idx="3099">
                  <c:v>1388.8199460000001</c:v>
                </c:pt>
                <c:pt idx="3100">
                  <c:v>1397.839966</c:v>
                </c:pt>
                <c:pt idx="3101">
                  <c:v>1396.369995</c:v>
                </c:pt>
                <c:pt idx="3102">
                  <c:v>1390.9399410000001</c:v>
                </c:pt>
                <c:pt idx="3103">
                  <c:v>1385.589966</c:v>
                </c:pt>
                <c:pt idx="3104">
                  <c:v>1409.339966</c:v>
                </c:pt>
                <c:pt idx="3105">
                  <c:v>1413.900024</c:v>
                </c:pt>
                <c:pt idx="3106">
                  <c:v>1407.48999</c:v>
                </c:pt>
                <c:pt idx="3107">
                  <c:v>1418.26001</c:v>
                </c:pt>
                <c:pt idx="3108">
                  <c:v>1392.5699460000001</c:v>
                </c:pt>
                <c:pt idx="3109">
                  <c:v>1397.6800539999999</c:v>
                </c:pt>
                <c:pt idx="3110">
                  <c:v>1388.280029</c:v>
                </c:pt>
                <c:pt idx="3111">
                  <c:v>1403.579956</c:v>
                </c:pt>
                <c:pt idx="3112">
                  <c:v>1403.040039</c:v>
                </c:pt>
                <c:pt idx="3113">
                  <c:v>1408.660034</c:v>
                </c:pt>
                <c:pt idx="3114">
                  <c:v>1423.5699460000001</c:v>
                </c:pt>
                <c:pt idx="3115">
                  <c:v>1425.349976</c:v>
                </c:pt>
                <c:pt idx="3116">
                  <c:v>1426.630005</c:v>
                </c:pt>
                <c:pt idx="3117">
                  <c:v>1413.400024</c:v>
                </c:pt>
                <c:pt idx="3118">
                  <c:v>1390.709961</c:v>
                </c:pt>
                <c:pt idx="3119">
                  <c:v>1394.349976</c:v>
                </c:pt>
                <c:pt idx="3120">
                  <c:v>1375.9300539999999</c:v>
                </c:pt>
                <c:pt idx="3121">
                  <c:v>1385.349976</c:v>
                </c:pt>
                <c:pt idx="3122">
                  <c:v>1390.839966</c:v>
                </c:pt>
                <c:pt idx="3123">
                  <c:v>1398.26001</c:v>
                </c:pt>
                <c:pt idx="3124">
                  <c:v>1400.380005</c:v>
                </c:pt>
                <c:pt idx="3125">
                  <c:v>1385.670044</c:v>
                </c:pt>
                <c:pt idx="3126">
                  <c:v>1377.650024</c:v>
                </c:pt>
                <c:pt idx="3127">
                  <c:v>1377.1999510000001</c:v>
                </c:pt>
                <c:pt idx="3128">
                  <c:v>1404.0500489999999</c:v>
                </c:pt>
                <c:pt idx="3129">
                  <c:v>1360.6800539999999</c:v>
                </c:pt>
                <c:pt idx="3130">
                  <c:v>1361.76001</c:v>
                </c:pt>
                <c:pt idx="3131">
                  <c:v>1358.4399410000001</c:v>
                </c:pt>
                <c:pt idx="3132">
                  <c:v>1335.48999</c:v>
                </c:pt>
                <c:pt idx="3133">
                  <c:v>1339.869995</c:v>
                </c:pt>
                <c:pt idx="3134">
                  <c:v>1360.030029</c:v>
                </c:pt>
                <c:pt idx="3135">
                  <c:v>1360.1400149999999</c:v>
                </c:pt>
                <c:pt idx="3136">
                  <c:v>1350.9300539999999</c:v>
                </c:pt>
                <c:pt idx="3137">
                  <c:v>1337.8100589999999</c:v>
                </c:pt>
                <c:pt idx="3138">
                  <c:v>1342.829956</c:v>
                </c:pt>
                <c:pt idx="3139">
                  <c:v>1317.9300539999999</c:v>
                </c:pt>
                <c:pt idx="3140">
                  <c:v>1318</c:v>
                </c:pt>
                <c:pt idx="3141">
                  <c:v>1314.290039</c:v>
                </c:pt>
                <c:pt idx="3142">
                  <c:v>1321.969971</c:v>
                </c:pt>
                <c:pt idx="3143">
                  <c:v>1283.150024</c:v>
                </c:pt>
                <c:pt idx="3144">
                  <c:v>1278.380005</c:v>
                </c:pt>
                <c:pt idx="3145">
                  <c:v>1280</c:v>
                </c:pt>
                <c:pt idx="3146">
                  <c:v>1284.910034</c:v>
                </c:pt>
                <c:pt idx="3147">
                  <c:v>1261.5200199999999</c:v>
                </c:pt>
                <c:pt idx="3148">
                  <c:v>1262.900024</c:v>
                </c:pt>
                <c:pt idx="3149">
                  <c:v>1252.3100589999999</c:v>
                </c:pt>
                <c:pt idx="3150">
                  <c:v>1273.6999510000001</c:v>
                </c:pt>
                <c:pt idx="3151">
                  <c:v>1244.6899410000001</c:v>
                </c:pt>
                <c:pt idx="3152">
                  <c:v>1253.3900149999999</c:v>
                </c:pt>
                <c:pt idx="3153">
                  <c:v>1239.48999</c:v>
                </c:pt>
                <c:pt idx="3154">
                  <c:v>1228.3000489999999</c:v>
                </c:pt>
                <c:pt idx="3155">
                  <c:v>1214.910034</c:v>
                </c:pt>
                <c:pt idx="3156">
                  <c:v>1245.3599850000001</c:v>
                </c:pt>
                <c:pt idx="3157">
                  <c:v>1260.3199460000001</c:v>
                </c:pt>
                <c:pt idx="3158">
                  <c:v>1260.6800539999999</c:v>
                </c:pt>
                <c:pt idx="3159">
                  <c:v>1260</c:v>
                </c:pt>
                <c:pt idx="3160">
                  <c:v>1277</c:v>
                </c:pt>
                <c:pt idx="3161">
                  <c:v>1282.1899410000001</c:v>
                </c:pt>
                <c:pt idx="3162">
                  <c:v>1252.540039</c:v>
                </c:pt>
                <c:pt idx="3163">
                  <c:v>1257.76001</c:v>
                </c:pt>
                <c:pt idx="3164">
                  <c:v>1234.369995</c:v>
                </c:pt>
                <c:pt idx="3165">
                  <c:v>1263.1999510000001</c:v>
                </c:pt>
                <c:pt idx="3166">
                  <c:v>1284.26001</c:v>
                </c:pt>
                <c:pt idx="3167">
                  <c:v>1267.380005</c:v>
                </c:pt>
                <c:pt idx="3168">
                  <c:v>1260.3100589999999</c:v>
                </c:pt>
                <c:pt idx="3169">
                  <c:v>1249.01001</c:v>
                </c:pt>
                <c:pt idx="3170">
                  <c:v>1284.880005</c:v>
                </c:pt>
                <c:pt idx="3171">
                  <c:v>1289.1899410000001</c:v>
                </c:pt>
                <c:pt idx="3172">
                  <c:v>1266.0699460000001</c:v>
                </c:pt>
                <c:pt idx="3173">
                  <c:v>1296.3199460000001</c:v>
                </c:pt>
                <c:pt idx="3174">
                  <c:v>1305.3199460000001</c:v>
                </c:pt>
                <c:pt idx="3175">
                  <c:v>1289.589966</c:v>
                </c:pt>
                <c:pt idx="3176">
                  <c:v>1285.829956</c:v>
                </c:pt>
                <c:pt idx="3177">
                  <c:v>1292.9300539999999</c:v>
                </c:pt>
                <c:pt idx="3178">
                  <c:v>1298.1999510000001</c:v>
                </c:pt>
                <c:pt idx="3179">
                  <c:v>1278.599976</c:v>
                </c:pt>
                <c:pt idx="3180">
                  <c:v>1266.6899410000001</c:v>
                </c:pt>
                <c:pt idx="3181">
                  <c:v>1274.540039</c:v>
                </c:pt>
                <c:pt idx="3182">
                  <c:v>1277.719971</c:v>
                </c:pt>
                <c:pt idx="3183">
                  <c:v>1292.1999510000001</c:v>
                </c:pt>
                <c:pt idx="3184">
                  <c:v>1266.839966</c:v>
                </c:pt>
                <c:pt idx="3185">
                  <c:v>1271.51001</c:v>
                </c:pt>
                <c:pt idx="3186">
                  <c:v>1281.660034</c:v>
                </c:pt>
                <c:pt idx="3187">
                  <c:v>1300.6800539999999</c:v>
                </c:pt>
                <c:pt idx="3188">
                  <c:v>1282.829956</c:v>
                </c:pt>
                <c:pt idx="3189">
                  <c:v>1277.579956</c:v>
                </c:pt>
                <c:pt idx="3190">
                  <c:v>1274.9799800000001</c:v>
                </c:pt>
                <c:pt idx="3191">
                  <c:v>1236.829956</c:v>
                </c:pt>
                <c:pt idx="3192">
                  <c:v>1242.3100589999999</c:v>
                </c:pt>
                <c:pt idx="3193">
                  <c:v>1267.790039</c:v>
                </c:pt>
                <c:pt idx="3194">
                  <c:v>1224.51001</c:v>
                </c:pt>
                <c:pt idx="3195">
                  <c:v>1232.040039</c:v>
                </c:pt>
                <c:pt idx="3196">
                  <c:v>1249.0500489999999</c:v>
                </c:pt>
                <c:pt idx="3197">
                  <c:v>1251.6999510000001</c:v>
                </c:pt>
                <c:pt idx="3198">
                  <c:v>1192.6999510000001</c:v>
                </c:pt>
                <c:pt idx="3199">
                  <c:v>1213.599976</c:v>
                </c:pt>
                <c:pt idx="3200">
                  <c:v>1156.3900149999999</c:v>
                </c:pt>
                <c:pt idx="3201">
                  <c:v>1206.51001</c:v>
                </c:pt>
                <c:pt idx="3202">
                  <c:v>1255.079956</c:v>
                </c:pt>
                <c:pt idx="3203">
                  <c:v>1207.089966</c:v>
                </c:pt>
                <c:pt idx="3204">
                  <c:v>1188.219971</c:v>
                </c:pt>
                <c:pt idx="3205">
                  <c:v>1185.869995</c:v>
                </c:pt>
                <c:pt idx="3206">
                  <c:v>1209.1800539999999</c:v>
                </c:pt>
                <c:pt idx="3207">
                  <c:v>1213.2700199999999</c:v>
                </c:pt>
                <c:pt idx="3208">
                  <c:v>1106.420044</c:v>
                </c:pt>
                <c:pt idx="3209">
                  <c:v>1166.3599850000001</c:v>
                </c:pt>
                <c:pt idx="3210">
                  <c:v>1161.0600589999999</c:v>
                </c:pt>
                <c:pt idx="3211">
                  <c:v>1114.280029</c:v>
                </c:pt>
                <c:pt idx="3212">
                  <c:v>1099.2299800000001</c:v>
                </c:pt>
                <c:pt idx="3213">
                  <c:v>1056.8900149999999</c:v>
                </c:pt>
                <c:pt idx="3214">
                  <c:v>996.22997999999995</c:v>
                </c:pt>
                <c:pt idx="3215">
                  <c:v>984.94000200000005</c:v>
                </c:pt>
                <c:pt idx="3216">
                  <c:v>909.919983</c:v>
                </c:pt>
                <c:pt idx="3217">
                  <c:v>899.21997099999999</c:v>
                </c:pt>
                <c:pt idx="3218">
                  <c:v>1003.349976</c:v>
                </c:pt>
                <c:pt idx="3219">
                  <c:v>998.01000999999997</c:v>
                </c:pt>
                <c:pt idx="3220">
                  <c:v>907.84002699999996</c:v>
                </c:pt>
                <c:pt idx="3221">
                  <c:v>946.42999299999997</c:v>
                </c:pt>
                <c:pt idx="3222">
                  <c:v>940.54998799999998</c:v>
                </c:pt>
                <c:pt idx="3223">
                  <c:v>985.40002400000003</c:v>
                </c:pt>
                <c:pt idx="3224">
                  <c:v>955.04998799999998</c:v>
                </c:pt>
                <c:pt idx="3225">
                  <c:v>896.78002900000001</c:v>
                </c:pt>
                <c:pt idx="3226">
                  <c:v>908.10998500000005</c:v>
                </c:pt>
                <c:pt idx="3227">
                  <c:v>876.77002000000005</c:v>
                </c:pt>
                <c:pt idx="3228">
                  <c:v>848.919983</c:v>
                </c:pt>
                <c:pt idx="3229">
                  <c:v>940.51000999999997</c:v>
                </c:pt>
                <c:pt idx="3230">
                  <c:v>930.09002699999996</c:v>
                </c:pt>
                <c:pt idx="3231">
                  <c:v>954.09002699999996</c:v>
                </c:pt>
                <c:pt idx="3232">
                  <c:v>968.75</c:v>
                </c:pt>
                <c:pt idx="3233">
                  <c:v>966.29998799999998</c:v>
                </c:pt>
                <c:pt idx="3234">
                  <c:v>1005.75</c:v>
                </c:pt>
                <c:pt idx="3235">
                  <c:v>952.77002000000005</c:v>
                </c:pt>
                <c:pt idx="3236">
                  <c:v>904.88000499999998</c:v>
                </c:pt>
                <c:pt idx="3237">
                  <c:v>930.98999000000003</c:v>
                </c:pt>
                <c:pt idx="3238">
                  <c:v>919.21002199999998</c:v>
                </c:pt>
                <c:pt idx="3239">
                  <c:v>898.95001200000002</c:v>
                </c:pt>
                <c:pt idx="3240">
                  <c:v>852.29998799999998</c:v>
                </c:pt>
                <c:pt idx="3241">
                  <c:v>911.28997800000002</c:v>
                </c:pt>
                <c:pt idx="3242">
                  <c:v>873.28997800000002</c:v>
                </c:pt>
                <c:pt idx="3243">
                  <c:v>850.75</c:v>
                </c:pt>
                <c:pt idx="3244">
                  <c:v>859.11999500000002</c:v>
                </c:pt>
                <c:pt idx="3245">
                  <c:v>806.580017</c:v>
                </c:pt>
                <c:pt idx="3246">
                  <c:v>752.44000200000005</c:v>
                </c:pt>
                <c:pt idx="3247">
                  <c:v>800.03002900000001</c:v>
                </c:pt>
                <c:pt idx="3248">
                  <c:v>851.80999799999995</c:v>
                </c:pt>
                <c:pt idx="3249">
                  <c:v>857.39001499999995</c:v>
                </c:pt>
                <c:pt idx="3250">
                  <c:v>887.67999299999997</c:v>
                </c:pt>
                <c:pt idx="3251">
                  <c:v>896.23999000000003</c:v>
                </c:pt>
                <c:pt idx="3252">
                  <c:v>816.21002199999998</c:v>
                </c:pt>
                <c:pt idx="3253">
                  <c:v>848.80999799999995</c:v>
                </c:pt>
                <c:pt idx="3254">
                  <c:v>870.73999000000003</c:v>
                </c:pt>
                <c:pt idx="3255">
                  <c:v>845.21997099999999</c:v>
                </c:pt>
                <c:pt idx="3256">
                  <c:v>876.07000700000003</c:v>
                </c:pt>
                <c:pt idx="3257">
                  <c:v>909.70001200000002</c:v>
                </c:pt>
                <c:pt idx="3258">
                  <c:v>888.669983</c:v>
                </c:pt>
                <c:pt idx="3259">
                  <c:v>899.23999000000003</c:v>
                </c:pt>
                <c:pt idx="3260">
                  <c:v>873.59002699999996</c:v>
                </c:pt>
                <c:pt idx="3261">
                  <c:v>879.72997999999995</c:v>
                </c:pt>
                <c:pt idx="3262">
                  <c:v>868.57000700000003</c:v>
                </c:pt>
                <c:pt idx="3263">
                  <c:v>913.17999299999997</c:v>
                </c:pt>
                <c:pt idx="3264">
                  <c:v>904.419983</c:v>
                </c:pt>
                <c:pt idx="3265">
                  <c:v>885.28002900000001</c:v>
                </c:pt>
                <c:pt idx="3266">
                  <c:v>887.88000499999998</c:v>
                </c:pt>
                <c:pt idx="3267">
                  <c:v>871.63000499999998</c:v>
                </c:pt>
                <c:pt idx="3268">
                  <c:v>863.15997300000004</c:v>
                </c:pt>
                <c:pt idx="3269">
                  <c:v>868.15002400000003</c:v>
                </c:pt>
                <c:pt idx="3270">
                  <c:v>872.79998799999998</c:v>
                </c:pt>
                <c:pt idx="3271">
                  <c:v>869.419983</c:v>
                </c:pt>
                <c:pt idx="3272">
                  <c:v>890.64001499999995</c:v>
                </c:pt>
                <c:pt idx="3273">
                  <c:v>903.25</c:v>
                </c:pt>
                <c:pt idx="3274">
                  <c:v>931.79998799999998</c:v>
                </c:pt>
                <c:pt idx="3275">
                  <c:v>927.45001200000002</c:v>
                </c:pt>
                <c:pt idx="3276">
                  <c:v>934.70001200000002</c:v>
                </c:pt>
                <c:pt idx="3277">
                  <c:v>906.65002400000003</c:v>
                </c:pt>
                <c:pt idx="3278">
                  <c:v>909.72997999999995</c:v>
                </c:pt>
                <c:pt idx="3279">
                  <c:v>890.34997599999997</c:v>
                </c:pt>
                <c:pt idx="3280">
                  <c:v>870.26000999999997</c:v>
                </c:pt>
                <c:pt idx="3281">
                  <c:v>871.78997800000002</c:v>
                </c:pt>
                <c:pt idx="3282">
                  <c:v>842.61999500000002</c:v>
                </c:pt>
                <c:pt idx="3283">
                  <c:v>843.73999000000003</c:v>
                </c:pt>
                <c:pt idx="3284">
                  <c:v>850.11999500000002</c:v>
                </c:pt>
                <c:pt idx="3285">
                  <c:v>805.21997099999999</c:v>
                </c:pt>
                <c:pt idx="3286">
                  <c:v>840.23999000000003</c:v>
                </c:pt>
                <c:pt idx="3287">
                  <c:v>827.5</c:v>
                </c:pt>
                <c:pt idx="3288">
                  <c:v>831.95001200000002</c:v>
                </c:pt>
                <c:pt idx="3289">
                  <c:v>836.57000700000003</c:v>
                </c:pt>
                <c:pt idx="3290">
                  <c:v>845.71002199999998</c:v>
                </c:pt>
                <c:pt idx="3291">
                  <c:v>874.09002699999996</c:v>
                </c:pt>
                <c:pt idx="3292">
                  <c:v>845.14001499999995</c:v>
                </c:pt>
                <c:pt idx="3293">
                  <c:v>825.88000499999998</c:v>
                </c:pt>
                <c:pt idx="3294">
                  <c:v>825.44000200000005</c:v>
                </c:pt>
                <c:pt idx="3295">
                  <c:v>838.51000999999997</c:v>
                </c:pt>
                <c:pt idx="3296">
                  <c:v>832.22997999999995</c:v>
                </c:pt>
                <c:pt idx="3297">
                  <c:v>845.84997599999997</c:v>
                </c:pt>
                <c:pt idx="3298">
                  <c:v>868.59997599999997</c:v>
                </c:pt>
                <c:pt idx="3299">
                  <c:v>869.89001499999995</c:v>
                </c:pt>
                <c:pt idx="3300">
                  <c:v>827.15997300000004</c:v>
                </c:pt>
                <c:pt idx="3301">
                  <c:v>833.73999000000003</c:v>
                </c:pt>
                <c:pt idx="3302">
                  <c:v>835.19000200000005</c:v>
                </c:pt>
                <c:pt idx="3303">
                  <c:v>826.84002699999996</c:v>
                </c:pt>
                <c:pt idx="3304">
                  <c:v>789.169983</c:v>
                </c:pt>
                <c:pt idx="3305">
                  <c:v>788.419983</c:v>
                </c:pt>
                <c:pt idx="3306">
                  <c:v>778.94000200000005</c:v>
                </c:pt>
                <c:pt idx="3307">
                  <c:v>770.04998799999998</c:v>
                </c:pt>
                <c:pt idx="3308">
                  <c:v>743.330017</c:v>
                </c:pt>
                <c:pt idx="3309">
                  <c:v>773.14001499999995</c:v>
                </c:pt>
                <c:pt idx="3310">
                  <c:v>764.90002400000003</c:v>
                </c:pt>
                <c:pt idx="3311">
                  <c:v>752.830017</c:v>
                </c:pt>
                <c:pt idx="3312">
                  <c:v>735.09002699999996</c:v>
                </c:pt>
                <c:pt idx="3313">
                  <c:v>700.82000700000003</c:v>
                </c:pt>
                <c:pt idx="3314">
                  <c:v>696.330017</c:v>
                </c:pt>
                <c:pt idx="3315">
                  <c:v>712.86999500000002</c:v>
                </c:pt>
                <c:pt idx="3316">
                  <c:v>682.54998799999998</c:v>
                </c:pt>
                <c:pt idx="3317">
                  <c:v>683.38000499999998</c:v>
                </c:pt>
                <c:pt idx="3318">
                  <c:v>676.53002900000001</c:v>
                </c:pt>
                <c:pt idx="3319">
                  <c:v>719.59997599999997</c:v>
                </c:pt>
                <c:pt idx="3320">
                  <c:v>721.35998500000005</c:v>
                </c:pt>
                <c:pt idx="3321">
                  <c:v>750.73999000000003</c:v>
                </c:pt>
                <c:pt idx="3322">
                  <c:v>756.54998799999998</c:v>
                </c:pt>
                <c:pt idx="3323">
                  <c:v>753.89001499999995</c:v>
                </c:pt>
                <c:pt idx="3324">
                  <c:v>778.11999500000002</c:v>
                </c:pt>
                <c:pt idx="3325">
                  <c:v>794.34997599999997</c:v>
                </c:pt>
                <c:pt idx="3326">
                  <c:v>784.03997800000002</c:v>
                </c:pt>
                <c:pt idx="3327">
                  <c:v>768.53997800000002</c:v>
                </c:pt>
                <c:pt idx="3328">
                  <c:v>822.919983</c:v>
                </c:pt>
                <c:pt idx="3329">
                  <c:v>806.11999500000002</c:v>
                </c:pt>
                <c:pt idx="3330">
                  <c:v>813.88000499999998</c:v>
                </c:pt>
                <c:pt idx="3331">
                  <c:v>832.85998500000005</c:v>
                </c:pt>
                <c:pt idx="3332">
                  <c:v>815.94000200000005</c:v>
                </c:pt>
                <c:pt idx="3333">
                  <c:v>787.53002900000001</c:v>
                </c:pt>
                <c:pt idx="3334">
                  <c:v>797.86999500000002</c:v>
                </c:pt>
                <c:pt idx="3335">
                  <c:v>811.080017</c:v>
                </c:pt>
                <c:pt idx="3336">
                  <c:v>834.38000499999998</c:v>
                </c:pt>
                <c:pt idx="3337">
                  <c:v>842.5</c:v>
                </c:pt>
                <c:pt idx="3338">
                  <c:v>835.47997999999995</c:v>
                </c:pt>
                <c:pt idx="3339">
                  <c:v>815.54998799999998</c:v>
                </c:pt>
                <c:pt idx="3340">
                  <c:v>825.15997300000004</c:v>
                </c:pt>
                <c:pt idx="3341">
                  <c:v>856.55999799999995</c:v>
                </c:pt>
                <c:pt idx="3342">
                  <c:v>858.72997999999995</c:v>
                </c:pt>
                <c:pt idx="3343">
                  <c:v>841.5</c:v>
                </c:pt>
                <c:pt idx="3344">
                  <c:v>852.05999799999995</c:v>
                </c:pt>
                <c:pt idx="3345">
                  <c:v>865.29998799999998</c:v>
                </c:pt>
                <c:pt idx="3346">
                  <c:v>869.59997599999997</c:v>
                </c:pt>
                <c:pt idx="3347">
                  <c:v>832.39001499999995</c:v>
                </c:pt>
                <c:pt idx="3348">
                  <c:v>850.080017</c:v>
                </c:pt>
                <c:pt idx="3349">
                  <c:v>843.54998799999998</c:v>
                </c:pt>
                <c:pt idx="3350">
                  <c:v>851.919983</c:v>
                </c:pt>
                <c:pt idx="3351">
                  <c:v>866.22997999999995</c:v>
                </c:pt>
                <c:pt idx="3352">
                  <c:v>857.51000999999997</c:v>
                </c:pt>
                <c:pt idx="3353">
                  <c:v>855.15997300000004</c:v>
                </c:pt>
                <c:pt idx="3354">
                  <c:v>873.64001499999995</c:v>
                </c:pt>
                <c:pt idx="3355">
                  <c:v>872.80999799999995</c:v>
                </c:pt>
                <c:pt idx="3356">
                  <c:v>877.52002000000005</c:v>
                </c:pt>
                <c:pt idx="3357">
                  <c:v>907.23999000000003</c:v>
                </c:pt>
                <c:pt idx="3358">
                  <c:v>903.79998799999998</c:v>
                </c:pt>
                <c:pt idx="3359">
                  <c:v>919.53002900000001</c:v>
                </c:pt>
                <c:pt idx="3360">
                  <c:v>907.39001499999995</c:v>
                </c:pt>
                <c:pt idx="3361">
                  <c:v>929.22997999999995</c:v>
                </c:pt>
                <c:pt idx="3362">
                  <c:v>909.23999000000003</c:v>
                </c:pt>
                <c:pt idx="3363">
                  <c:v>908.34997599999997</c:v>
                </c:pt>
                <c:pt idx="3364">
                  <c:v>883.919983</c:v>
                </c:pt>
                <c:pt idx="3365">
                  <c:v>893.07000700000003</c:v>
                </c:pt>
                <c:pt idx="3366">
                  <c:v>882.88000499999998</c:v>
                </c:pt>
                <c:pt idx="3367">
                  <c:v>909.71002199999998</c:v>
                </c:pt>
                <c:pt idx="3368">
                  <c:v>908.13000499999998</c:v>
                </c:pt>
                <c:pt idx="3369">
                  <c:v>903.46997099999999</c:v>
                </c:pt>
                <c:pt idx="3370">
                  <c:v>888.330017</c:v>
                </c:pt>
                <c:pt idx="3371">
                  <c:v>887</c:v>
                </c:pt>
                <c:pt idx="3372">
                  <c:v>910.330017</c:v>
                </c:pt>
                <c:pt idx="3373">
                  <c:v>893.05999799999995</c:v>
                </c:pt>
                <c:pt idx="3374">
                  <c:v>906.830017</c:v>
                </c:pt>
                <c:pt idx="3375">
                  <c:v>919.14001499999995</c:v>
                </c:pt>
                <c:pt idx="3376">
                  <c:v>942.86999500000002</c:v>
                </c:pt>
                <c:pt idx="3377">
                  <c:v>944.73999000000003</c:v>
                </c:pt>
                <c:pt idx="3378">
                  <c:v>931.76000999999997</c:v>
                </c:pt>
                <c:pt idx="3379">
                  <c:v>942.46002199999998</c:v>
                </c:pt>
                <c:pt idx="3380">
                  <c:v>940.09002699999996</c:v>
                </c:pt>
                <c:pt idx="3381">
                  <c:v>939.14001499999995</c:v>
                </c:pt>
                <c:pt idx="3382">
                  <c:v>942.42999299999997</c:v>
                </c:pt>
                <c:pt idx="3383">
                  <c:v>939.15002400000003</c:v>
                </c:pt>
                <c:pt idx="3384">
                  <c:v>944.89001499999995</c:v>
                </c:pt>
                <c:pt idx="3385">
                  <c:v>946.21002199999998</c:v>
                </c:pt>
                <c:pt idx="3386">
                  <c:v>923.71997099999999</c:v>
                </c:pt>
                <c:pt idx="3387">
                  <c:v>911.96997099999999</c:v>
                </c:pt>
                <c:pt idx="3388">
                  <c:v>910.71002199999998</c:v>
                </c:pt>
                <c:pt idx="3389">
                  <c:v>918.36999500000002</c:v>
                </c:pt>
                <c:pt idx="3390">
                  <c:v>921.22997999999995</c:v>
                </c:pt>
                <c:pt idx="3391">
                  <c:v>893.03997800000002</c:v>
                </c:pt>
                <c:pt idx="3392">
                  <c:v>895.09997599999997</c:v>
                </c:pt>
                <c:pt idx="3393">
                  <c:v>900.94000200000005</c:v>
                </c:pt>
                <c:pt idx="3394">
                  <c:v>920.26000999999997</c:v>
                </c:pt>
                <c:pt idx="3395">
                  <c:v>918.90002400000003</c:v>
                </c:pt>
                <c:pt idx="3396">
                  <c:v>927.22997999999995</c:v>
                </c:pt>
                <c:pt idx="3397">
                  <c:v>919.32000700000003</c:v>
                </c:pt>
                <c:pt idx="3398">
                  <c:v>923.330017</c:v>
                </c:pt>
                <c:pt idx="3399">
                  <c:v>896.419983</c:v>
                </c:pt>
                <c:pt idx="3400">
                  <c:v>898.71997099999999</c:v>
                </c:pt>
                <c:pt idx="3401">
                  <c:v>881.03002900000001</c:v>
                </c:pt>
                <c:pt idx="3402">
                  <c:v>879.55999799999995</c:v>
                </c:pt>
                <c:pt idx="3403">
                  <c:v>882.67999299999997</c:v>
                </c:pt>
                <c:pt idx="3404">
                  <c:v>879.13000499999998</c:v>
                </c:pt>
                <c:pt idx="3405">
                  <c:v>901.04998799999998</c:v>
                </c:pt>
                <c:pt idx="3406">
                  <c:v>905.84002699999996</c:v>
                </c:pt>
                <c:pt idx="3407">
                  <c:v>932.67999299999997</c:v>
                </c:pt>
                <c:pt idx="3408">
                  <c:v>940.73999000000003</c:v>
                </c:pt>
                <c:pt idx="3409">
                  <c:v>940.38000499999998</c:v>
                </c:pt>
                <c:pt idx="3410">
                  <c:v>951.13000499999998</c:v>
                </c:pt>
                <c:pt idx="3411">
                  <c:v>954.580017</c:v>
                </c:pt>
                <c:pt idx="3412">
                  <c:v>954.07000700000003</c:v>
                </c:pt>
                <c:pt idx="3413">
                  <c:v>976.28997800000002</c:v>
                </c:pt>
                <c:pt idx="3414">
                  <c:v>979.26000999999997</c:v>
                </c:pt>
                <c:pt idx="3415">
                  <c:v>982.17999299999997</c:v>
                </c:pt>
                <c:pt idx="3416">
                  <c:v>979.61999500000002</c:v>
                </c:pt>
                <c:pt idx="3417">
                  <c:v>975.15002400000003</c:v>
                </c:pt>
                <c:pt idx="3418">
                  <c:v>986.75</c:v>
                </c:pt>
                <c:pt idx="3419">
                  <c:v>987.47997999999995</c:v>
                </c:pt>
                <c:pt idx="3420">
                  <c:v>1002.630005</c:v>
                </c:pt>
                <c:pt idx="3421">
                  <c:v>1005.650024</c:v>
                </c:pt>
                <c:pt idx="3422">
                  <c:v>1002.719971</c:v>
                </c:pt>
                <c:pt idx="3423">
                  <c:v>997.080017</c:v>
                </c:pt>
                <c:pt idx="3424">
                  <c:v>1010.47998</c:v>
                </c:pt>
                <c:pt idx="3425">
                  <c:v>1007.099976</c:v>
                </c:pt>
                <c:pt idx="3426">
                  <c:v>994.34997599999997</c:v>
                </c:pt>
                <c:pt idx="3427">
                  <c:v>1005.809998</c:v>
                </c:pt>
                <c:pt idx="3428">
                  <c:v>1012.72998</c:v>
                </c:pt>
                <c:pt idx="3429">
                  <c:v>1004.090027</c:v>
                </c:pt>
                <c:pt idx="3430">
                  <c:v>979.72997999999995</c:v>
                </c:pt>
                <c:pt idx="3431">
                  <c:v>989.669983</c:v>
                </c:pt>
                <c:pt idx="3432">
                  <c:v>996.46002199999998</c:v>
                </c:pt>
                <c:pt idx="3433">
                  <c:v>1007.369995</c:v>
                </c:pt>
                <c:pt idx="3434">
                  <c:v>1026.130005</c:v>
                </c:pt>
                <c:pt idx="3435">
                  <c:v>1025.5699460000001</c:v>
                </c:pt>
                <c:pt idx="3436">
                  <c:v>1028</c:v>
                </c:pt>
                <c:pt idx="3437">
                  <c:v>1028.119995</c:v>
                </c:pt>
                <c:pt idx="3438">
                  <c:v>1030.9799800000001</c:v>
                </c:pt>
                <c:pt idx="3439">
                  <c:v>1028.9300539999999</c:v>
                </c:pt>
                <c:pt idx="3440">
                  <c:v>1020.619995</c:v>
                </c:pt>
                <c:pt idx="3441">
                  <c:v>998.03997800000002</c:v>
                </c:pt>
                <c:pt idx="3442">
                  <c:v>994.75</c:v>
                </c:pt>
                <c:pt idx="3443">
                  <c:v>1003.23999</c:v>
                </c:pt>
                <c:pt idx="3444">
                  <c:v>1016.400024</c:v>
                </c:pt>
                <c:pt idx="3445">
                  <c:v>1025.3900149999999</c:v>
                </c:pt>
                <c:pt idx="3446">
                  <c:v>1033.369995</c:v>
                </c:pt>
                <c:pt idx="3447">
                  <c:v>1044.1400149999999</c:v>
                </c:pt>
                <c:pt idx="3448">
                  <c:v>1042.7299800000001</c:v>
                </c:pt>
                <c:pt idx="3449">
                  <c:v>1049.339966</c:v>
                </c:pt>
                <c:pt idx="3450">
                  <c:v>1052.630005</c:v>
                </c:pt>
                <c:pt idx="3451">
                  <c:v>1068.76001</c:v>
                </c:pt>
                <c:pt idx="3452">
                  <c:v>1065.48999</c:v>
                </c:pt>
                <c:pt idx="3453">
                  <c:v>1068.3000489999999</c:v>
                </c:pt>
                <c:pt idx="3454">
                  <c:v>1064.660034</c:v>
                </c:pt>
                <c:pt idx="3455">
                  <c:v>1071.660034</c:v>
                </c:pt>
                <c:pt idx="3456">
                  <c:v>1060.869995</c:v>
                </c:pt>
                <c:pt idx="3457">
                  <c:v>1050.780029</c:v>
                </c:pt>
                <c:pt idx="3458">
                  <c:v>1044.380005</c:v>
                </c:pt>
                <c:pt idx="3459">
                  <c:v>1062.9799800000001</c:v>
                </c:pt>
                <c:pt idx="3460">
                  <c:v>1060.6099850000001</c:v>
                </c:pt>
                <c:pt idx="3461">
                  <c:v>1057.079956</c:v>
                </c:pt>
                <c:pt idx="3462">
                  <c:v>1029.849976</c:v>
                </c:pt>
                <c:pt idx="3463">
                  <c:v>1025.209961</c:v>
                </c:pt>
                <c:pt idx="3464">
                  <c:v>1040.459961</c:v>
                </c:pt>
                <c:pt idx="3465">
                  <c:v>1054.719971</c:v>
                </c:pt>
                <c:pt idx="3466">
                  <c:v>1057.579956</c:v>
                </c:pt>
                <c:pt idx="3467">
                  <c:v>1065.4799800000001</c:v>
                </c:pt>
                <c:pt idx="3468">
                  <c:v>1071.48999</c:v>
                </c:pt>
                <c:pt idx="3469">
                  <c:v>1076.1899410000001</c:v>
                </c:pt>
                <c:pt idx="3470">
                  <c:v>1073.1899410000001</c:v>
                </c:pt>
                <c:pt idx="3471">
                  <c:v>1092.0200199999999</c:v>
                </c:pt>
                <c:pt idx="3472">
                  <c:v>1096.5600589999999</c:v>
                </c:pt>
                <c:pt idx="3473">
                  <c:v>1087.6800539999999</c:v>
                </c:pt>
                <c:pt idx="3474">
                  <c:v>1097.910034</c:v>
                </c:pt>
                <c:pt idx="3475">
                  <c:v>1091.0600589999999</c:v>
                </c:pt>
                <c:pt idx="3476">
                  <c:v>1081.400024</c:v>
                </c:pt>
                <c:pt idx="3477">
                  <c:v>1092.910034</c:v>
                </c:pt>
                <c:pt idx="3478">
                  <c:v>1079.599976</c:v>
                </c:pt>
                <c:pt idx="3479">
                  <c:v>1066.9499510000001</c:v>
                </c:pt>
                <c:pt idx="3480">
                  <c:v>1063.410034</c:v>
                </c:pt>
                <c:pt idx="3481">
                  <c:v>1042.630005</c:v>
                </c:pt>
                <c:pt idx="3482">
                  <c:v>1066.1099850000001</c:v>
                </c:pt>
                <c:pt idx="3483">
                  <c:v>1036.1899410000001</c:v>
                </c:pt>
                <c:pt idx="3484">
                  <c:v>1042.880005</c:v>
                </c:pt>
                <c:pt idx="3485">
                  <c:v>1045.410034</c:v>
                </c:pt>
                <c:pt idx="3486">
                  <c:v>1046.5</c:v>
                </c:pt>
                <c:pt idx="3487">
                  <c:v>1066.630005</c:v>
                </c:pt>
                <c:pt idx="3488">
                  <c:v>1069.3000489999999</c:v>
                </c:pt>
                <c:pt idx="3489">
                  <c:v>1093.079956</c:v>
                </c:pt>
                <c:pt idx="3490">
                  <c:v>1093.01001</c:v>
                </c:pt>
                <c:pt idx="3491">
                  <c:v>1098.51001</c:v>
                </c:pt>
                <c:pt idx="3492">
                  <c:v>1087.23999</c:v>
                </c:pt>
                <c:pt idx="3493">
                  <c:v>1093.4799800000001</c:v>
                </c:pt>
                <c:pt idx="3494">
                  <c:v>1109.3000489999999</c:v>
                </c:pt>
                <c:pt idx="3495">
                  <c:v>1110.3199460000001</c:v>
                </c:pt>
                <c:pt idx="3496">
                  <c:v>1109.8000489999999</c:v>
                </c:pt>
                <c:pt idx="3497">
                  <c:v>1094.900024</c:v>
                </c:pt>
                <c:pt idx="3498">
                  <c:v>1091.380005</c:v>
                </c:pt>
                <c:pt idx="3499">
                  <c:v>1106.23999</c:v>
                </c:pt>
                <c:pt idx="3500">
                  <c:v>1105.650024</c:v>
                </c:pt>
                <c:pt idx="3501">
                  <c:v>1110.630005</c:v>
                </c:pt>
                <c:pt idx="3502">
                  <c:v>1091.48999</c:v>
                </c:pt>
                <c:pt idx="3503">
                  <c:v>1095.630005</c:v>
                </c:pt>
                <c:pt idx="3504">
                  <c:v>1108.8599850000001</c:v>
                </c:pt>
                <c:pt idx="3505">
                  <c:v>1109.23999</c:v>
                </c:pt>
                <c:pt idx="3506">
                  <c:v>1099.920044</c:v>
                </c:pt>
                <c:pt idx="3507">
                  <c:v>1105.9799800000001</c:v>
                </c:pt>
                <c:pt idx="3508">
                  <c:v>1103.25</c:v>
                </c:pt>
                <c:pt idx="3509">
                  <c:v>1091.9399410000001</c:v>
                </c:pt>
                <c:pt idx="3510">
                  <c:v>1095.9499510000001</c:v>
                </c:pt>
                <c:pt idx="3511">
                  <c:v>1102.349976</c:v>
                </c:pt>
                <c:pt idx="3512">
                  <c:v>1106.410034</c:v>
                </c:pt>
                <c:pt idx="3513">
                  <c:v>1114.1099850000001</c:v>
                </c:pt>
                <c:pt idx="3514">
                  <c:v>1107.9300539999999</c:v>
                </c:pt>
                <c:pt idx="3515">
                  <c:v>1109.1800539999999</c:v>
                </c:pt>
                <c:pt idx="3516">
                  <c:v>1096.079956</c:v>
                </c:pt>
                <c:pt idx="3517">
                  <c:v>1102.469971</c:v>
                </c:pt>
                <c:pt idx="3518">
                  <c:v>1114.0500489999999</c:v>
                </c:pt>
                <c:pt idx="3519">
                  <c:v>1118.0200199999999</c:v>
                </c:pt>
                <c:pt idx="3520">
                  <c:v>1120.589966</c:v>
                </c:pt>
                <c:pt idx="3521">
                  <c:v>1126.4799800000001</c:v>
                </c:pt>
                <c:pt idx="3522">
                  <c:v>1127.780029</c:v>
                </c:pt>
                <c:pt idx="3523">
                  <c:v>1126.1999510000001</c:v>
                </c:pt>
                <c:pt idx="3524">
                  <c:v>1126.420044</c:v>
                </c:pt>
                <c:pt idx="3525">
                  <c:v>1115.099976</c:v>
                </c:pt>
                <c:pt idx="3526">
                  <c:v>1132.98999</c:v>
                </c:pt>
                <c:pt idx="3527">
                  <c:v>1136.5200199999999</c:v>
                </c:pt>
                <c:pt idx="3528">
                  <c:v>1137.1400149999999</c:v>
                </c:pt>
                <c:pt idx="3529">
                  <c:v>1141.6899410000001</c:v>
                </c:pt>
                <c:pt idx="3530">
                  <c:v>1144.9799800000001</c:v>
                </c:pt>
                <c:pt idx="3531">
                  <c:v>1146.9799800000001</c:v>
                </c:pt>
                <c:pt idx="3532">
                  <c:v>1136.219971</c:v>
                </c:pt>
                <c:pt idx="3533">
                  <c:v>1145.6800539999999</c:v>
                </c:pt>
                <c:pt idx="3534">
                  <c:v>1148.459961</c:v>
                </c:pt>
                <c:pt idx="3535">
                  <c:v>1136.030029</c:v>
                </c:pt>
                <c:pt idx="3536">
                  <c:v>1150.2299800000001</c:v>
                </c:pt>
                <c:pt idx="3537">
                  <c:v>1138.040039</c:v>
                </c:pt>
                <c:pt idx="3538">
                  <c:v>1116.4799800000001</c:v>
                </c:pt>
                <c:pt idx="3539">
                  <c:v>1091.76001</c:v>
                </c:pt>
                <c:pt idx="3540">
                  <c:v>1096.780029</c:v>
                </c:pt>
                <c:pt idx="3541">
                  <c:v>1092.170044</c:v>
                </c:pt>
                <c:pt idx="3542">
                  <c:v>1097.5</c:v>
                </c:pt>
                <c:pt idx="3543">
                  <c:v>1084.530029</c:v>
                </c:pt>
                <c:pt idx="3544">
                  <c:v>1073.869995</c:v>
                </c:pt>
                <c:pt idx="3545">
                  <c:v>1089.1899410000001</c:v>
                </c:pt>
                <c:pt idx="3546">
                  <c:v>1103.3199460000001</c:v>
                </c:pt>
                <c:pt idx="3547">
                  <c:v>1097.280029</c:v>
                </c:pt>
                <c:pt idx="3548">
                  <c:v>1063.1099850000001</c:v>
                </c:pt>
                <c:pt idx="3549">
                  <c:v>1066.1899410000001</c:v>
                </c:pt>
                <c:pt idx="3550">
                  <c:v>1056.73999</c:v>
                </c:pt>
                <c:pt idx="3551">
                  <c:v>1070.5200199999999</c:v>
                </c:pt>
                <c:pt idx="3552">
                  <c:v>1068.130005</c:v>
                </c:pt>
                <c:pt idx="3553">
                  <c:v>1078.469971</c:v>
                </c:pt>
                <c:pt idx="3554">
                  <c:v>1075.51001</c:v>
                </c:pt>
                <c:pt idx="3555">
                  <c:v>1094.869995</c:v>
                </c:pt>
                <c:pt idx="3556">
                  <c:v>1099.51001</c:v>
                </c:pt>
                <c:pt idx="3557">
                  <c:v>1106.75</c:v>
                </c:pt>
                <c:pt idx="3558">
                  <c:v>1109.170044</c:v>
                </c:pt>
                <c:pt idx="3559">
                  <c:v>1108.01001</c:v>
                </c:pt>
                <c:pt idx="3560">
                  <c:v>1094.599976</c:v>
                </c:pt>
                <c:pt idx="3561">
                  <c:v>1105.23999</c:v>
                </c:pt>
                <c:pt idx="3562">
                  <c:v>1102.9399410000001</c:v>
                </c:pt>
                <c:pt idx="3563">
                  <c:v>1104.48999</c:v>
                </c:pt>
                <c:pt idx="3564">
                  <c:v>1115.709961</c:v>
                </c:pt>
                <c:pt idx="3565">
                  <c:v>1118.3100589999999</c:v>
                </c:pt>
                <c:pt idx="3566">
                  <c:v>1118.790039</c:v>
                </c:pt>
                <c:pt idx="3567">
                  <c:v>1122.969971</c:v>
                </c:pt>
                <c:pt idx="3568">
                  <c:v>1138.6999510000001</c:v>
                </c:pt>
                <c:pt idx="3569">
                  <c:v>1138.5</c:v>
                </c:pt>
                <c:pt idx="3570">
                  <c:v>1140.4499510000001</c:v>
                </c:pt>
                <c:pt idx="3571">
                  <c:v>1145.6099850000001</c:v>
                </c:pt>
                <c:pt idx="3572">
                  <c:v>1150.23999</c:v>
                </c:pt>
                <c:pt idx="3573">
                  <c:v>1149.98999</c:v>
                </c:pt>
                <c:pt idx="3574">
                  <c:v>1150.51001</c:v>
                </c:pt>
                <c:pt idx="3575">
                  <c:v>1159.459961</c:v>
                </c:pt>
                <c:pt idx="3576">
                  <c:v>1166.209961</c:v>
                </c:pt>
                <c:pt idx="3577">
                  <c:v>1165.829956</c:v>
                </c:pt>
                <c:pt idx="3578">
                  <c:v>1159.900024</c:v>
                </c:pt>
                <c:pt idx="3579">
                  <c:v>1165.8100589999999</c:v>
                </c:pt>
                <c:pt idx="3580">
                  <c:v>1174.170044</c:v>
                </c:pt>
                <c:pt idx="3581">
                  <c:v>1167.719971</c:v>
                </c:pt>
                <c:pt idx="3582">
                  <c:v>1165.7299800000001</c:v>
                </c:pt>
                <c:pt idx="3583">
                  <c:v>1166.589966</c:v>
                </c:pt>
                <c:pt idx="3584">
                  <c:v>1173.219971</c:v>
                </c:pt>
                <c:pt idx="3585">
                  <c:v>1173.2700199999999</c:v>
                </c:pt>
                <c:pt idx="3586">
                  <c:v>1169.4300539999999</c:v>
                </c:pt>
                <c:pt idx="3587">
                  <c:v>1178.099976</c:v>
                </c:pt>
                <c:pt idx="3588">
                  <c:v>1187.4399410000001</c:v>
                </c:pt>
                <c:pt idx="3589">
                  <c:v>1189.4399410000001</c:v>
                </c:pt>
                <c:pt idx="3590">
                  <c:v>1182.4499510000001</c:v>
                </c:pt>
                <c:pt idx="3591">
                  <c:v>1186.4399410000001</c:v>
                </c:pt>
                <c:pt idx="3592">
                  <c:v>1194.369995</c:v>
                </c:pt>
                <c:pt idx="3593">
                  <c:v>1196.4799800000001</c:v>
                </c:pt>
                <c:pt idx="3594">
                  <c:v>1197.3000489999999</c:v>
                </c:pt>
                <c:pt idx="3595">
                  <c:v>1210.650024</c:v>
                </c:pt>
                <c:pt idx="3596">
                  <c:v>1211.670044</c:v>
                </c:pt>
                <c:pt idx="3597">
                  <c:v>1192.130005</c:v>
                </c:pt>
                <c:pt idx="3598">
                  <c:v>1197.5200199999999</c:v>
                </c:pt>
                <c:pt idx="3599">
                  <c:v>1207.170044</c:v>
                </c:pt>
                <c:pt idx="3600">
                  <c:v>1205.9399410000001</c:v>
                </c:pt>
                <c:pt idx="3601">
                  <c:v>1208.670044</c:v>
                </c:pt>
                <c:pt idx="3602">
                  <c:v>1217.280029</c:v>
                </c:pt>
                <c:pt idx="3603">
                  <c:v>1212.0500489999999</c:v>
                </c:pt>
                <c:pt idx="3604">
                  <c:v>1183.709961</c:v>
                </c:pt>
                <c:pt idx="3605">
                  <c:v>1191.3599850000001</c:v>
                </c:pt>
                <c:pt idx="3606">
                  <c:v>1206.780029</c:v>
                </c:pt>
                <c:pt idx="3607">
                  <c:v>1186.6899410000001</c:v>
                </c:pt>
                <c:pt idx="3608">
                  <c:v>1202.26001</c:v>
                </c:pt>
                <c:pt idx="3609">
                  <c:v>1173.599976</c:v>
                </c:pt>
                <c:pt idx="3610">
                  <c:v>1165.869995</c:v>
                </c:pt>
                <c:pt idx="3611">
                  <c:v>1128.150024</c:v>
                </c:pt>
                <c:pt idx="3612">
                  <c:v>1110.880005</c:v>
                </c:pt>
                <c:pt idx="3613">
                  <c:v>1159.7299800000001</c:v>
                </c:pt>
                <c:pt idx="3614">
                  <c:v>1155.790039</c:v>
                </c:pt>
                <c:pt idx="3615">
                  <c:v>1171.670044</c:v>
                </c:pt>
                <c:pt idx="3616">
                  <c:v>1157.4399410000001</c:v>
                </c:pt>
                <c:pt idx="3617">
                  <c:v>1135.6800539999999</c:v>
                </c:pt>
                <c:pt idx="3618">
                  <c:v>1136.9399410000001</c:v>
                </c:pt>
                <c:pt idx="3619">
                  <c:v>1120.8000489999999</c:v>
                </c:pt>
                <c:pt idx="3620">
                  <c:v>1115.0500489999999</c:v>
                </c:pt>
                <c:pt idx="3621">
                  <c:v>1071.589966</c:v>
                </c:pt>
                <c:pt idx="3622">
                  <c:v>1087.6899410000001</c:v>
                </c:pt>
                <c:pt idx="3623">
                  <c:v>1073.650024</c:v>
                </c:pt>
                <c:pt idx="3624">
                  <c:v>1074.030029</c:v>
                </c:pt>
                <c:pt idx="3625">
                  <c:v>1067.9499510000001</c:v>
                </c:pt>
                <c:pt idx="3626">
                  <c:v>1103.0600589999999</c:v>
                </c:pt>
                <c:pt idx="3627">
                  <c:v>1089.410034</c:v>
                </c:pt>
                <c:pt idx="3628">
                  <c:v>1070.709961</c:v>
                </c:pt>
                <c:pt idx="3629">
                  <c:v>1098.380005</c:v>
                </c:pt>
                <c:pt idx="3630">
                  <c:v>1102.829956</c:v>
                </c:pt>
                <c:pt idx="3631">
                  <c:v>1064.880005</c:v>
                </c:pt>
                <c:pt idx="3632">
                  <c:v>1050.469971</c:v>
                </c:pt>
                <c:pt idx="3633">
                  <c:v>1062</c:v>
                </c:pt>
                <c:pt idx="3634">
                  <c:v>1055.6899410000001</c:v>
                </c:pt>
                <c:pt idx="3635">
                  <c:v>1086.839966</c:v>
                </c:pt>
                <c:pt idx="3636">
                  <c:v>1091.599976</c:v>
                </c:pt>
                <c:pt idx="3637">
                  <c:v>1089.630005</c:v>
                </c:pt>
                <c:pt idx="3638">
                  <c:v>1115.2299800000001</c:v>
                </c:pt>
                <c:pt idx="3639">
                  <c:v>1114.6099850000001</c:v>
                </c:pt>
                <c:pt idx="3640">
                  <c:v>1116.040039</c:v>
                </c:pt>
                <c:pt idx="3641">
                  <c:v>1117.51001</c:v>
                </c:pt>
                <c:pt idx="3642">
                  <c:v>1113.1999510000001</c:v>
                </c:pt>
                <c:pt idx="3643">
                  <c:v>1095.3100589999999</c:v>
                </c:pt>
                <c:pt idx="3644">
                  <c:v>1092.040039</c:v>
                </c:pt>
                <c:pt idx="3645">
                  <c:v>1073.6899410000001</c:v>
                </c:pt>
                <c:pt idx="3646">
                  <c:v>1076.76001</c:v>
                </c:pt>
                <c:pt idx="3647">
                  <c:v>1074.5699460000001</c:v>
                </c:pt>
                <c:pt idx="3648">
                  <c:v>1041.23999</c:v>
                </c:pt>
                <c:pt idx="3649">
                  <c:v>1030.709961</c:v>
                </c:pt>
                <c:pt idx="3650">
                  <c:v>1027.369995</c:v>
                </c:pt>
                <c:pt idx="3651">
                  <c:v>1022.580017</c:v>
                </c:pt>
                <c:pt idx="3652">
                  <c:v>1028.0600589999999</c:v>
                </c:pt>
                <c:pt idx="3653">
                  <c:v>1060.2700199999999</c:v>
                </c:pt>
                <c:pt idx="3654">
                  <c:v>1070.25</c:v>
                </c:pt>
                <c:pt idx="3655">
                  <c:v>1077.959961</c:v>
                </c:pt>
                <c:pt idx="3656">
                  <c:v>1078.75</c:v>
                </c:pt>
                <c:pt idx="3657">
                  <c:v>1095.339966</c:v>
                </c:pt>
                <c:pt idx="3658">
                  <c:v>1095.170044</c:v>
                </c:pt>
                <c:pt idx="3659">
                  <c:v>1096.4799800000001</c:v>
                </c:pt>
                <c:pt idx="3660">
                  <c:v>1064.880005</c:v>
                </c:pt>
                <c:pt idx="3661">
                  <c:v>1071.25</c:v>
                </c:pt>
                <c:pt idx="3662">
                  <c:v>1083.4799800000001</c:v>
                </c:pt>
                <c:pt idx="3663">
                  <c:v>1069.589966</c:v>
                </c:pt>
                <c:pt idx="3664">
                  <c:v>1093.670044</c:v>
                </c:pt>
                <c:pt idx="3665">
                  <c:v>1102.660034</c:v>
                </c:pt>
                <c:pt idx="3666">
                  <c:v>1115.01001</c:v>
                </c:pt>
                <c:pt idx="3667">
                  <c:v>1113.839966</c:v>
                </c:pt>
                <c:pt idx="3668">
                  <c:v>1106.130005</c:v>
                </c:pt>
                <c:pt idx="3669">
                  <c:v>1101.530029</c:v>
                </c:pt>
                <c:pt idx="3670">
                  <c:v>1101.599976</c:v>
                </c:pt>
                <c:pt idx="3671">
                  <c:v>1125.8599850000001</c:v>
                </c:pt>
                <c:pt idx="3672">
                  <c:v>1120.459961</c:v>
                </c:pt>
                <c:pt idx="3673">
                  <c:v>1127.23999</c:v>
                </c:pt>
                <c:pt idx="3674">
                  <c:v>1125.8100589999999</c:v>
                </c:pt>
                <c:pt idx="3675">
                  <c:v>1121.6400149999999</c:v>
                </c:pt>
                <c:pt idx="3676">
                  <c:v>1127.790039</c:v>
                </c:pt>
                <c:pt idx="3677">
                  <c:v>1121.0600589999999</c:v>
                </c:pt>
                <c:pt idx="3678">
                  <c:v>1089.469971</c:v>
                </c:pt>
                <c:pt idx="3679">
                  <c:v>1083.6099850000001</c:v>
                </c:pt>
                <c:pt idx="3680">
                  <c:v>1079.25</c:v>
                </c:pt>
                <c:pt idx="3681">
                  <c:v>1079.380005</c:v>
                </c:pt>
                <c:pt idx="3682">
                  <c:v>1092.540039</c:v>
                </c:pt>
                <c:pt idx="3683">
                  <c:v>1094.160034</c:v>
                </c:pt>
                <c:pt idx="3684">
                  <c:v>1075.630005</c:v>
                </c:pt>
                <c:pt idx="3685">
                  <c:v>1071.6899410000001</c:v>
                </c:pt>
                <c:pt idx="3686">
                  <c:v>1067.3599850000001</c:v>
                </c:pt>
                <c:pt idx="3687">
                  <c:v>1051.869995</c:v>
                </c:pt>
                <c:pt idx="3688">
                  <c:v>1055.329956</c:v>
                </c:pt>
                <c:pt idx="3689">
                  <c:v>1047.219971</c:v>
                </c:pt>
                <c:pt idx="3690">
                  <c:v>1064.589966</c:v>
                </c:pt>
                <c:pt idx="3691">
                  <c:v>1048.920044</c:v>
                </c:pt>
                <c:pt idx="3692">
                  <c:v>1049.329956</c:v>
                </c:pt>
                <c:pt idx="3693">
                  <c:v>1080.290039</c:v>
                </c:pt>
                <c:pt idx="3694">
                  <c:v>1090.099976</c:v>
                </c:pt>
                <c:pt idx="3695">
                  <c:v>1104.51001</c:v>
                </c:pt>
                <c:pt idx="3696">
                  <c:v>1091.839966</c:v>
                </c:pt>
                <c:pt idx="3697">
                  <c:v>1098.869995</c:v>
                </c:pt>
                <c:pt idx="3698">
                  <c:v>1104.1800539999999</c:v>
                </c:pt>
                <c:pt idx="3699">
                  <c:v>1109.5500489999999</c:v>
                </c:pt>
                <c:pt idx="3700">
                  <c:v>1121.900024</c:v>
                </c:pt>
                <c:pt idx="3701">
                  <c:v>1121.099976</c:v>
                </c:pt>
                <c:pt idx="3702">
                  <c:v>1125.0699460000001</c:v>
                </c:pt>
                <c:pt idx="3703">
                  <c:v>1124.660034</c:v>
                </c:pt>
                <c:pt idx="3704">
                  <c:v>1125.589966</c:v>
                </c:pt>
                <c:pt idx="3705">
                  <c:v>1142.709961</c:v>
                </c:pt>
                <c:pt idx="3706">
                  <c:v>1139.780029</c:v>
                </c:pt>
                <c:pt idx="3707">
                  <c:v>1134.280029</c:v>
                </c:pt>
                <c:pt idx="3708">
                  <c:v>1124.829956</c:v>
                </c:pt>
                <c:pt idx="3709">
                  <c:v>1148.670044</c:v>
                </c:pt>
                <c:pt idx="3710">
                  <c:v>1142.160034</c:v>
                </c:pt>
                <c:pt idx="3711">
                  <c:v>1147.6999510000001</c:v>
                </c:pt>
                <c:pt idx="3712">
                  <c:v>1144.7299800000001</c:v>
                </c:pt>
                <c:pt idx="3713">
                  <c:v>1141.1999510000001</c:v>
                </c:pt>
                <c:pt idx="3714">
                  <c:v>1146.23999</c:v>
                </c:pt>
                <c:pt idx="3715">
                  <c:v>1137.030029</c:v>
                </c:pt>
                <c:pt idx="3716">
                  <c:v>1160.75</c:v>
                </c:pt>
                <c:pt idx="3717">
                  <c:v>1159.969971</c:v>
                </c:pt>
                <c:pt idx="3718">
                  <c:v>1158.0600589999999</c:v>
                </c:pt>
                <c:pt idx="3719">
                  <c:v>1165.150024</c:v>
                </c:pt>
                <c:pt idx="3720">
                  <c:v>1165.3199460000001</c:v>
                </c:pt>
                <c:pt idx="3721">
                  <c:v>1169.7700199999999</c:v>
                </c:pt>
                <c:pt idx="3722">
                  <c:v>1178.099976</c:v>
                </c:pt>
                <c:pt idx="3723">
                  <c:v>1173.8100589999999</c:v>
                </c:pt>
                <c:pt idx="3724">
                  <c:v>1176.1899410000001</c:v>
                </c:pt>
                <c:pt idx="3725">
                  <c:v>1184.709961</c:v>
                </c:pt>
                <c:pt idx="3726">
                  <c:v>1165.900024</c:v>
                </c:pt>
                <c:pt idx="3727">
                  <c:v>1178.170044</c:v>
                </c:pt>
                <c:pt idx="3728">
                  <c:v>1180.26001</c:v>
                </c:pt>
                <c:pt idx="3729">
                  <c:v>1183.079956</c:v>
                </c:pt>
                <c:pt idx="3730">
                  <c:v>1185.619995</c:v>
                </c:pt>
                <c:pt idx="3731">
                  <c:v>1185.6400149999999</c:v>
                </c:pt>
                <c:pt idx="3732">
                  <c:v>1182.4499510000001</c:v>
                </c:pt>
                <c:pt idx="3733">
                  <c:v>1183.780029</c:v>
                </c:pt>
                <c:pt idx="3734">
                  <c:v>1183.26001</c:v>
                </c:pt>
                <c:pt idx="3735">
                  <c:v>1184.380005</c:v>
                </c:pt>
                <c:pt idx="3736">
                  <c:v>1193.5699460000001</c:v>
                </c:pt>
                <c:pt idx="3737">
                  <c:v>1197.959961</c:v>
                </c:pt>
                <c:pt idx="3738">
                  <c:v>1221.0600589999999</c:v>
                </c:pt>
                <c:pt idx="3739">
                  <c:v>1225.849976</c:v>
                </c:pt>
                <c:pt idx="3740">
                  <c:v>1223.25</c:v>
                </c:pt>
                <c:pt idx="3741">
                  <c:v>1213.400024</c:v>
                </c:pt>
                <c:pt idx="3742">
                  <c:v>1218.709961</c:v>
                </c:pt>
                <c:pt idx="3743">
                  <c:v>1213.540039</c:v>
                </c:pt>
                <c:pt idx="3744">
                  <c:v>1199.209961</c:v>
                </c:pt>
                <c:pt idx="3745">
                  <c:v>1197.75</c:v>
                </c:pt>
                <c:pt idx="3746">
                  <c:v>1178.339966</c:v>
                </c:pt>
                <c:pt idx="3747">
                  <c:v>1178.589966</c:v>
                </c:pt>
                <c:pt idx="3748">
                  <c:v>1196.6899410000001</c:v>
                </c:pt>
                <c:pt idx="3749">
                  <c:v>1199.7299800000001</c:v>
                </c:pt>
                <c:pt idx="3750">
                  <c:v>1197.839966</c:v>
                </c:pt>
                <c:pt idx="3751">
                  <c:v>1180.7299800000001</c:v>
                </c:pt>
                <c:pt idx="3752">
                  <c:v>1198.349976</c:v>
                </c:pt>
                <c:pt idx="3753">
                  <c:v>1189.400024</c:v>
                </c:pt>
                <c:pt idx="3754">
                  <c:v>1187.76001</c:v>
                </c:pt>
                <c:pt idx="3755">
                  <c:v>1180.5500489999999</c:v>
                </c:pt>
                <c:pt idx="3756">
                  <c:v>1206.0699460000001</c:v>
                </c:pt>
                <c:pt idx="3757">
                  <c:v>1221.530029</c:v>
                </c:pt>
                <c:pt idx="3758">
                  <c:v>1224.709961</c:v>
                </c:pt>
                <c:pt idx="3759">
                  <c:v>1223.119995</c:v>
                </c:pt>
                <c:pt idx="3760">
                  <c:v>1223.75</c:v>
                </c:pt>
                <c:pt idx="3761">
                  <c:v>1228.280029</c:v>
                </c:pt>
                <c:pt idx="3762">
                  <c:v>1233</c:v>
                </c:pt>
                <c:pt idx="3763">
                  <c:v>1240.400024</c:v>
                </c:pt>
                <c:pt idx="3764">
                  <c:v>1240.459961</c:v>
                </c:pt>
                <c:pt idx="3765">
                  <c:v>1241.589966</c:v>
                </c:pt>
                <c:pt idx="3766">
                  <c:v>1235.2299800000001</c:v>
                </c:pt>
                <c:pt idx="3767">
                  <c:v>1242.869995</c:v>
                </c:pt>
                <c:pt idx="3768">
                  <c:v>1243.910034</c:v>
                </c:pt>
                <c:pt idx="3769">
                  <c:v>1247.079956</c:v>
                </c:pt>
                <c:pt idx="3770">
                  <c:v>1254.599976</c:v>
                </c:pt>
                <c:pt idx="3771">
                  <c:v>1258.839966</c:v>
                </c:pt>
                <c:pt idx="3772">
                  <c:v>1256.7700199999999</c:v>
                </c:pt>
                <c:pt idx="3773">
                  <c:v>1257.540039</c:v>
                </c:pt>
                <c:pt idx="3774">
                  <c:v>1258.51001</c:v>
                </c:pt>
                <c:pt idx="3775">
                  <c:v>1259.780029</c:v>
                </c:pt>
                <c:pt idx="3776">
                  <c:v>1257.880005</c:v>
                </c:pt>
                <c:pt idx="3777">
                  <c:v>1257.6400149999999</c:v>
                </c:pt>
                <c:pt idx="3778">
                  <c:v>1271.869995</c:v>
                </c:pt>
                <c:pt idx="3779">
                  <c:v>1270.1999510000001</c:v>
                </c:pt>
                <c:pt idx="3780">
                  <c:v>1276.5600589999999</c:v>
                </c:pt>
                <c:pt idx="3781">
                  <c:v>1273.849976</c:v>
                </c:pt>
                <c:pt idx="3782">
                  <c:v>1271.5</c:v>
                </c:pt>
                <c:pt idx="3783">
                  <c:v>1269.75</c:v>
                </c:pt>
                <c:pt idx="3784">
                  <c:v>1274.4799800000001</c:v>
                </c:pt>
                <c:pt idx="3785">
                  <c:v>1285.959961</c:v>
                </c:pt>
                <c:pt idx="3786">
                  <c:v>1283.76001</c:v>
                </c:pt>
                <c:pt idx="3787">
                  <c:v>1293.23999</c:v>
                </c:pt>
                <c:pt idx="3788">
                  <c:v>1295.0200199999999</c:v>
                </c:pt>
                <c:pt idx="3789">
                  <c:v>1281.920044</c:v>
                </c:pt>
                <c:pt idx="3790">
                  <c:v>1280.26001</c:v>
                </c:pt>
                <c:pt idx="3791">
                  <c:v>1283.349976</c:v>
                </c:pt>
                <c:pt idx="3792">
                  <c:v>1290.839966</c:v>
                </c:pt>
                <c:pt idx="3793">
                  <c:v>1291.1800539999999</c:v>
                </c:pt>
                <c:pt idx="3794">
                  <c:v>1296.630005</c:v>
                </c:pt>
                <c:pt idx="3795">
                  <c:v>1299.540039</c:v>
                </c:pt>
                <c:pt idx="3796">
                  <c:v>1276.339966</c:v>
                </c:pt>
                <c:pt idx="3797">
                  <c:v>1286.119995</c:v>
                </c:pt>
                <c:pt idx="3798">
                  <c:v>1307.589966</c:v>
                </c:pt>
                <c:pt idx="3799">
                  <c:v>1304.030029</c:v>
                </c:pt>
                <c:pt idx="3800">
                  <c:v>1307.099976</c:v>
                </c:pt>
                <c:pt idx="3801">
                  <c:v>1310.869995</c:v>
                </c:pt>
                <c:pt idx="3802">
                  <c:v>1319.0500489999999</c:v>
                </c:pt>
                <c:pt idx="3803">
                  <c:v>1324.5699460000001</c:v>
                </c:pt>
                <c:pt idx="3804">
                  <c:v>1320.880005</c:v>
                </c:pt>
                <c:pt idx="3805">
                  <c:v>1321.869995</c:v>
                </c:pt>
                <c:pt idx="3806">
                  <c:v>1329.150024</c:v>
                </c:pt>
                <c:pt idx="3807">
                  <c:v>1332.3199460000001</c:v>
                </c:pt>
                <c:pt idx="3808">
                  <c:v>1328.01001</c:v>
                </c:pt>
                <c:pt idx="3809">
                  <c:v>1336.3199460000001</c:v>
                </c:pt>
                <c:pt idx="3810">
                  <c:v>1340.4300539999999</c:v>
                </c:pt>
                <c:pt idx="3811">
                  <c:v>1343.01001</c:v>
                </c:pt>
                <c:pt idx="3812">
                  <c:v>1315.4399410000001</c:v>
                </c:pt>
                <c:pt idx="3813">
                  <c:v>1307.400024</c:v>
                </c:pt>
                <c:pt idx="3814">
                  <c:v>1306.099976</c:v>
                </c:pt>
                <c:pt idx="3815">
                  <c:v>1319.880005</c:v>
                </c:pt>
                <c:pt idx="3816">
                  <c:v>1327.219971</c:v>
                </c:pt>
                <c:pt idx="3817">
                  <c:v>1306.329956</c:v>
                </c:pt>
                <c:pt idx="3818">
                  <c:v>1308.4399410000001</c:v>
                </c:pt>
                <c:pt idx="3819">
                  <c:v>1330.969971</c:v>
                </c:pt>
                <c:pt idx="3820">
                  <c:v>1321.150024</c:v>
                </c:pt>
                <c:pt idx="3821">
                  <c:v>1310.130005</c:v>
                </c:pt>
                <c:pt idx="3822">
                  <c:v>1321.8199460000001</c:v>
                </c:pt>
                <c:pt idx="3823">
                  <c:v>1320.0200199999999</c:v>
                </c:pt>
                <c:pt idx="3824">
                  <c:v>1295.1099850000001</c:v>
                </c:pt>
                <c:pt idx="3825">
                  <c:v>1304.280029</c:v>
                </c:pt>
                <c:pt idx="3826">
                  <c:v>1296.3900149999999</c:v>
                </c:pt>
                <c:pt idx="3827">
                  <c:v>1281.869995</c:v>
                </c:pt>
                <c:pt idx="3828">
                  <c:v>1256.880005</c:v>
                </c:pt>
                <c:pt idx="3829">
                  <c:v>1273.719971</c:v>
                </c:pt>
                <c:pt idx="3830">
                  <c:v>1279.209961</c:v>
                </c:pt>
                <c:pt idx="3831">
                  <c:v>1298.380005</c:v>
                </c:pt>
                <c:pt idx="3832">
                  <c:v>1293.7700199999999</c:v>
                </c:pt>
                <c:pt idx="3833">
                  <c:v>1297.540039</c:v>
                </c:pt>
                <c:pt idx="3834">
                  <c:v>1309.660034</c:v>
                </c:pt>
                <c:pt idx="3835">
                  <c:v>1313.8000489999999</c:v>
                </c:pt>
                <c:pt idx="3836">
                  <c:v>1310.1899410000001</c:v>
                </c:pt>
                <c:pt idx="3837">
                  <c:v>1319.4399410000001</c:v>
                </c:pt>
                <c:pt idx="3838">
                  <c:v>1328.26001</c:v>
                </c:pt>
                <c:pt idx="3839">
                  <c:v>1325.829956</c:v>
                </c:pt>
                <c:pt idx="3840">
                  <c:v>1332.410034</c:v>
                </c:pt>
                <c:pt idx="3841">
                  <c:v>1332.869995</c:v>
                </c:pt>
                <c:pt idx="3842">
                  <c:v>1332.630005</c:v>
                </c:pt>
                <c:pt idx="3843">
                  <c:v>1335.540039</c:v>
                </c:pt>
                <c:pt idx="3844">
                  <c:v>1333.51001</c:v>
                </c:pt>
                <c:pt idx="3845">
                  <c:v>1328.170044</c:v>
                </c:pt>
                <c:pt idx="3846">
                  <c:v>1324.459961</c:v>
                </c:pt>
                <c:pt idx="3847">
                  <c:v>1314.160034</c:v>
                </c:pt>
                <c:pt idx="3848">
                  <c:v>1314.410034</c:v>
                </c:pt>
                <c:pt idx="3849">
                  <c:v>1314.5200199999999</c:v>
                </c:pt>
                <c:pt idx="3850">
                  <c:v>1319.6800539999999</c:v>
                </c:pt>
                <c:pt idx="3851">
                  <c:v>1305.1400149999999</c:v>
                </c:pt>
                <c:pt idx="3852">
                  <c:v>1312.619995</c:v>
                </c:pt>
                <c:pt idx="3853">
                  <c:v>1330.3599850000001</c:v>
                </c:pt>
                <c:pt idx="3854">
                  <c:v>1337.380005</c:v>
                </c:pt>
                <c:pt idx="3855">
                  <c:v>1335.25</c:v>
                </c:pt>
                <c:pt idx="3856">
                  <c:v>1347.23999</c:v>
                </c:pt>
                <c:pt idx="3857">
                  <c:v>1355.660034</c:v>
                </c:pt>
                <c:pt idx="3858">
                  <c:v>1360.4799800000001</c:v>
                </c:pt>
                <c:pt idx="3859">
                  <c:v>1363.6099850000001</c:v>
                </c:pt>
                <c:pt idx="3860">
                  <c:v>1361.219971</c:v>
                </c:pt>
                <c:pt idx="3861">
                  <c:v>1356.619995</c:v>
                </c:pt>
                <c:pt idx="3862">
                  <c:v>1347.3199460000001</c:v>
                </c:pt>
                <c:pt idx="3863">
                  <c:v>1335.099976</c:v>
                </c:pt>
                <c:pt idx="3864">
                  <c:v>1340.1999510000001</c:v>
                </c:pt>
                <c:pt idx="3865">
                  <c:v>1346.290039</c:v>
                </c:pt>
                <c:pt idx="3866">
                  <c:v>1357.160034</c:v>
                </c:pt>
                <c:pt idx="3867">
                  <c:v>1342.079956</c:v>
                </c:pt>
                <c:pt idx="3868">
                  <c:v>1348.650024</c:v>
                </c:pt>
                <c:pt idx="3869">
                  <c:v>1337.7700199999999</c:v>
                </c:pt>
                <c:pt idx="3870">
                  <c:v>1329.469971</c:v>
                </c:pt>
                <c:pt idx="3871">
                  <c:v>1328.9799800000001</c:v>
                </c:pt>
                <c:pt idx="3872">
                  <c:v>1340.6800539999999</c:v>
                </c:pt>
                <c:pt idx="3873">
                  <c:v>1343.599976</c:v>
                </c:pt>
                <c:pt idx="3874">
                  <c:v>1333.2700199999999</c:v>
                </c:pt>
                <c:pt idx="3875">
                  <c:v>1317.369995</c:v>
                </c:pt>
                <c:pt idx="3876">
                  <c:v>1316.280029</c:v>
                </c:pt>
                <c:pt idx="3877">
                  <c:v>1320.469971</c:v>
                </c:pt>
                <c:pt idx="3878">
                  <c:v>1325.6899410000001</c:v>
                </c:pt>
                <c:pt idx="3879">
                  <c:v>1331.099976</c:v>
                </c:pt>
                <c:pt idx="3880">
                  <c:v>1345.1999510000001</c:v>
                </c:pt>
                <c:pt idx="3881">
                  <c:v>1314.5500489999999</c:v>
                </c:pt>
                <c:pt idx="3882">
                  <c:v>1312.9399410000001</c:v>
                </c:pt>
                <c:pt idx="3883">
                  <c:v>1300.160034</c:v>
                </c:pt>
                <c:pt idx="3884">
                  <c:v>1286.170044</c:v>
                </c:pt>
                <c:pt idx="3885">
                  <c:v>1284.9399410000001</c:v>
                </c:pt>
                <c:pt idx="3886">
                  <c:v>1279.5600589999999</c:v>
                </c:pt>
                <c:pt idx="3887">
                  <c:v>1289</c:v>
                </c:pt>
                <c:pt idx="3888">
                  <c:v>1270.9799800000001</c:v>
                </c:pt>
                <c:pt idx="3889">
                  <c:v>1271.829956</c:v>
                </c:pt>
                <c:pt idx="3890">
                  <c:v>1287.869995</c:v>
                </c:pt>
                <c:pt idx="3891">
                  <c:v>1265.420044</c:v>
                </c:pt>
                <c:pt idx="3892">
                  <c:v>1267.6400149999999</c:v>
                </c:pt>
                <c:pt idx="3893">
                  <c:v>1271.5</c:v>
                </c:pt>
                <c:pt idx="3894">
                  <c:v>1278.3599850000001</c:v>
                </c:pt>
                <c:pt idx="3895">
                  <c:v>1295.5200199999999</c:v>
                </c:pt>
                <c:pt idx="3896">
                  <c:v>1287.1400149999999</c:v>
                </c:pt>
                <c:pt idx="3897">
                  <c:v>1283.5</c:v>
                </c:pt>
                <c:pt idx="3898">
                  <c:v>1268.4499510000001</c:v>
                </c:pt>
                <c:pt idx="3899">
                  <c:v>1280.099976</c:v>
                </c:pt>
                <c:pt idx="3900">
                  <c:v>1296.670044</c:v>
                </c:pt>
                <c:pt idx="3901">
                  <c:v>1307.410034</c:v>
                </c:pt>
                <c:pt idx="3902">
                  <c:v>1320.6400149999999</c:v>
                </c:pt>
                <c:pt idx="3903">
                  <c:v>1339.670044</c:v>
                </c:pt>
                <c:pt idx="3904">
                  <c:v>1337.880005</c:v>
                </c:pt>
                <c:pt idx="3905">
                  <c:v>1339.219971</c:v>
                </c:pt>
                <c:pt idx="3906">
                  <c:v>1353.219971</c:v>
                </c:pt>
                <c:pt idx="3907">
                  <c:v>1343.8000489999999</c:v>
                </c:pt>
                <c:pt idx="3908">
                  <c:v>1319.48999</c:v>
                </c:pt>
                <c:pt idx="3909">
                  <c:v>1313.6400149999999</c:v>
                </c:pt>
                <c:pt idx="3910">
                  <c:v>1317.719971</c:v>
                </c:pt>
                <c:pt idx="3911">
                  <c:v>1308.869995</c:v>
                </c:pt>
                <c:pt idx="3912">
                  <c:v>1316.1400149999999</c:v>
                </c:pt>
                <c:pt idx="3913">
                  <c:v>1305.4399410000001</c:v>
                </c:pt>
                <c:pt idx="3914">
                  <c:v>1326.7299800000001</c:v>
                </c:pt>
                <c:pt idx="3915">
                  <c:v>1325.839966</c:v>
                </c:pt>
                <c:pt idx="3916">
                  <c:v>1343.8000489999999</c:v>
                </c:pt>
                <c:pt idx="3917">
                  <c:v>1345.0200199999999</c:v>
                </c:pt>
                <c:pt idx="3918">
                  <c:v>1337.4300539999999</c:v>
                </c:pt>
                <c:pt idx="3919">
                  <c:v>1331.9399410000001</c:v>
                </c:pt>
                <c:pt idx="3920">
                  <c:v>1304.8900149999999</c:v>
                </c:pt>
                <c:pt idx="3921">
                  <c:v>1300.670044</c:v>
                </c:pt>
                <c:pt idx="3922">
                  <c:v>1292.280029</c:v>
                </c:pt>
                <c:pt idx="3923">
                  <c:v>1286.9399410000001</c:v>
                </c:pt>
                <c:pt idx="3924">
                  <c:v>1254.0500489999999</c:v>
                </c:pt>
                <c:pt idx="3925">
                  <c:v>1260.339966</c:v>
                </c:pt>
                <c:pt idx="3926">
                  <c:v>1200.0699460000001</c:v>
                </c:pt>
                <c:pt idx="3927">
                  <c:v>1199.380005</c:v>
                </c:pt>
                <c:pt idx="3928">
                  <c:v>1119.459961</c:v>
                </c:pt>
                <c:pt idx="3929">
                  <c:v>1172.530029</c:v>
                </c:pt>
                <c:pt idx="3930">
                  <c:v>1120.76001</c:v>
                </c:pt>
                <c:pt idx="3931">
                  <c:v>1172.6400149999999</c:v>
                </c:pt>
                <c:pt idx="3932">
                  <c:v>1178.8100589999999</c:v>
                </c:pt>
                <c:pt idx="3933">
                  <c:v>1204.48999</c:v>
                </c:pt>
                <c:pt idx="3934">
                  <c:v>1192.76001</c:v>
                </c:pt>
                <c:pt idx="3935">
                  <c:v>1193.8900149999999</c:v>
                </c:pt>
                <c:pt idx="3936">
                  <c:v>1140.650024</c:v>
                </c:pt>
                <c:pt idx="3937">
                  <c:v>1123.530029</c:v>
                </c:pt>
                <c:pt idx="3938">
                  <c:v>1123.8199460000001</c:v>
                </c:pt>
                <c:pt idx="3939">
                  <c:v>1162.349976</c:v>
                </c:pt>
                <c:pt idx="3940">
                  <c:v>1177.599976</c:v>
                </c:pt>
                <c:pt idx="3941">
                  <c:v>1159.2700199999999</c:v>
                </c:pt>
                <c:pt idx="3942">
                  <c:v>1176.8000489999999</c:v>
                </c:pt>
                <c:pt idx="3943">
                  <c:v>1210.079956</c:v>
                </c:pt>
                <c:pt idx="3944">
                  <c:v>1212.920044</c:v>
                </c:pt>
                <c:pt idx="3945">
                  <c:v>1218.8900149999999</c:v>
                </c:pt>
                <c:pt idx="3946">
                  <c:v>1204.420044</c:v>
                </c:pt>
                <c:pt idx="3947">
                  <c:v>1173.969971</c:v>
                </c:pt>
                <c:pt idx="3948">
                  <c:v>1165.23999</c:v>
                </c:pt>
                <c:pt idx="3949">
                  <c:v>1198.619995</c:v>
                </c:pt>
                <c:pt idx="3950">
                  <c:v>1185.900024</c:v>
                </c:pt>
                <c:pt idx="3951">
                  <c:v>1154.2299800000001</c:v>
                </c:pt>
                <c:pt idx="3952">
                  <c:v>1162.2700199999999</c:v>
                </c:pt>
                <c:pt idx="3953">
                  <c:v>1172.869995</c:v>
                </c:pt>
                <c:pt idx="3954">
                  <c:v>1188.6800539999999</c:v>
                </c:pt>
                <c:pt idx="3955">
                  <c:v>1209.1099850000001</c:v>
                </c:pt>
                <c:pt idx="3956">
                  <c:v>1216.01001</c:v>
                </c:pt>
                <c:pt idx="3957">
                  <c:v>1204.089966</c:v>
                </c:pt>
                <c:pt idx="3958">
                  <c:v>1202.089966</c:v>
                </c:pt>
                <c:pt idx="3959">
                  <c:v>1166.76001</c:v>
                </c:pt>
                <c:pt idx="3960">
                  <c:v>1129.5600589999999</c:v>
                </c:pt>
                <c:pt idx="3961">
                  <c:v>1136.4300539999999</c:v>
                </c:pt>
                <c:pt idx="3962">
                  <c:v>1162.9499510000001</c:v>
                </c:pt>
                <c:pt idx="3963">
                  <c:v>1175.380005</c:v>
                </c:pt>
                <c:pt idx="3964">
                  <c:v>1151.0600589999999</c:v>
                </c:pt>
                <c:pt idx="3965">
                  <c:v>1160.400024</c:v>
                </c:pt>
                <c:pt idx="3966">
                  <c:v>1131.420044</c:v>
                </c:pt>
                <c:pt idx="3967">
                  <c:v>1099.2299800000001</c:v>
                </c:pt>
                <c:pt idx="3968">
                  <c:v>1123.9499510000001</c:v>
                </c:pt>
                <c:pt idx="3969">
                  <c:v>1144.030029</c:v>
                </c:pt>
                <c:pt idx="3970">
                  <c:v>1164.969971</c:v>
                </c:pt>
                <c:pt idx="3971">
                  <c:v>1155.459961</c:v>
                </c:pt>
                <c:pt idx="3972">
                  <c:v>1194.8900149999999</c:v>
                </c:pt>
                <c:pt idx="3973">
                  <c:v>1195.540039</c:v>
                </c:pt>
                <c:pt idx="3974">
                  <c:v>1207.25</c:v>
                </c:pt>
                <c:pt idx="3975">
                  <c:v>1203.660034</c:v>
                </c:pt>
                <c:pt idx="3976">
                  <c:v>1224.579956</c:v>
                </c:pt>
                <c:pt idx="3977">
                  <c:v>1200.8599850000001</c:v>
                </c:pt>
                <c:pt idx="3978">
                  <c:v>1225.380005</c:v>
                </c:pt>
                <c:pt idx="3979">
                  <c:v>1209.880005</c:v>
                </c:pt>
                <c:pt idx="3980">
                  <c:v>1215.3900149999999</c:v>
                </c:pt>
                <c:pt idx="3981">
                  <c:v>1238.25</c:v>
                </c:pt>
                <c:pt idx="3982">
                  <c:v>1254.1899410000001</c:v>
                </c:pt>
                <c:pt idx="3983">
                  <c:v>1229.0500489999999</c:v>
                </c:pt>
                <c:pt idx="3984">
                  <c:v>1242</c:v>
                </c:pt>
                <c:pt idx="3985">
                  <c:v>1284.589966</c:v>
                </c:pt>
                <c:pt idx="3986">
                  <c:v>1285.089966</c:v>
                </c:pt>
                <c:pt idx="3987">
                  <c:v>1253.3000489999999</c:v>
                </c:pt>
                <c:pt idx="3988">
                  <c:v>1218.280029</c:v>
                </c:pt>
                <c:pt idx="3989">
                  <c:v>1237.900024</c:v>
                </c:pt>
                <c:pt idx="3990">
                  <c:v>1261.150024</c:v>
                </c:pt>
                <c:pt idx="3991">
                  <c:v>1253.2299800000001</c:v>
                </c:pt>
                <c:pt idx="3992">
                  <c:v>1261.119995</c:v>
                </c:pt>
                <c:pt idx="3993">
                  <c:v>1275.920044</c:v>
                </c:pt>
                <c:pt idx="3994">
                  <c:v>1229.099976</c:v>
                </c:pt>
                <c:pt idx="3995">
                  <c:v>1239.6999510000001</c:v>
                </c:pt>
                <c:pt idx="3996">
                  <c:v>1263.849976</c:v>
                </c:pt>
                <c:pt idx="3997">
                  <c:v>1251.780029</c:v>
                </c:pt>
                <c:pt idx="3998">
                  <c:v>1257.8100589999999</c:v>
                </c:pt>
                <c:pt idx="3999">
                  <c:v>1236.910034</c:v>
                </c:pt>
                <c:pt idx="4000">
                  <c:v>1216.130005</c:v>
                </c:pt>
                <c:pt idx="4001">
                  <c:v>1215.650024</c:v>
                </c:pt>
                <c:pt idx="4002">
                  <c:v>1192.9799800000001</c:v>
                </c:pt>
                <c:pt idx="4003">
                  <c:v>1188.040039</c:v>
                </c:pt>
                <c:pt idx="4004">
                  <c:v>1161.790039</c:v>
                </c:pt>
                <c:pt idx="4005">
                  <c:v>1158.670044</c:v>
                </c:pt>
                <c:pt idx="4006">
                  <c:v>1192.5500489999999</c:v>
                </c:pt>
                <c:pt idx="4007">
                  <c:v>1195.1899410000001</c:v>
                </c:pt>
                <c:pt idx="4008">
                  <c:v>1246.959961</c:v>
                </c:pt>
                <c:pt idx="4009">
                  <c:v>1244.579956</c:v>
                </c:pt>
                <c:pt idx="4010">
                  <c:v>1244.280029</c:v>
                </c:pt>
                <c:pt idx="4011">
                  <c:v>1257.079956</c:v>
                </c:pt>
                <c:pt idx="4012">
                  <c:v>1258.469971</c:v>
                </c:pt>
                <c:pt idx="4013">
                  <c:v>1261.01001</c:v>
                </c:pt>
                <c:pt idx="4014">
                  <c:v>1234.349976</c:v>
                </c:pt>
                <c:pt idx="4015">
                  <c:v>1255.1899410000001</c:v>
                </c:pt>
                <c:pt idx="4016">
                  <c:v>1236.469971</c:v>
                </c:pt>
                <c:pt idx="4017">
                  <c:v>1225.7299800000001</c:v>
                </c:pt>
                <c:pt idx="4018">
                  <c:v>1211.8199460000001</c:v>
                </c:pt>
                <c:pt idx="4019">
                  <c:v>1215.75</c:v>
                </c:pt>
                <c:pt idx="4020">
                  <c:v>1219.660034</c:v>
                </c:pt>
                <c:pt idx="4021">
                  <c:v>1205.349976</c:v>
                </c:pt>
                <c:pt idx="4022">
                  <c:v>1241.3000489999999</c:v>
                </c:pt>
                <c:pt idx="4023">
                  <c:v>1243.719971</c:v>
                </c:pt>
                <c:pt idx="4024">
                  <c:v>1254</c:v>
                </c:pt>
                <c:pt idx="4025">
                  <c:v>1265.329956</c:v>
                </c:pt>
                <c:pt idx="4026">
                  <c:v>1265.4300539999999</c:v>
                </c:pt>
                <c:pt idx="4027">
                  <c:v>1249.6400149999999</c:v>
                </c:pt>
                <c:pt idx="4028">
                  <c:v>1263.0200199999999</c:v>
                </c:pt>
                <c:pt idx="4029">
                  <c:v>1257.599976</c:v>
                </c:pt>
                <c:pt idx="4030">
                  <c:v>1277.0600589999999</c:v>
                </c:pt>
                <c:pt idx="4031">
                  <c:v>1277.3000489999999</c:v>
                </c:pt>
                <c:pt idx="4032">
                  <c:v>1281.0600589999999</c:v>
                </c:pt>
                <c:pt idx="4033">
                  <c:v>1277.8100589999999</c:v>
                </c:pt>
                <c:pt idx="4034">
                  <c:v>1280.6999510000001</c:v>
                </c:pt>
                <c:pt idx="4035">
                  <c:v>1292.079956</c:v>
                </c:pt>
                <c:pt idx="4036">
                  <c:v>1292.4799800000001</c:v>
                </c:pt>
                <c:pt idx="4037">
                  <c:v>1295.5</c:v>
                </c:pt>
                <c:pt idx="4038">
                  <c:v>1289.089966</c:v>
                </c:pt>
                <c:pt idx="4039">
                  <c:v>1293.670044</c:v>
                </c:pt>
                <c:pt idx="4040">
                  <c:v>1308.040039</c:v>
                </c:pt>
                <c:pt idx="4041">
                  <c:v>1314.5</c:v>
                </c:pt>
                <c:pt idx="4042">
                  <c:v>1315.380005</c:v>
                </c:pt>
                <c:pt idx="4043">
                  <c:v>1316</c:v>
                </c:pt>
                <c:pt idx="4044">
                  <c:v>1314.650024</c:v>
                </c:pt>
                <c:pt idx="4045">
                  <c:v>1326.0600589999999</c:v>
                </c:pt>
                <c:pt idx="4046">
                  <c:v>1318.4300539999999</c:v>
                </c:pt>
                <c:pt idx="4047">
                  <c:v>1316.329956</c:v>
                </c:pt>
                <c:pt idx="4048">
                  <c:v>1313.01001</c:v>
                </c:pt>
                <c:pt idx="4049">
                  <c:v>1312.410034</c:v>
                </c:pt>
                <c:pt idx="4050">
                  <c:v>1324.089966</c:v>
                </c:pt>
                <c:pt idx="4051">
                  <c:v>1325.540039</c:v>
                </c:pt>
                <c:pt idx="4052">
                  <c:v>1344.900024</c:v>
                </c:pt>
                <c:pt idx="4053">
                  <c:v>1344.329956</c:v>
                </c:pt>
                <c:pt idx="4054">
                  <c:v>1347.0500489999999</c:v>
                </c:pt>
                <c:pt idx="4055">
                  <c:v>1349.959961</c:v>
                </c:pt>
                <c:pt idx="4056">
                  <c:v>1351.9499510000001</c:v>
                </c:pt>
                <c:pt idx="4057">
                  <c:v>1342.6400149999999</c:v>
                </c:pt>
                <c:pt idx="4058">
                  <c:v>1351.7700199999999</c:v>
                </c:pt>
                <c:pt idx="4059">
                  <c:v>1350.5</c:v>
                </c:pt>
                <c:pt idx="4060">
                  <c:v>1343.2299800000001</c:v>
                </c:pt>
                <c:pt idx="4061">
                  <c:v>1358.040039</c:v>
                </c:pt>
                <c:pt idx="4062">
                  <c:v>1361.2299800000001</c:v>
                </c:pt>
                <c:pt idx="4063">
                  <c:v>1362.209961</c:v>
                </c:pt>
                <c:pt idx="4064">
                  <c:v>1357.660034</c:v>
                </c:pt>
                <c:pt idx="4065">
                  <c:v>1363.459961</c:v>
                </c:pt>
                <c:pt idx="4066">
                  <c:v>1365.73999</c:v>
                </c:pt>
                <c:pt idx="4067">
                  <c:v>1367.589966</c:v>
                </c:pt>
                <c:pt idx="4068">
                  <c:v>1372.1800539999999</c:v>
                </c:pt>
                <c:pt idx="4069">
                  <c:v>1365.6800539999999</c:v>
                </c:pt>
                <c:pt idx="4070">
                  <c:v>1374.089966</c:v>
                </c:pt>
                <c:pt idx="4071">
                  <c:v>1369.630005</c:v>
                </c:pt>
                <c:pt idx="4072">
                  <c:v>1364.329956</c:v>
                </c:pt>
                <c:pt idx="4073">
                  <c:v>1343.3599850000001</c:v>
                </c:pt>
                <c:pt idx="4074">
                  <c:v>1352.630005</c:v>
                </c:pt>
                <c:pt idx="4075">
                  <c:v>1365.910034</c:v>
                </c:pt>
                <c:pt idx="4076">
                  <c:v>1370.869995</c:v>
                </c:pt>
                <c:pt idx="4077">
                  <c:v>1371.089966</c:v>
                </c:pt>
                <c:pt idx="4078">
                  <c:v>1395.9499510000001</c:v>
                </c:pt>
                <c:pt idx="4079">
                  <c:v>1394.280029</c:v>
                </c:pt>
                <c:pt idx="4080">
                  <c:v>1402.599976</c:v>
                </c:pt>
                <c:pt idx="4081">
                  <c:v>1404.170044</c:v>
                </c:pt>
                <c:pt idx="4082">
                  <c:v>1409.75</c:v>
                </c:pt>
                <c:pt idx="4083">
                  <c:v>1405.5200199999999</c:v>
                </c:pt>
                <c:pt idx="4084">
                  <c:v>1402.8900149999999</c:v>
                </c:pt>
                <c:pt idx="4085">
                  <c:v>1392.780029</c:v>
                </c:pt>
                <c:pt idx="4086">
                  <c:v>1397.1099850000001</c:v>
                </c:pt>
                <c:pt idx="4087">
                  <c:v>1416.51001</c:v>
                </c:pt>
                <c:pt idx="4088">
                  <c:v>1412.5200199999999</c:v>
                </c:pt>
                <c:pt idx="4089">
                  <c:v>1405.540039</c:v>
                </c:pt>
                <c:pt idx="4090">
                  <c:v>1403.280029</c:v>
                </c:pt>
                <c:pt idx="4091">
                  <c:v>1408.469971</c:v>
                </c:pt>
                <c:pt idx="4092">
                  <c:v>1419.040039</c:v>
                </c:pt>
                <c:pt idx="4093">
                  <c:v>1413.380005</c:v>
                </c:pt>
                <c:pt idx="4094">
                  <c:v>1398.959961</c:v>
                </c:pt>
                <c:pt idx="4095">
                  <c:v>1398.079956</c:v>
                </c:pt>
                <c:pt idx="4096">
                  <c:v>1382.1999510000001</c:v>
                </c:pt>
                <c:pt idx="4097">
                  <c:v>1358.589966</c:v>
                </c:pt>
                <c:pt idx="4098">
                  <c:v>1368.709961</c:v>
                </c:pt>
                <c:pt idx="4099">
                  <c:v>1387.5699460000001</c:v>
                </c:pt>
                <c:pt idx="4100">
                  <c:v>1370.26001</c:v>
                </c:pt>
                <c:pt idx="4101">
                  <c:v>1369.5699460000001</c:v>
                </c:pt>
                <c:pt idx="4102">
                  <c:v>1390.780029</c:v>
                </c:pt>
                <c:pt idx="4103">
                  <c:v>1385.1400149999999</c:v>
                </c:pt>
                <c:pt idx="4104">
                  <c:v>1376.920044</c:v>
                </c:pt>
                <c:pt idx="4105">
                  <c:v>1378.530029</c:v>
                </c:pt>
                <c:pt idx="4106">
                  <c:v>1366.9399410000001</c:v>
                </c:pt>
                <c:pt idx="4107">
                  <c:v>1371.969971</c:v>
                </c:pt>
                <c:pt idx="4108">
                  <c:v>1390.6899410000001</c:v>
                </c:pt>
                <c:pt idx="4109">
                  <c:v>1399.9799800000001</c:v>
                </c:pt>
                <c:pt idx="4110">
                  <c:v>1403.3599850000001</c:v>
                </c:pt>
                <c:pt idx="4111">
                  <c:v>1397.910034</c:v>
                </c:pt>
                <c:pt idx="4112">
                  <c:v>1405.8199460000001</c:v>
                </c:pt>
                <c:pt idx="4113">
                  <c:v>1402.3100589999999</c:v>
                </c:pt>
                <c:pt idx="4114">
                  <c:v>1391.5699460000001</c:v>
                </c:pt>
                <c:pt idx="4115">
                  <c:v>1369.099976</c:v>
                </c:pt>
                <c:pt idx="4116">
                  <c:v>1369.579956</c:v>
                </c:pt>
                <c:pt idx="4117">
                  <c:v>1363.719971</c:v>
                </c:pt>
                <c:pt idx="4118">
                  <c:v>1354.579956</c:v>
                </c:pt>
                <c:pt idx="4119">
                  <c:v>1357.98999</c:v>
                </c:pt>
                <c:pt idx="4120">
                  <c:v>1353.3900149999999</c:v>
                </c:pt>
                <c:pt idx="4121">
                  <c:v>1338.349976</c:v>
                </c:pt>
                <c:pt idx="4122">
                  <c:v>1330.660034</c:v>
                </c:pt>
                <c:pt idx="4123">
                  <c:v>1324.8000489999999</c:v>
                </c:pt>
                <c:pt idx="4124">
                  <c:v>1304.8599850000001</c:v>
                </c:pt>
                <c:pt idx="4125">
                  <c:v>1295.219971</c:v>
                </c:pt>
                <c:pt idx="4126">
                  <c:v>1315.98999</c:v>
                </c:pt>
                <c:pt idx="4127">
                  <c:v>1316.630005</c:v>
                </c:pt>
                <c:pt idx="4128">
                  <c:v>1318.8599850000001</c:v>
                </c:pt>
                <c:pt idx="4129">
                  <c:v>1320.6800539999999</c:v>
                </c:pt>
                <c:pt idx="4130">
                  <c:v>1317.8199460000001</c:v>
                </c:pt>
                <c:pt idx="4131">
                  <c:v>1332.420044</c:v>
                </c:pt>
                <c:pt idx="4132">
                  <c:v>1313.3199460000001</c:v>
                </c:pt>
                <c:pt idx="4133">
                  <c:v>1310.329956</c:v>
                </c:pt>
                <c:pt idx="4134">
                  <c:v>1278.040039</c:v>
                </c:pt>
                <c:pt idx="4135">
                  <c:v>1278.1800539999999</c:v>
                </c:pt>
                <c:pt idx="4136">
                  <c:v>1285.5</c:v>
                </c:pt>
                <c:pt idx="4137">
                  <c:v>1315.130005</c:v>
                </c:pt>
                <c:pt idx="4138">
                  <c:v>1314.98999</c:v>
                </c:pt>
                <c:pt idx="4139">
                  <c:v>1325.660034</c:v>
                </c:pt>
                <c:pt idx="4140">
                  <c:v>1308.9300539999999</c:v>
                </c:pt>
                <c:pt idx="4141">
                  <c:v>1324.1800539999999</c:v>
                </c:pt>
                <c:pt idx="4142">
                  <c:v>1314.880005</c:v>
                </c:pt>
                <c:pt idx="4143">
                  <c:v>1329.099976</c:v>
                </c:pt>
                <c:pt idx="4144">
                  <c:v>1342.839966</c:v>
                </c:pt>
                <c:pt idx="4145">
                  <c:v>1344.780029</c:v>
                </c:pt>
                <c:pt idx="4146">
                  <c:v>1357.9799800000001</c:v>
                </c:pt>
                <c:pt idx="4147">
                  <c:v>1355.6899410000001</c:v>
                </c:pt>
                <c:pt idx="4148">
                  <c:v>1325.51001</c:v>
                </c:pt>
                <c:pt idx="4149">
                  <c:v>1335.0200199999999</c:v>
                </c:pt>
                <c:pt idx="4150">
                  <c:v>1313.719971</c:v>
                </c:pt>
                <c:pt idx="4151">
                  <c:v>1319.98999</c:v>
                </c:pt>
                <c:pt idx="4152">
                  <c:v>1331.849976</c:v>
                </c:pt>
                <c:pt idx="4153">
                  <c:v>1329.040039</c:v>
                </c:pt>
                <c:pt idx="4154">
                  <c:v>1362.160034</c:v>
                </c:pt>
                <c:pt idx="4155">
                  <c:v>1365.51001</c:v>
                </c:pt>
                <c:pt idx="4156">
                  <c:v>1374.0200199999999</c:v>
                </c:pt>
                <c:pt idx="4157">
                  <c:v>1367.579956</c:v>
                </c:pt>
                <c:pt idx="4158">
                  <c:v>1354.6800539999999</c:v>
                </c:pt>
                <c:pt idx="4159">
                  <c:v>1352.459961</c:v>
                </c:pt>
                <c:pt idx="4160">
                  <c:v>1341.469971</c:v>
                </c:pt>
                <c:pt idx="4161">
                  <c:v>1341.4499510000001</c:v>
                </c:pt>
                <c:pt idx="4162">
                  <c:v>1334.76001</c:v>
                </c:pt>
                <c:pt idx="4163">
                  <c:v>1356.780029</c:v>
                </c:pt>
                <c:pt idx="4164">
                  <c:v>1353.6400149999999</c:v>
                </c:pt>
                <c:pt idx="4165">
                  <c:v>1363.670044</c:v>
                </c:pt>
                <c:pt idx="4166">
                  <c:v>1372.780029</c:v>
                </c:pt>
                <c:pt idx="4167">
                  <c:v>1376.51001</c:v>
                </c:pt>
                <c:pt idx="4168">
                  <c:v>1362.660034</c:v>
                </c:pt>
                <c:pt idx="4169">
                  <c:v>1350.5200199999999</c:v>
                </c:pt>
                <c:pt idx="4170">
                  <c:v>1338.3100589999999</c:v>
                </c:pt>
                <c:pt idx="4171">
                  <c:v>1337.8900149999999</c:v>
                </c:pt>
                <c:pt idx="4172">
                  <c:v>1360.0200199999999</c:v>
                </c:pt>
                <c:pt idx="4173">
                  <c:v>1385.969971</c:v>
                </c:pt>
                <c:pt idx="4174">
                  <c:v>1385.3000489999999</c:v>
                </c:pt>
                <c:pt idx="4175">
                  <c:v>1379.3199460000001</c:v>
                </c:pt>
                <c:pt idx="4176">
                  <c:v>1375.3199460000001</c:v>
                </c:pt>
                <c:pt idx="4177">
                  <c:v>1365</c:v>
                </c:pt>
                <c:pt idx="4178">
                  <c:v>1390.98999</c:v>
                </c:pt>
                <c:pt idx="4179">
                  <c:v>1394.2299800000001</c:v>
                </c:pt>
                <c:pt idx="4180">
                  <c:v>1401.349976</c:v>
                </c:pt>
                <c:pt idx="4181">
                  <c:v>1402.219971</c:v>
                </c:pt>
                <c:pt idx="4182">
                  <c:v>1402.8000489999999</c:v>
                </c:pt>
                <c:pt idx="4183">
                  <c:v>1405.869995</c:v>
                </c:pt>
                <c:pt idx="4184">
                  <c:v>1404.1099850000001</c:v>
                </c:pt>
                <c:pt idx="4185">
                  <c:v>1403.9300539999999</c:v>
                </c:pt>
                <c:pt idx="4186">
                  <c:v>1405.530029</c:v>
                </c:pt>
                <c:pt idx="4187">
                  <c:v>1415.51001</c:v>
                </c:pt>
                <c:pt idx="4188">
                  <c:v>1418.160034</c:v>
                </c:pt>
                <c:pt idx="4189">
                  <c:v>1418.130005</c:v>
                </c:pt>
                <c:pt idx="4190">
                  <c:v>1413.170044</c:v>
                </c:pt>
                <c:pt idx="4191">
                  <c:v>1413.48999</c:v>
                </c:pt>
                <c:pt idx="4192">
                  <c:v>1402.079956</c:v>
                </c:pt>
                <c:pt idx="4193">
                  <c:v>1411.130005</c:v>
                </c:pt>
                <c:pt idx="4194">
                  <c:v>1410.4399410000001</c:v>
                </c:pt>
                <c:pt idx="4195">
                  <c:v>1409.3000489999999</c:v>
                </c:pt>
                <c:pt idx="4196">
                  <c:v>1410.48999</c:v>
                </c:pt>
                <c:pt idx="4197">
                  <c:v>1399.4799800000001</c:v>
                </c:pt>
                <c:pt idx="4198">
                  <c:v>1406.579956</c:v>
                </c:pt>
                <c:pt idx="4199">
                  <c:v>1404.9399410000001</c:v>
                </c:pt>
                <c:pt idx="4200">
                  <c:v>1403.4399410000001</c:v>
                </c:pt>
                <c:pt idx="4201">
                  <c:v>1432.119995</c:v>
                </c:pt>
                <c:pt idx="4202">
                  <c:v>1437.920044</c:v>
                </c:pt>
                <c:pt idx="4203">
                  <c:v>1429.079956</c:v>
                </c:pt>
                <c:pt idx="4204">
                  <c:v>1433.5600589999999</c:v>
                </c:pt>
                <c:pt idx="4205">
                  <c:v>1436.5600589999999</c:v>
                </c:pt>
                <c:pt idx="4206">
                  <c:v>1459.98999</c:v>
                </c:pt>
                <c:pt idx="4207">
                  <c:v>1465.7700199999999</c:v>
                </c:pt>
                <c:pt idx="4208">
                  <c:v>1461.1899410000001</c:v>
                </c:pt>
                <c:pt idx="4209">
                  <c:v>1459.3199460000001</c:v>
                </c:pt>
                <c:pt idx="4210">
                  <c:v>1461.0500489999999</c:v>
                </c:pt>
                <c:pt idx="4211">
                  <c:v>1460.26001</c:v>
                </c:pt>
                <c:pt idx="4212">
                  <c:v>1460.150024</c:v>
                </c:pt>
                <c:pt idx="4213">
                  <c:v>1456.8900149999999</c:v>
                </c:pt>
                <c:pt idx="4214">
                  <c:v>1441.589966</c:v>
                </c:pt>
                <c:pt idx="4215">
                  <c:v>1433.3199460000001</c:v>
                </c:pt>
                <c:pt idx="4216">
                  <c:v>1447.150024</c:v>
                </c:pt>
                <c:pt idx="4217">
                  <c:v>1440.670044</c:v>
                </c:pt>
                <c:pt idx="4218">
                  <c:v>1444.48999</c:v>
                </c:pt>
                <c:pt idx="4219">
                  <c:v>1445.75</c:v>
                </c:pt>
                <c:pt idx="4220">
                  <c:v>1450.98999</c:v>
                </c:pt>
                <c:pt idx="4221">
                  <c:v>1461.400024</c:v>
                </c:pt>
                <c:pt idx="4222">
                  <c:v>1460.9300539999999</c:v>
                </c:pt>
                <c:pt idx="4223">
                  <c:v>1455.880005</c:v>
                </c:pt>
                <c:pt idx="4224">
                  <c:v>1441.4799800000001</c:v>
                </c:pt>
                <c:pt idx="4225">
                  <c:v>1432.5600589999999</c:v>
                </c:pt>
                <c:pt idx="4226">
                  <c:v>1432.839966</c:v>
                </c:pt>
                <c:pt idx="4227">
                  <c:v>1428.589966</c:v>
                </c:pt>
                <c:pt idx="4228">
                  <c:v>1440.130005</c:v>
                </c:pt>
                <c:pt idx="4229">
                  <c:v>1454.920044</c:v>
                </c:pt>
                <c:pt idx="4230">
                  <c:v>1460.910034</c:v>
                </c:pt>
                <c:pt idx="4231">
                  <c:v>1457.339966</c:v>
                </c:pt>
                <c:pt idx="4232">
                  <c:v>1433.1899410000001</c:v>
                </c:pt>
                <c:pt idx="4233">
                  <c:v>1433.8199460000001</c:v>
                </c:pt>
                <c:pt idx="4234">
                  <c:v>1413.1099850000001</c:v>
                </c:pt>
                <c:pt idx="4235">
                  <c:v>1408.75</c:v>
                </c:pt>
                <c:pt idx="4236">
                  <c:v>1412.969971</c:v>
                </c:pt>
                <c:pt idx="4237">
                  <c:v>1411.9399410000001</c:v>
                </c:pt>
                <c:pt idx="4238">
                  <c:v>1412.160034</c:v>
                </c:pt>
                <c:pt idx="4239">
                  <c:v>1427.589966</c:v>
                </c:pt>
                <c:pt idx="4240">
                  <c:v>1414.1999510000001</c:v>
                </c:pt>
                <c:pt idx="4241">
                  <c:v>1417.26001</c:v>
                </c:pt>
                <c:pt idx="4242">
                  <c:v>1428.3900149999999</c:v>
                </c:pt>
                <c:pt idx="4243">
                  <c:v>1394.530029</c:v>
                </c:pt>
                <c:pt idx="4244">
                  <c:v>1377.51001</c:v>
                </c:pt>
                <c:pt idx="4245">
                  <c:v>1379.849976</c:v>
                </c:pt>
                <c:pt idx="4246">
                  <c:v>1380.030029</c:v>
                </c:pt>
                <c:pt idx="4247">
                  <c:v>1374.530029</c:v>
                </c:pt>
                <c:pt idx="4248">
                  <c:v>1355.48999</c:v>
                </c:pt>
                <c:pt idx="4249">
                  <c:v>1353.329956</c:v>
                </c:pt>
                <c:pt idx="4250">
                  <c:v>1359.880005</c:v>
                </c:pt>
                <c:pt idx="4251">
                  <c:v>1386.8900149999999</c:v>
                </c:pt>
                <c:pt idx="4252">
                  <c:v>1387.8100589999999</c:v>
                </c:pt>
                <c:pt idx="4253">
                  <c:v>1391.030029</c:v>
                </c:pt>
                <c:pt idx="4254">
                  <c:v>1409.150024</c:v>
                </c:pt>
                <c:pt idx="4255">
                  <c:v>1406.290039</c:v>
                </c:pt>
                <c:pt idx="4256">
                  <c:v>1398.9399410000001</c:v>
                </c:pt>
                <c:pt idx="4257">
                  <c:v>1409.9300539999999</c:v>
                </c:pt>
                <c:pt idx="4258">
                  <c:v>1415.9499510000001</c:v>
                </c:pt>
                <c:pt idx="4259">
                  <c:v>1416.1800539999999</c:v>
                </c:pt>
                <c:pt idx="4260">
                  <c:v>1409.459961</c:v>
                </c:pt>
                <c:pt idx="4261">
                  <c:v>1407.0500489999999</c:v>
                </c:pt>
                <c:pt idx="4262">
                  <c:v>1409.280029</c:v>
                </c:pt>
                <c:pt idx="4263">
                  <c:v>1413.9399410000001</c:v>
                </c:pt>
                <c:pt idx="4264">
                  <c:v>1418.0699460000001</c:v>
                </c:pt>
                <c:pt idx="4265">
                  <c:v>1418.5500489999999</c:v>
                </c:pt>
                <c:pt idx="4266">
                  <c:v>1427.839966</c:v>
                </c:pt>
                <c:pt idx="4267">
                  <c:v>1428.4799800000001</c:v>
                </c:pt>
                <c:pt idx="4268">
                  <c:v>1419.4499510000001</c:v>
                </c:pt>
                <c:pt idx="4269">
                  <c:v>1413.579956</c:v>
                </c:pt>
                <c:pt idx="4270">
                  <c:v>1430.3599850000001</c:v>
                </c:pt>
                <c:pt idx="4271">
                  <c:v>1446.790039</c:v>
                </c:pt>
                <c:pt idx="4272">
                  <c:v>1435.8100589999999</c:v>
                </c:pt>
                <c:pt idx="4273">
                  <c:v>1443.6899410000001</c:v>
                </c:pt>
                <c:pt idx="4274">
                  <c:v>1430.150024</c:v>
                </c:pt>
                <c:pt idx="4275">
                  <c:v>1426.660034</c:v>
                </c:pt>
                <c:pt idx="4276">
                  <c:v>1419.829956</c:v>
                </c:pt>
                <c:pt idx="4277">
                  <c:v>1418.099976</c:v>
                </c:pt>
                <c:pt idx="4278">
                  <c:v>1402.4300539999999</c:v>
                </c:pt>
                <c:pt idx="4279">
                  <c:v>1426.1899410000001</c:v>
                </c:pt>
                <c:pt idx="4280">
                  <c:v>1462.420044</c:v>
                </c:pt>
                <c:pt idx="4281">
                  <c:v>1459.369995</c:v>
                </c:pt>
                <c:pt idx="4282">
                  <c:v>1466.469971</c:v>
                </c:pt>
                <c:pt idx="4283">
                  <c:v>1461.8900149999999</c:v>
                </c:pt>
                <c:pt idx="4284">
                  <c:v>1457.150024</c:v>
                </c:pt>
                <c:pt idx="4285">
                  <c:v>1461.0200199999999</c:v>
                </c:pt>
                <c:pt idx="4286">
                  <c:v>1472.119995</c:v>
                </c:pt>
                <c:pt idx="4287">
                  <c:v>1472.0500489999999</c:v>
                </c:pt>
                <c:pt idx="4288">
                  <c:v>1470.6800539999999</c:v>
                </c:pt>
                <c:pt idx="4289">
                  <c:v>1472.339966</c:v>
                </c:pt>
                <c:pt idx="4290">
                  <c:v>1472.630005</c:v>
                </c:pt>
                <c:pt idx="4291">
                  <c:v>1480.9399410000001</c:v>
                </c:pt>
                <c:pt idx="4292">
                  <c:v>1485.9799800000001</c:v>
                </c:pt>
                <c:pt idx="4293">
                  <c:v>1492.5600589999999</c:v>
                </c:pt>
                <c:pt idx="4294">
                  <c:v>1494.8100589999999</c:v>
                </c:pt>
                <c:pt idx="4295">
                  <c:v>1494.8199460000001</c:v>
                </c:pt>
                <c:pt idx="4296">
                  <c:v>1502.959961</c:v>
                </c:pt>
                <c:pt idx="4297">
                  <c:v>1500.1800539999999</c:v>
                </c:pt>
                <c:pt idx="4298">
                  <c:v>1507.839966</c:v>
                </c:pt>
                <c:pt idx="4299">
                  <c:v>1501.959961</c:v>
                </c:pt>
                <c:pt idx="4300">
                  <c:v>1498.1099850000001</c:v>
                </c:pt>
                <c:pt idx="4301">
                  <c:v>1513.170044</c:v>
                </c:pt>
                <c:pt idx="4302">
                  <c:v>1495.709961</c:v>
                </c:pt>
                <c:pt idx="4303">
                  <c:v>1511.290039</c:v>
                </c:pt>
                <c:pt idx="4304">
                  <c:v>1512.119995</c:v>
                </c:pt>
                <c:pt idx="4305">
                  <c:v>1509.3900149999999</c:v>
                </c:pt>
                <c:pt idx="4306">
                  <c:v>1517.9300539999999</c:v>
                </c:pt>
                <c:pt idx="4307">
                  <c:v>1517.01001</c:v>
                </c:pt>
                <c:pt idx="4308">
                  <c:v>1519.4300539999999</c:v>
                </c:pt>
                <c:pt idx="4309">
                  <c:v>1520.329956</c:v>
                </c:pt>
                <c:pt idx="4310">
                  <c:v>1521.380005</c:v>
                </c:pt>
                <c:pt idx="4311">
                  <c:v>1519.790039</c:v>
                </c:pt>
                <c:pt idx="4312">
                  <c:v>1530.9399410000001</c:v>
                </c:pt>
                <c:pt idx="4313">
                  <c:v>1511.9499510000001</c:v>
                </c:pt>
                <c:pt idx="4314">
                  <c:v>1502.420044</c:v>
                </c:pt>
                <c:pt idx="4315">
                  <c:v>1515.599976</c:v>
                </c:pt>
                <c:pt idx="4316">
                  <c:v>1487.849976</c:v>
                </c:pt>
                <c:pt idx="4317">
                  <c:v>1496.9399410000001</c:v>
                </c:pt>
                <c:pt idx="4318">
                  <c:v>1515.98999</c:v>
                </c:pt>
                <c:pt idx="4319">
                  <c:v>1514.6800539999999</c:v>
                </c:pt>
                <c:pt idx="4320">
                  <c:v>1518.1999510000001</c:v>
                </c:pt>
                <c:pt idx="4321">
                  <c:v>1525.1999510000001</c:v>
                </c:pt>
                <c:pt idx="4322">
                  <c:v>1539.790039</c:v>
                </c:pt>
                <c:pt idx="4323">
                  <c:v>1541.459961</c:v>
                </c:pt>
                <c:pt idx="4324">
                  <c:v>1544.26001</c:v>
                </c:pt>
                <c:pt idx="4325">
                  <c:v>1551.1800539999999</c:v>
                </c:pt>
                <c:pt idx="4326">
                  <c:v>1556.219971</c:v>
                </c:pt>
                <c:pt idx="4327">
                  <c:v>1552.4799800000001</c:v>
                </c:pt>
                <c:pt idx="4328">
                  <c:v>1554.5200199999999</c:v>
                </c:pt>
                <c:pt idx="4329">
                  <c:v>1563.2299800000001</c:v>
                </c:pt>
                <c:pt idx="4330">
                  <c:v>1560.6999510000001</c:v>
                </c:pt>
                <c:pt idx="4331">
                  <c:v>1552.099976</c:v>
                </c:pt>
                <c:pt idx="4332">
                  <c:v>1548.339966</c:v>
                </c:pt>
                <c:pt idx="4333">
                  <c:v>1558.709961</c:v>
                </c:pt>
                <c:pt idx="4334">
                  <c:v>1545.8000489999999</c:v>
                </c:pt>
                <c:pt idx="4335">
                  <c:v>1556.8900149999999</c:v>
                </c:pt>
                <c:pt idx="4336">
                  <c:v>1551.6899410000001</c:v>
                </c:pt>
                <c:pt idx="4337">
                  <c:v>1563.7700199999999</c:v>
                </c:pt>
                <c:pt idx="4338">
                  <c:v>1562.849976</c:v>
                </c:pt>
                <c:pt idx="4339">
                  <c:v>1569.1899410000001</c:v>
                </c:pt>
                <c:pt idx="4340">
                  <c:v>1562.170044</c:v>
                </c:pt>
                <c:pt idx="4341">
                  <c:v>1570.25</c:v>
                </c:pt>
                <c:pt idx="4342">
                  <c:v>1553.6899410000001</c:v>
                </c:pt>
                <c:pt idx="4343">
                  <c:v>1559.9799800000001</c:v>
                </c:pt>
                <c:pt idx="4344">
                  <c:v>1553.280029</c:v>
                </c:pt>
                <c:pt idx="4345">
                  <c:v>1563.0699460000001</c:v>
                </c:pt>
                <c:pt idx="4346">
                  <c:v>1568.6099850000001</c:v>
                </c:pt>
                <c:pt idx="4347">
                  <c:v>1587.7299800000001</c:v>
                </c:pt>
                <c:pt idx="4348">
                  <c:v>1593.369995</c:v>
                </c:pt>
                <c:pt idx="4349">
                  <c:v>1588.849976</c:v>
                </c:pt>
                <c:pt idx="4350">
                  <c:v>1552.3599850000001</c:v>
                </c:pt>
                <c:pt idx="4351">
                  <c:v>1574.5699460000001</c:v>
                </c:pt>
                <c:pt idx="4352">
                  <c:v>1552.01001</c:v>
                </c:pt>
                <c:pt idx="4353">
                  <c:v>1541.6099850000001</c:v>
                </c:pt>
                <c:pt idx="4354">
                  <c:v>1555.25</c:v>
                </c:pt>
                <c:pt idx="4355">
                  <c:v>1562.5</c:v>
                </c:pt>
                <c:pt idx="4356">
                  <c:v>1578.780029</c:v>
                </c:pt>
                <c:pt idx="4357">
                  <c:v>1578.790039</c:v>
                </c:pt>
                <c:pt idx="4358">
                  <c:v>1585.160034</c:v>
                </c:pt>
                <c:pt idx="4359">
                  <c:v>1582.23999</c:v>
                </c:pt>
                <c:pt idx="4360">
                  <c:v>1593.6099850000001</c:v>
                </c:pt>
                <c:pt idx="4361">
                  <c:v>1597.5699460000001</c:v>
                </c:pt>
                <c:pt idx="4362">
                  <c:v>1582.6999510000001</c:v>
                </c:pt>
                <c:pt idx="4363">
                  <c:v>1597.589966</c:v>
                </c:pt>
                <c:pt idx="4364">
                  <c:v>1614.420044</c:v>
                </c:pt>
                <c:pt idx="4365">
                  <c:v>1617.5</c:v>
                </c:pt>
                <c:pt idx="4366">
                  <c:v>1625.959961</c:v>
                </c:pt>
                <c:pt idx="4367">
                  <c:v>1632.6899410000001</c:v>
                </c:pt>
                <c:pt idx="4368">
                  <c:v>1626.670044</c:v>
                </c:pt>
                <c:pt idx="4369">
                  <c:v>1633.6999510000001</c:v>
                </c:pt>
                <c:pt idx="4370">
                  <c:v>1633.7700199999999</c:v>
                </c:pt>
                <c:pt idx="4371">
                  <c:v>1650.339966</c:v>
                </c:pt>
                <c:pt idx="4372">
                  <c:v>1658.780029</c:v>
                </c:pt>
                <c:pt idx="4373">
                  <c:v>1650.469971</c:v>
                </c:pt>
                <c:pt idx="4374">
                  <c:v>1667.469971</c:v>
                </c:pt>
                <c:pt idx="4375">
                  <c:v>1666.290039</c:v>
                </c:pt>
                <c:pt idx="4376">
                  <c:v>1669.160034</c:v>
                </c:pt>
                <c:pt idx="4377">
                  <c:v>1655.349976</c:v>
                </c:pt>
                <c:pt idx="4378">
                  <c:v>1650.51001</c:v>
                </c:pt>
                <c:pt idx="4379">
                  <c:v>1649.599976</c:v>
                </c:pt>
                <c:pt idx="4380">
                  <c:v>1660.0600589999999</c:v>
                </c:pt>
                <c:pt idx="4381">
                  <c:v>1648.3599850000001</c:v>
                </c:pt>
                <c:pt idx="4382">
                  <c:v>1654.410034</c:v>
                </c:pt>
                <c:pt idx="4383">
                  <c:v>1630.73999</c:v>
                </c:pt>
                <c:pt idx="4384">
                  <c:v>1640.420044</c:v>
                </c:pt>
                <c:pt idx="4385">
                  <c:v>1631.380005</c:v>
                </c:pt>
                <c:pt idx="4386">
                  <c:v>1608.900024</c:v>
                </c:pt>
                <c:pt idx="4387">
                  <c:v>1622.5600589999999</c:v>
                </c:pt>
                <c:pt idx="4388">
                  <c:v>1643.380005</c:v>
                </c:pt>
                <c:pt idx="4389">
                  <c:v>1642.8100589999999</c:v>
                </c:pt>
                <c:pt idx="4390">
                  <c:v>1626.130005</c:v>
                </c:pt>
                <c:pt idx="4391">
                  <c:v>1612.5200199999999</c:v>
                </c:pt>
                <c:pt idx="4392">
                  <c:v>1636.3599850000001</c:v>
                </c:pt>
                <c:pt idx="4393">
                  <c:v>1626.7299800000001</c:v>
                </c:pt>
                <c:pt idx="4394">
                  <c:v>1639.040039</c:v>
                </c:pt>
                <c:pt idx="4395">
                  <c:v>1651.8100589999999</c:v>
                </c:pt>
                <c:pt idx="4396">
                  <c:v>1628.9300539999999</c:v>
                </c:pt>
                <c:pt idx="4397">
                  <c:v>1588.1899410000001</c:v>
                </c:pt>
                <c:pt idx="4398">
                  <c:v>1592.4300539999999</c:v>
                </c:pt>
                <c:pt idx="4399">
                  <c:v>1573.089966</c:v>
                </c:pt>
                <c:pt idx="4400">
                  <c:v>1588.030029</c:v>
                </c:pt>
                <c:pt idx="4401">
                  <c:v>1603.26001</c:v>
                </c:pt>
                <c:pt idx="4402">
                  <c:v>1613.1999510000001</c:v>
                </c:pt>
                <c:pt idx="4403">
                  <c:v>1606.280029</c:v>
                </c:pt>
                <c:pt idx="4404">
                  <c:v>1614.959961</c:v>
                </c:pt>
                <c:pt idx="4405">
                  <c:v>1614.079956</c:v>
                </c:pt>
                <c:pt idx="4406">
                  <c:v>1615.410034</c:v>
                </c:pt>
                <c:pt idx="4407">
                  <c:v>1631.8900149999999</c:v>
                </c:pt>
                <c:pt idx="4408">
                  <c:v>1640.459961</c:v>
                </c:pt>
                <c:pt idx="4409">
                  <c:v>1652.3199460000001</c:v>
                </c:pt>
                <c:pt idx="4410">
                  <c:v>1652.619995</c:v>
                </c:pt>
                <c:pt idx="4411">
                  <c:v>1675.0200199999999</c:v>
                </c:pt>
                <c:pt idx="4412">
                  <c:v>1680.1899410000001</c:v>
                </c:pt>
                <c:pt idx="4413">
                  <c:v>1682.5</c:v>
                </c:pt>
                <c:pt idx="4414">
                  <c:v>1676.26001</c:v>
                </c:pt>
                <c:pt idx="4415">
                  <c:v>1680.910034</c:v>
                </c:pt>
                <c:pt idx="4416">
                  <c:v>1689.369995</c:v>
                </c:pt>
                <c:pt idx="4417">
                  <c:v>1692.089966</c:v>
                </c:pt>
                <c:pt idx="4418">
                  <c:v>1695.530029</c:v>
                </c:pt>
                <c:pt idx="4419">
                  <c:v>1692.3900149999999</c:v>
                </c:pt>
                <c:pt idx="4420">
                  <c:v>1685.9399410000001</c:v>
                </c:pt>
                <c:pt idx="4421">
                  <c:v>1690.25</c:v>
                </c:pt>
                <c:pt idx="4422">
                  <c:v>1691.650024</c:v>
                </c:pt>
                <c:pt idx="4423">
                  <c:v>1685.329956</c:v>
                </c:pt>
                <c:pt idx="4424">
                  <c:v>1685.959961</c:v>
                </c:pt>
                <c:pt idx="4425">
                  <c:v>1685.7299800000001</c:v>
                </c:pt>
                <c:pt idx="4426">
                  <c:v>1706.869995</c:v>
                </c:pt>
                <c:pt idx="4427">
                  <c:v>1709.670044</c:v>
                </c:pt>
                <c:pt idx="4428">
                  <c:v>1707.1400149999999</c:v>
                </c:pt>
                <c:pt idx="4429">
                  <c:v>1697.369995</c:v>
                </c:pt>
                <c:pt idx="4430">
                  <c:v>1690.910034</c:v>
                </c:pt>
                <c:pt idx="4431">
                  <c:v>1697.4799800000001</c:v>
                </c:pt>
                <c:pt idx="4432">
                  <c:v>1691.420044</c:v>
                </c:pt>
                <c:pt idx="4433">
                  <c:v>1689.469971</c:v>
                </c:pt>
                <c:pt idx="4434">
                  <c:v>1694.160034</c:v>
                </c:pt>
                <c:pt idx="4435">
                  <c:v>1685.3900149999999</c:v>
                </c:pt>
                <c:pt idx="4436">
                  <c:v>1661.3199460000001</c:v>
                </c:pt>
                <c:pt idx="4437">
                  <c:v>1655.829956</c:v>
                </c:pt>
                <c:pt idx="4438">
                  <c:v>1646.0600589999999</c:v>
                </c:pt>
                <c:pt idx="4439">
                  <c:v>1652.349976</c:v>
                </c:pt>
                <c:pt idx="4440">
                  <c:v>1642.8000489999999</c:v>
                </c:pt>
                <c:pt idx="4441">
                  <c:v>1656.959961</c:v>
                </c:pt>
                <c:pt idx="4442">
                  <c:v>1663.5</c:v>
                </c:pt>
                <c:pt idx="4443">
                  <c:v>1656.780029</c:v>
                </c:pt>
                <c:pt idx="4444">
                  <c:v>1630.4799800000001</c:v>
                </c:pt>
                <c:pt idx="4445">
                  <c:v>1634.959961</c:v>
                </c:pt>
                <c:pt idx="4446">
                  <c:v>1638.170044</c:v>
                </c:pt>
                <c:pt idx="4447">
                  <c:v>1632.969971</c:v>
                </c:pt>
                <c:pt idx="4448">
                  <c:v>1639.7700199999999</c:v>
                </c:pt>
                <c:pt idx="4449">
                  <c:v>1653.079956</c:v>
                </c:pt>
                <c:pt idx="4450">
                  <c:v>1655.079956</c:v>
                </c:pt>
                <c:pt idx="4451">
                  <c:v>1655.170044</c:v>
                </c:pt>
                <c:pt idx="4452">
                  <c:v>1671.709961</c:v>
                </c:pt>
                <c:pt idx="4453">
                  <c:v>1683.98999</c:v>
                </c:pt>
                <c:pt idx="4454">
                  <c:v>1689.130005</c:v>
                </c:pt>
                <c:pt idx="4455">
                  <c:v>1683.420044</c:v>
                </c:pt>
                <c:pt idx="4456">
                  <c:v>1687.98999</c:v>
                </c:pt>
                <c:pt idx="4457">
                  <c:v>1697.599976</c:v>
                </c:pt>
                <c:pt idx="4458">
                  <c:v>1704.76001</c:v>
                </c:pt>
                <c:pt idx="4459">
                  <c:v>1725.5200199999999</c:v>
                </c:pt>
                <c:pt idx="4460">
                  <c:v>1722.339966</c:v>
                </c:pt>
                <c:pt idx="4461">
                  <c:v>1709.910034</c:v>
                </c:pt>
                <c:pt idx="4462">
                  <c:v>1701.839966</c:v>
                </c:pt>
                <c:pt idx="4463">
                  <c:v>1697.420044</c:v>
                </c:pt>
                <c:pt idx="4464">
                  <c:v>1692.7700199999999</c:v>
                </c:pt>
                <c:pt idx="4465">
                  <c:v>1698.670044</c:v>
                </c:pt>
                <c:pt idx="4466">
                  <c:v>1691.75</c:v>
                </c:pt>
                <c:pt idx="4467">
                  <c:v>1681.5500489999999</c:v>
                </c:pt>
                <c:pt idx="4468">
                  <c:v>1695</c:v>
                </c:pt>
                <c:pt idx="4469">
                  <c:v>1693.869995</c:v>
                </c:pt>
                <c:pt idx="4470">
                  <c:v>1678.660034</c:v>
                </c:pt>
                <c:pt idx="4471">
                  <c:v>1690.5</c:v>
                </c:pt>
                <c:pt idx="4472">
                  <c:v>1676.119995</c:v>
                </c:pt>
                <c:pt idx="4473">
                  <c:v>1655.4499510000001</c:v>
                </c:pt>
                <c:pt idx="4474">
                  <c:v>1656.400024</c:v>
                </c:pt>
                <c:pt idx="4475">
                  <c:v>1692.5600589999999</c:v>
                </c:pt>
                <c:pt idx="4476">
                  <c:v>1703.1999510000001</c:v>
                </c:pt>
                <c:pt idx="4477">
                  <c:v>1710.1400149999999</c:v>
                </c:pt>
                <c:pt idx="4478">
                  <c:v>1698.0600589999999</c:v>
                </c:pt>
                <c:pt idx="4479">
                  <c:v>1721.540039</c:v>
                </c:pt>
                <c:pt idx="4480">
                  <c:v>1733.150024</c:v>
                </c:pt>
                <c:pt idx="4481">
                  <c:v>1744.5</c:v>
                </c:pt>
                <c:pt idx="4482">
                  <c:v>1744.660034</c:v>
                </c:pt>
                <c:pt idx="4483">
                  <c:v>1754.670044</c:v>
                </c:pt>
                <c:pt idx="4484">
                  <c:v>1746.380005</c:v>
                </c:pt>
                <c:pt idx="4485">
                  <c:v>1752.0699460000001</c:v>
                </c:pt>
                <c:pt idx="4486">
                  <c:v>1759.7700199999999</c:v>
                </c:pt>
                <c:pt idx="4487">
                  <c:v>1762.1099850000001</c:v>
                </c:pt>
                <c:pt idx="4488">
                  <c:v>1771.9499510000001</c:v>
                </c:pt>
                <c:pt idx="4489">
                  <c:v>1763.3100589999999</c:v>
                </c:pt>
                <c:pt idx="4490">
                  <c:v>1756.540039</c:v>
                </c:pt>
                <c:pt idx="4491">
                  <c:v>1761.6400149999999</c:v>
                </c:pt>
                <c:pt idx="4492">
                  <c:v>1767.9300539999999</c:v>
                </c:pt>
                <c:pt idx="4493">
                  <c:v>1762.969971</c:v>
                </c:pt>
                <c:pt idx="4494">
                  <c:v>1770.48999</c:v>
                </c:pt>
                <c:pt idx="4495">
                  <c:v>1747.150024</c:v>
                </c:pt>
                <c:pt idx="4496">
                  <c:v>1770.6099850000001</c:v>
                </c:pt>
                <c:pt idx="4497">
                  <c:v>1771.8900149999999</c:v>
                </c:pt>
                <c:pt idx="4498">
                  <c:v>1767.6899410000001</c:v>
                </c:pt>
                <c:pt idx="4499">
                  <c:v>1782</c:v>
                </c:pt>
                <c:pt idx="4500">
                  <c:v>1790.619995</c:v>
                </c:pt>
                <c:pt idx="4501">
                  <c:v>1798.1800539999999</c:v>
                </c:pt>
                <c:pt idx="4502">
                  <c:v>1791.530029</c:v>
                </c:pt>
                <c:pt idx="4503">
                  <c:v>1787.869995</c:v>
                </c:pt>
                <c:pt idx="4504">
                  <c:v>1781.369995</c:v>
                </c:pt>
                <c:pt idx="4505">
                  <c:v>1795.849976</c:v>
                </c:pt>
                <c:pt idx="4506">
                  <c:v>1804.76001</c:v>
                </c:pt>
                <c:pt idx="4507">
                  <c:v>1802.4799800000001</c:v>
                </c:pt>
                <c:pt idx="4508">
                  <c:v>1802.75</c:v>
                </c:pt>
                <c:pt idx="4509">
                  <c:v>1807.2299800000001</c:v>
                </c:pt>
                <c:pt idx="4510">
                  <c:v>1805.8100589999999</c:v>
                </c:pt>
                <c:pt idx="4511">
                  <c:v>1800.900024</c:v>
                </c:pt>
                <c:pt idx="4512">
                  <c:v>1795.150024</c:v>
                </c:pt>
                <c:pt idx="4513">
                  <c:v>1792.8100589999999</c:v>
                </c:pt>
                <c:pt idx="4514">
                  <c:v>1785.030029</c:v>
                </c:pt>
                <c:pt idx="4515">
                  <c:v>1805.089966</c:v>
                </c:pt>
                <c:pt idx="4516">
                  <c:v>1808.369995</c:v>
                </c:pt>
                <c:pt idx="4517">
                  <c:v>1802.619995</c:v>
                </c:pt>
                <c:pt idx="4518">
                  <c:v>1782.219971</c:v>
                </c:pt>
                <c:pt idx="4519">
                  <c:v>1775.5</c:v>
                </c:pt>
                <c:pt idx="4520">
                  <c:v>1775.3199460000001</c:v>
                </c:pt>
                <c:pt idx="4521">
                  <c:v>1786.540039</c:v>
                </c:pt>
                <c:pt idx="4522">
                  <c:v>1781</c:v>
                </c:pt>
                <c:pt idx="4523">
                  <c:v>1810.650024</c:v>
                </c:pt>
                <c:pt idx="4524">
                  <c:v>1809.599976</c:v>
                </c:pt>
                <c:pt idx="4525">
                  <c:v>1818.3199460000001</c:v>
                </c:pt>
                <c:pt idx="4526">
                  <c:v>1827.98999</c:v>
                </c:pt>
                <c:pt idx="4527">
                  <c:v>1833.3199460000001</c:v>
                </c:pt>
                <c:pt idx="4528">
                  <c:v>1842.0200199999999</c:v>
                </c:pt>
                <c:pt idx="4529">
                  <c:v>1841.400024</c:v>
                </c:pt>
                <c:pt idx="4530">
                  <c:v>1841.0699460000001</c:v>
                </c:pt>
                <c:pt idx="4531">
                  <c:v>1848.3599850000001</c:v>
                </c:pt>
                <c:pt idx="4532">
                  <c:v>1831.9799800000001</c:v>
                </c:pt>
                <c:pt idx="4533">
                  <c:v>1831.369995</c:v>
                </c:pt>
                <c:pt idx="4534">
                  <c:v>1826.7700199999999</c:v>
                </c:pt>
                <c:pt idx="4535">
                  <c:v>1837.880005</c:v>
                </c:pt>
                <c:pt idx="4536">
                  <c:v>1837.48999</c:v>
                </c:pt>
                <c:pt idx="4537">
                  <c:v>1838.130005</c:v>
                </c:pt>
                <c:pt idx="4538">
                  <c:v>1842.369995</c:v>
                </c:pt>
                <c:pt idx="4539">
                  <c:v>1819.1999510000001</c:v>
                </c:pt>
                <c:pt idx="4540">
                  <c:v>1838.880005</c:v>
                </c:pt>
                <c:pt idx="4541">
                  <c:v>1848.380005</c:v>
                </c:pt>
                <c:pt idx="4542">
                  <c:v>1845.8900149999999</c:v>
                </c:pt>
                <c:pt idx="4543">
                  <c:v>1838.6999510000001</c:v>
                </c:pt>
                <c:pt idx="4544">
                  <c:v>1843.8000489999999</c:v>
                </c:pt>
                <c:pt idx="4545">
                  <c:v>1844.8599850000001</c:v>
                </c:pt>
                <c:pt idx="4546">
                  <c:v>1828.459961</c:v>
                </c:pt>
                <c:pt idx="4547">
                  <c:v>1790.290039</c:v>
                </c:pt>
                <c:pt idx="4548">
                  <c:v>1781.5600589999999</c:v>
                </c:pt>
                <c:pt idx="4549">
                  <c:v>1792.5</c:v>
                </c:pt>
                <c:pt idx="4550">
                  <c:v>1774.1999510000001</c:v>
                </c:pt>
                <c:pt idx="4551">
                  <c:v>1794.1899410000001</c:v>
                </c:pt>
                <c:pt idx="4552">
                  <c:v>1782.589966</c:v>
                </c:pt>
                <c:pt idx="4553">
                  <c:v>1741.8900149999999</c:v>
                </c:pt>
                <c:pt idx="4554">
                  <c:v>1755.1999510000001</c:v>
                </c:pt>
                <c:pt idx="4555">
                  <c:v>1751.6400149999999</c:v>
                </c:pt>
                <c:pt idx="4556">
                  <c:v>1773.4300539999999</c:v>
                </c:pt>
                <c:pt idx="4557">
                  <c:v>1797.0200199999999</c:v>
                </c:pt>
                <c:pt idx="4558">
                  <c:v>1799.839966</c:v>
                </c:pt>
                <c:pt idx="4559">
                  <c:v>1819.75</c:v>
                </c:pt>
                <c:pt idx="4560">
                  <c:v>1819.26001</c:v>
                </c:pt>
                <c:pt idx="4561">
                  <c:v>1829.829956</c:v>
                </c:pt>
                <c:pt idx="4562">
                  <c:v>1838.630005</c:v>
                </c:pt>
                <c:pt idx="4563">
                  <c:v>1840.76001</c:v>
                </c:pt>
                <c:pt idx="4564">
                  <c:v>1828.75</c:v>
                </c:pt>
                <c:pt idx="4565">
                  <c:v>1839.780029</c:v>
                </c:pt>
                <c:pt idx="4566">
                  <c:v>1836.25</c:v>
                </c:pt>
                <c:pt idx="4567">
                  <c:v>1847.6099850000001</c:v>
                </c:pt>
                <c:pt idx="4568">
                  <c:v>1845.119995</c:v>
                </c:pt>
                <c:pt idx="4569">
                  <c:v>1845.160034</c:v>
                </c:pt>
                <c:pt idx="4570">
                  <c:v>1854.290039</c:v>
                </c:pt>
                <c:pt idx="4571">
                  <c:v>1859.4499510000001</c:v>
                </c:pt>
                <c:pt idx="4572">
                  <c:v>1845.7299800000001</c:v>
                </c:pt>
                <c:pt idx="4573">
                  <c:v>1873.910034</c:v>
                </c:pt>
                <c:pt idx="4574">
                  <c:v>1873.8100589999999</c:v>
                </c:pt>
                <c:pt idx="4575">
                  <c:v>1877.030029</c:v>
                </c:pt>
                <c:pt idx="4576">
                  <c:v>1878.040039</c:v>
                </c:pt>
                <c:pt idx="4577">
                  <c:v>1877.170044</c:v>
                </c:pt>
                <c:pt idx="4578">
                  <c:v>1867.630005</c:v>
                </c:pt>
                <c:pt idx="4579">
                  <c:v>1868.1999510000001</c:v>
                </c:pt>
                <c:pt idx="4580">
                  <c:v>1846.339966</c:v>
                </c:pt>
                <c:pt idx="4581">
                  <c:v>1841.130005</c:v>
                </c:pt>
                <c:pt idx="4582">
                  <c:v>1858.829956</c:v>
                </c:pt>
                <c:pt idx="4583">
                  <c:v>1872.25</c:v>
                </c:pt>
                <c:pt idx="4584">
                  <c:v>1860.7700199999999</c:v>
                </c:pt>
                <c:pt idx="4585">
                  <c:v>1872.01001</c:v>
                </c:pt>
                <c:pt idx="4586">
                  <c:v>1866.5200199999999</c:v>
                </c:pt>
                <c:pt idx="4587">
                  <c:v>1857.4399410000001</c:v>
                </c:pt>
                <c:pt idx="4588">
                  <c:v>1865.619995</c:v>
                </c:pt>
                <c:pt idx="4589">
                  <c:v>1852.5600589999999</c:v>
                </c:pt>
                <c:pt idx="4590">
                  <c:v>1849.040039</c:v>
                </c:pt>
                <c:pt idx="4591">
                  <c:v>1857.619995</c:v>
                </c:pt>
                <c:pt idx="4592">
                  <c:v>1872.339966</c:v>
                </c:pt>
                <c:pt idx="4593">
                  <c:v>1885.5200199999999</c:v>
                </c:pt>
                <c:pt idx="4594">
                  <c:v>1890.900024</c:v>
                </c:pt>
                <c:pt idx="4595">
                  <c:v>1888.7700199999999</c:v>
                </c:pt>
                <c:pt idx="4596">
                  <c:v>1865.089966</c:v>
                </c:pt>
                <c:pt idx="4597">
                  <c:v>1845.040039</c:v>
                </c:pt>
                <c:pt idx="4598">
                  <c:v>1851.959961</c:v>
                </c:pt>
                <c:pt idx="4599">
                  <c:v>1872.1800539999999</c:v>
                </c:pt>
                <c:pt idx="4600">
                  <c:v>1833.079956</c:v>
                </c:pt>
                <c:pt idx="4601">
                  <c:v>1815.6899410000001</c:v>
                </c:pt>
                <c:pt idx="4602">
                  <c:v>1830.6099850000001</c:v>
                </c:pt>
                <c:pt idx="4603">
                  <c:v>1842.9799800000001</c:v>
                </c:pt>
                <c:pt idx="4604">
                  <c:v>1862.3100589999999</c:v>
                </c:pt>
                <c:pt idx="4605">
                  <c:v>1864.849976</c:v>
                </c:pt>
                <c:pt idx="4606">
                  <c:v>1871.8900149999999</c:v>
                </c:pt>
                <c:pt idx="4607">
                  <c:v>1879.5500489999999</c:v>
                </c:pt>
                <c:pt idx="4608">
                  <c:v>1875.3900149999999</c:v>
                </c:pt>
                <c:pt idx="4609">
                  <c:v>1878.6099850000001</c:v>
                </c:pt>
                <c:pt idx="4610">
                  <c:v>1863.400024</c:v>
                </c:pt>
                <c:pt idx="4611">
                  <c:v>1869.4300539999999</c:v>
                </c:pt>
                <c:pt idx="4612">
                  <c:v>1878.329956</c:v>
                </c:pt>
                <c:pt idx="4613">
                  <c:v>1883.9499510000001</c:v>
                </c:pt>
                <c:pt idx="4614">
                  <c:v>1883.6800539999999</c:v>
                </c:pt>
                <c:pt idx="4615">
                  <c:v>1881.1400149999999</c:v>
                </c:pt>
                <c:pt idx="4616">
                  <c:v>1884.660034</c:v>
                </c:pt>
                <c:pt idx="4617">
                  <c:v>1867.719971</c:v>
                </c:pt>
                <c:pt idx="4618">
                  <c:v>1878.209961</c:v>
                </c:pt>
                <c:pt idx="4619">
                  <c:v>1875.630005</c:v>
                </c:pt>
                <c:pt idx="4620">
                  <c:v>1878.4799800000001</c:v>
                </c:pt>
                <c:pt idx="4621">
                  <c:v>1896.650024</c:v>
                </c:pt>
                <c:pt idx="4622">
                  <c:v>1897.4499510000001</c:v>
                </c:pt>
                <c:pt idx="4623">
                  <c:v>1888.530029</c:v>
                </c:pt>
                <c:pt idx="4624">
                  <c:v>1870.849976</c:v>
                </c:pt>
                <c:pt idx="4625">
                  <c:v>1877.8599850000001</c:v>
                </c:pt>
                <c:pt idx="4626">
                  <c:v>1885.079956</c:v>
                </c:pt>
                <c:pt idx="4627">
                  <c:v>1872.829956</c:v>
                </c:pt>
                <c:pt idx="4628">
                  <c:v>1888.030029</c:v>
                </c:pt>
                <c:pt idx="4629">
                  <c:v>1892.48999</c:v>
                </c:pt>
                <c:pt idx="4630">
                  <c:v>1900.530029</c:v>
                </c:pt>
                <c:pt idx="4631">
                  <c:v>1911.910034</c:v>
                </c:pt>
                <c:pt idx="4632">
                  <c:v>1909.780029</c:v>
                </c:pt>
                <c:pt idx="4633">
                  <c:v>1920.030029</c:v>
                </c:pt>
                <c:pt idx="4634">
                  <c:v>1923.5699460000001</c:v>
                </c:pt>
                <c:pt idx="4635">
                  <c:v>1924.969971</c:v>
                </c:pt>
                <c:pt idx="4636">
                  <c:v>1924.23999</c:v>
                </c:pt>
                <c:pt idx="4637">
                  <c:v>1927.880005</c:v>
                </c:pt>
                <c:pt idx="4638">
                  <c:v>1940.459961</c:v>
                </c:pt>
                <c:pt idx="4639">
                  <c:v>1949.4399410000001</c:v>
                </c:pt>
                <c:pt idx="4640">
                  <c:v>1951.2700199999999</c:v>
                </c:pt>
                <c:pt idx="4641">
                  <c:v>1950.790039</c:v>
                </c:pt>
                <c:pt idx="4642">
                  <c:v>1943.8900149999999</c:v>
                </c:pt>
                <c:pt idx="4643">
                  <c:v>1930.1099850000001</c:v>
                </c:pt>
                <c:pt idx="4644">
                  <c:v>1936.160034</c:v>
                </c:pt>
                <c:pt idx="4645">
                  <c:v>1937.780029</c:v>
                </c:pt>
                <c:pt idx="4646">
                  <c:v>1941.98999</c:v>
                </c:pt>
                <c:pt idx="4647">
                  <c:v>1956.9799800000001</c:v>
                </c:pt>
                <c:pt idx="4648">
                  <c:v>1959.4799800000001</c:v>
                </c:pt>
                <c:pt idx="4649">
                  <c:v>1962.869995</c:v>
                </c:pt>
                <c:pt idx="4650">
                  <c:v>1962.6099850000001</c:v>
                </c:pt>
                <c:pt idx="4651">
                  <c:v>1949.9799800000001</c:v>
                </c:pt>
                <c:pt idx="4652">
                  <c:v>1959.530029</c:v>
                </c:pt>
                <c:pt idx="4653">
                  <c:v>1957.219971</c:v>
                </c:pt>
                <c:pt idx="4654">
                  <c:v>1960.959961</c:v>
                </c:pt>
                <c:pt idx="4655">
                  <c:v>1960.2299800000001</c:v>
                </c:pt>
                <c:pt idx="4656">
                  <c:v>1973.3199460000001</c:v>
                </c:pt>
                <c:pt idx="4657">
                  <c:v>1974.619995</c:v>
                </c:pt>
                <c:pt idx="4658">
                  <c:v>1985.4399410000001</c:v>
                </c:pt>
                <c:pt idx="4659">
                  <c:v>1977.650024</c:v>
                </c:pt>
                <c:pt idx="4660">
                  <c:v>1963.709961</c:v>
                </c:pt>
                <c:pt idx="4661">
                  <c:v>1972.829956</c:v>
                </c:pt>
                <c:pt idx="4662">
                  <c:v>1964.6800539999999</c:v>
                </c:pt>
                <c:pt idx="4663">
                  <c:v>1967.5699460000001</c:v>
                </c:pt>
                <c:pt idx="4664">
                  <c:v>1977.099976</c:v>
                </c:pt>
                <c:pt idx="4665">
                  <c:v>1973.280029</c:v>
                </c:pt>
                <c:pt idx="4666">
                  <c:v>1981.5699460000001</c:v>
                </c:pt>
                <c:pt idx="4667">
                  <c:v>1958.119995</c:v>
                </c:pt>
                <c:pt idx="4668">
                  <c:v>1978.219971</c:v>
                </c:pt>
                <c:pt idx="4669">
                  <c:v>1973.630005</c:v>
                </c:pt>
                <c:pt idx="4670">
                  <c:v>1983.530029</c:v>
                </c:pt>
                <c:pt idx="4671">
                  <c:v>1987.01001</c:v>
                </c:pt>
                <c:pt idx="4672">
                  <c:v>1987.9799800000001</c:v>
                </c:pt>
                <c:pt idx="4673">
                  <c:v>1978.339966</c:v>
                </c:pt>
                <c:pt idx="4674">
                  <c:v>1978.910034</c:v>
                </c:pt>
                <c:pt idx="4675">
                  <c:v>1969.9499510000001</c:v>
                </c:pt>
                <c:pt idx="4676">
                  <c:v>1970.0699460000001</c:v>
                </c:pt>
                <c:pt idx="4677">
                  <c:v>1930.670044</c:v>
                </c:pt>
                <c:pt idx="4678">
                  <c:v>1925.150024</c:v>
                </c:pt>
                <c:pt idx="4679">
                  <c:v>1938.98999</c:v>
                </c:pt>
                <c:pt idx="4680">
                  <c:v>1920.209961</c:v>
                </c:pt>
                <c:pt idx="4681">
                  <c:v>1920.23999</c:v>
                </c:pt>
                <c:pt idx="4682">
                  <c:v>1909.5699460000001</c:v>
                </c:pt>
                <c:pt idx="4683">
                  <c:v>1931.589966</c:v>
                </c:pt>
                <c:pt idx="4684">
                  <c:v>1936.920044</c:v>
                </c:pt>
                <c:pt idx="4685">
                  <c:v>1933.75</c:v>
                </c:pt>
                <c:pt idx="4686">
                  <c:v>1946.719971</c:v>
                </c:pt>
                <c:pt idx="4687">
                  <c:v>1955.1800539999999</c:v>
                </c:pt>
                <c:pt idx="4688">
                  <c:v>1955.0600589999999</c:v>
                </c:pt>
                <c:pt idx="4689">
                  <c:v>1971.73999</c:v>
                </c:pt>
                <c:pt idx="4690">
                  <c:v>1981.599976</c:v>
                </c:pt>
                <c:pt idx="4691">
                  <c:v>1986.51001</c:v>
                </c:pt>
                <c:pt idx="4692">
                  <c:v>1992.369995</c:v>
                </c:pt>
                <c:pt idx="4693">
                  <c:v>1988.400024</c:v>
                </c:pt>
                <c:pt idx="4694">
                  <c:v>1997.920044</c:v>
                </c:pt>
                <c:pt idx="4695">
                  <c:v>2000.0200199999999</c:v>
                </c:pt>
                <c:pt idx="4696">
                  <c:v>2000.119995</c:v>
                </c:pt>
                <c:pt idx="4697">
                  <c:v>1996.73999</c:v>
                </c:pt>
                <c:pt idx="4698">
                  <c:v>2003.369995</c:v>
                </c:pt>
                <c:pt idx="4699">
                  <c:v>2002.280029</c:v>
                </c:pt>
                <c:pt idx="4700">
                  <c:v>2000.719971</c:v>
                </c:pt>
                <c:pt idx="4701">
                  <c:v>1997.650024</c:v>
                </c:pt>
                <c:pt idx="4702">
                  <c:v>2007.709961</c:v>
                </c:pt>
                <c:pt idx="4703">
                  <c:v>2001.540039</c:v>
                </c:pt>
                <c:pt idx="4704">
                  <c:v>1988.4399410000001</c:v>
                </c:pt>
                <c:pt idx="4705">
                  <c:v>1995.6899410000001</c:v>
                </c:pt>
                <c:pt idx="4706">
                  <c:v>1997.4499510000001</c:v>
                </c:pt>
                <c:pt idx="4707">
                  <c:v>1985.540039</c:v>
                </c:pt>
                <c:pt idx="4708">
                  <c:v>1984.130005</c:v>
                </c:pt>
                <c:pt idx="4709">
                  <c:v>1998.9799800000001</c:v>
                </c:pt>
                <c:pt idx="4710">
                  <c:v>2001.5699460000001</c:v>
                </c:pt>
                <c:pt idx="4711">
                  <c:v>2011.3599850000001</c:v>
                </c:pt>
                <c:pt idx="4712">
                  <c:v>2010.400024</c:v>
                </c:pt>
                <c:pt idx="4713">
                  <c:v>1994.290039</c:v>
                </c:pt>
                <c:pt idx="4714">
                  <c:v>1982.7700199999999</c:v>
                </c:pt>
                <c:pt idx="4715">
                  <c:v>1998.3000489999999</c:v>
                </c:pt>
                <c:pt idx="4716">
                  <c:v>1965.98999</c:v>
                </c:pt>
                <c:pt idx="4717">
                  <c:v>1982.849976</c:v>
                </c:pt>
                <c:pt idx="4718">
                  <c:v>1977.8000489999999</c:v>
                </c:pt>
                <c:pt idx="4719">
                  <c:v>1972.290039</c:v>
                </c:pt>
                <c:pt idx="4720">
                  <c:v>1946.160034</c:v>
                </c:pt>
                <c:pt idx="4721">
                  <c:v>1946.170044</c:v>
                </c:pt>
                <c:pt idx="4722">
                  <c:v>1967.900024</c:v>
                </c:pt>
                <c:pt idx="4723">
                  <c:v>1964.8199460000001</c:v>
                </c:pt>
                <c:pt idx="4724">
                  <c:v>1935.099976</c:v>
                </c:pt>
                <c:pt idx="4725">
                  <c:v>1968.8900149999999</c:v>
                </c:pt>
                <c:pt idx="4726">
                  <c:v>1928.209961</c:v>
                </c:pt>
                <c:pt idx="4727">
                  <c:v>1906.130005</c:v>
                </c:pt>
                <c:pt idx="4728">
                  <c:v>1874.73999</c:v>
                </c:pt>
                <c:pt idx="4729">
                  <c:v>1877.6999510000001</c:v>
                </c:pt>
                <c:pt idx="4730">
                  <c:v>1862.48999</c:v>
                </c:pt>
                <c:pt idx="4731">
                  <c:v>1862.76001</c:v>
                </c:pt>
                <c:pt idx="4732">
                  <c:v>1886.76001</c:v>
                </c:pt>
                <c:pt idx="4733">
                  <c:v>1904.01001</c:v>
                </c:pt>
                <c:pt idx="4734">
                  <c:v>1941.280029</c:v>
                </c:pt>
                <c:pt idx="4735">
                  <c:v>1927.1099850000001</c:v>
                </c:pt>
                <c:pt idx="4736">
                  <c:v>1950.8199460000001</c:v>
                </c:pt>
                <c:pt idx="4737">
                  <c:v>1964.579956</c:v>
                </c:pt>
                <c:pt idx="4738">
                  <c:v>1961.630005</c:v>
                </c:pt>
                <c:pt idx="4739">
                  <c:v>1985.0500489999999</c:v>
                </c:pt>
                <c:pt idx="4740">
                  <c:v>1982.3000489999999</c:v>
                </c:pt>
                <c:pt idx="4741">
                  <c:v>1994.650024</c:v>
                </c:pt>
                <c:pt idx="4742">
                  <c:v>2018.0500489999999</c:v>
                </c:pt>
                <c:pt idx="4743">
                  <c:v>2017.8100589999999</c:v>
                </c:pt>
                <c:pt idx="4744">
                  <c:v>2012.099976</c:v>
                </c:pt>
                <c:pt idx="4745">
                  <c:v>2023.5699460000001</c:v>
                </c:pt>
                <c:pt idx="4746">
                  <c:v>2031.209961</c:v>
                </c:pt>
                <c:pt idx="4747">
                  <c:v>2031.920044</c:v>
                </c:pt>
                <c:pt idx="4748">
                  <c:v>2038.26001</c:v>
                </c:pt>
                <c:pt idx="4749">
                  <c:v>2039.6800539999999</c:v>
                </c:pt>
                <c:pt idx="4750">
                  <c:v>2038.25</c:v>
                </c:pt>
                <c:pt idx="4751">
                  <c:v>2039.329956</c:v>
                </c:pt>
                <c:pt idx="4752">
                  <c:v>2039.8199460000001</c:v>
                </c:pt>
                <c:pt idx="4753">
                  <c:v>2041.3199460000001</c:v>
                </c:pt>
                <c:pt idx="4754">
                  <c:v>2051.8000489999999</c:v>
                </c:pt>
                <c:pt idx="4755">
                  <c:v>2048.719971</c:v>
                </c:pt>
                <c:pt idx="4756">
                  <c:v>2052.75</c:v>
                </c:pt>
                <c:pt idx="4757">
                  <c:v>2063.5</c:v>
                </c:pt>
                <c:pt idx="4758">
                  <c:v>2069.4099120000001</c:v>
                </c:pt>
                <c:pt idx="4759">
                  <c:v>2067.030029</c:v>
                </c:pt>
                <c:pt idx="4760">
                  <c:v>2072.830078</c:v>
                </c:pt>
                <c:pt idx="4761">
                  <c:v>2067.5600589999999</c:v>
                </c:pt>
                <c:pt idx="4762">
                  <c:v>2053.4399410000001</c:v>
                </c:pt>
                <c:pt idx="4763">
                  <c:v>2066.5500489999999</c:v>
                </c:pt>
                <c:pt idx="4764">
                  <c:v>2074.330078</c:v>
                </c:pt>
                <c:pt idx="4765">
                  <c:v>2071.919922</c:v>
                </c:pt>
                <c:pt idx="4766">
                  <c:v>2075.3701169999999</c:v>
                </c:pt>
                <c:pt idx="4767">
                  <c:v>2060.3100589999999</c:v>
                </c:pt>
                <c:pt idx="4768">
                  <c:v>2059.820068</c:v>
                </c:pt>
                <c:pt idx="4769">
                  <c:v>2026.1400149999999</c:v>
                </c:pt>
                <c:pt idx="4770">
                  <c:v>2035.329956</c:v>
                </c:pt>
                <c:pt idx="4771">
                  <c:v>2002.329956</c:v>
                </c:pt>
                <c:pt idx="4772">
                  <c:v>1989.630005</c:v>
                </c:pt>
                <c:pt idx="4773">
                  <c:v>1972.73999</c:v>
                </c:pt>
                <c:pt idx="4774">
                  <c:v>2012.8900149999999</c:v>
                </c:pt>
                <c:pt idx="4775">
                  <c:v>2061.2299800000001</c:v>
                </c:pt>
                <c:pt idx="4776">
                  <c:v>2070.6499020000001</c:v>
                </c:pt>
                <c:pt idx="4777">
                  <c:v>2078.540039</c:v>
                </c:pt>
                <c:pt idx="4778">
                  <c:v>2082.169922</c:v>
                </c:pt>
                <c:pt idx="4779">
                  <c:v>2081.8798830000001</c:v>
                </c:pt>
                <c:pt idx="4780">
                  <c:v>2088.7700199999999</c:v>
                </c:pt>
                <c:pt idx="4781">
                  <c:v>2090.570068</c:v>
                </c:pt>
                <c:pt idx="4782">
                  <c:v>2080.3500979999999</c:v>
                </c:pt>
                <c:pt idx="4783">
                  <c:v>2058.8999020000001</c:v>
                </c:pt>
                <c:pt idx="4784">
                  <c:v>2058.1999510000001</c:v>
                </c:pt>
                <c:pt idx="4785">
                  <c:v>2020.579956</c:v>
                </c:pt>
                <c:pt idx="4786">
                  <c:v>2002.6099850000001</c:v>
                </c:pt>
                <c:pt idx="4787">
                  <c:v>2025.900024</c:v>
                </c:pt>
                <c:pt idx="4788">
                  <c:v>2062.139893</c:v>
                </c:pt>
                <c:pt idx="4789">
                  <c:v>2044.8100589999999</c:v>
                </c:pt>
                <c:pt idx="4790">
                  <c:v>2028.26001</c:v>
                </c:pt>
                <c:pt idx="4791">
                  <c:v>2023.030029</c:v>
                </c:pt>
                <c:pt idx="4792">
                  <c:v>2011.2700199999999</c:v>
                </c:pt>
                <c:pt idx="4793">
                  <c:v>1992.670044</c:v>
                </c:pt>
                <c:pt idx="4794">
                  <c:v>2019.420044</c:v>
                </c:pt>
                <c:pt idx="4795">
                  <c:v>2022.5500489999999</c:v>
                </c:pt>
                <c:pt idx="4796">
                  <c:v>2032.119995</c:v>
                </c:pt>
                <c:pt idx="4797">
                  <c:v>2063.1499020000001</c:v>
                </c:pt>
                <c:pt idx="4798">
                  <c:v>2051.820068</c:v>
                </c:pt>
                <c:pt idx="4799">
                  <c:v>2057.0900879999999</c:v>
                </c:pt>
                <c:pt idx="4800">
                  <c:v>2029.5500489999999</c:v>
                </c:pt>
                <c:pt idx="4801">
                  <c:v>2002.160034</c:v>
                </c:pt>
                <c:pt idx="4802">
                  <c:v>2021.25</c:v>
                </c:pt>
                <c:pt idx="4803">
                  <c:v>1994.98999</c:v>
                </c:pt>
                <c:pt idx="4804">
                  <c:v>2020.849976</c:v>
                </c:pt>
                <c:pt idx="4805">
                  <c:v>2050.030029</c:v>
                </c:pt>
                <c:pt idx="4806">
                  <c:v>2041.51001</c:v>
                </c:pt>
                <c:pt idx="4807">
                  <c:v>2062.5200199999999</c:v>
                </c:pt>
                <c:pt idx="4808">
                  <c:v>2055.469971</c:v>
                </c:pt>
                <c:pt idx="4809">
                  <c:v>2046.73999</c:v>
                </c:pt>
                <c:pt idx="4810">
                  <c:v>2068.5900879999999</c:v>
                </c:pt>
                <c:pt idx="4811">
                  <c:v>2068.530029</c:v>
                </c:pt>
                <c:pt idx="4812">
                  <c:v>2088.4799800000001</c:v>
                </c:pt>
                <c:pt idx="4813">
                  <c:v>2096.98999</c:v>
                </c:pt>
                <c:pt idx="4814">
                  <c:v>2100.3400879999999</c:v>
                </c:pt>
                <c:pt idx="4815">
                  <c:v>2099.679932</c:v>
                </c:pt>
                <c:pt idx="4816">
                  <c:v>2097.4499510000001</c:v>
                </c:pt>
                <c:pt idx="4817">
                  <c:v>2110.3000489999999</c:v>
                </c:pt>
                <c:pt idx="4818">
                  <c:v>2109.6599120000001</c:v>
                </c:pt>
                <c:pt idx="4819">
                  <c:v>2115.4799800000001</c:v>
                </c:pt>
                <c:pt idx="4820">
                  <c:v>2113.860107</c:v>
                </c:pt>
                <c:pt idx="4821">
                  <c:v>2110.73999</c:v>
                </c:pt>
                <c:pt idx="4822">
                  <c:v>2104.5</c:v>
                </c:pt>
                <c:pt idx="4823">
                  <c:v>2117.389893</c:v>
                </c:pt>
                <c:pt idx="4824">
                  <c:v>2107.780029</c:v>
                </c:pt>
                <c:pt idx="4825">
                  <c:v>2098.530029</c:v>
                </c:pt>
                <c:pt idx="4826">
                  <c:v>2101.040039</c:v>
                </c:pt>
                <c:pt idx="4827">
                  <c:v>2071.26001</c:v>
                </c:pt>
                <c:pt idx="4828">
                  <c:v>2079.429932</c:v>
                </c:pt>
                <c:pt idx="4829">
                  <c:v>2044.160034</c:v>
                </c:pt>
                <c:pt idx="4830">
                  <c:v>2040.23999</c:v>
                </c:pt>
                <c:pt idx="4831">
                  <c:v>2065.9499510000001</c:v>
                </c:pt>
                <c:pt idx="4832">
                  <c:v>2053.3999020000001</c:v>
                </c:pt>
                <c:pt idx="4833">
                  <c:v>2081.1899410000001</c:v>
                </c:pt>
                <c:pt idx="4834">
                  <c:v>2074.280029</c:v>
                </c:pt>
                <c:pt idx="4835">
                  <c:v>2099.5</c:v>
                </c:pt>
                <c:pt idx="4836">
                  <c:v>2089.2700199999999</c:v>
                </c:pt>
                <c:pt idx="4837">
                  <c:v>2108.1000979999999</c:v>
                </c:pt>
                <c:pt idx="4838">
                  <c:v>2104.419922</c:v>
                </c:pt>
                <c:pt idx="4839">
                  <c:v>2091.5</c:v>
                </c:pt>
                <c:pt idx="4840">
                  <c:v>2061.0500489999999</c:v>
                </c:pt>
                <c:pt idx="4841">
                  <c:v>2056.1499020000001</c:v>
                </c:pt>
                <c:pt idx="4842">
                  <c:v>2061.0200199999999</c:v>
                </c:pt>
                <c:pt idx="4843">
                  <c:v>2086.23999</c:v>
                </c:pt>
                <c:pt idx="4844">
                  <c:v>2067.889893</c:v>
                </c:pt>
                <c:pt idx="4845">
                  <c:v>2059.6899410000001</c:v>
                </c:pt>
                <c:pt idx="4846">
                  <c:v>2066.959961</c:v>
                </c:pt>
                <c:pt idx="4847">
                  <c:v>2080.6201169999999</c:v>
                </c:pt>
                <c:pt idx="4848">
                  <c:v>2076.330078</c:v>
                </c:pt>
                <c:pt idx="4849">
                  <c:v>2081.8999020000001</c:v>
                </c:pt>
                <c:pt idx="4850">
                  <c:v>2091.179932</c:v>
                </c:pt>
                <c:pt idx="4851">
                  <c:v>2102.0600589999999</c:v>
                </c:pt>
                <c:pt idx="4852">
                  <c:v>2092.429932</c:v>
                </c:pt>
                <c:pt idx="4853">
                  <c:v>2095.8400879999999</c:v>
                </c:pt>
                <c:pt idx="4854">
                  <c:v>2106.6298830000001</c:v>
                </c:pt>
                <c:pt idx="4855">
                  <c:v>2104.98999</c:v>
                </c:pt>
                <c:pt idx="4856">
                  <c:v>2081.179932</c:v>
                </c:pt>
                <c:pt idx="4857">
                  <c:v>2100.3999020000001</c:v>
                </c:pt>
                <c:pt idx="4858">
                  <c:v>2097.290039</c:v>
                </c:pt>
                <c:pt idx="4859">
                  <c:v>2107.959961</c:v>
                </c:pt>
                <c:pt idx="4860">
                  <c:v>2112.929932</c:v>
                </c:pt>
                <c:pt idx="4861">
                  <c:v>2117.6899410000001</c:v>
                </c:pt>
                <c:pt idx="4862">
                  <c:v>2108.919922</c:v>
                </c:pt>
                <c:pt idx="4863">
                  <c:v>2114.76001</c:v>
                </c:pt>
                <c:pt idx="4864">
                  <c:v>2106.8500979999999</c:v>
                </c:pt>
                <c:pt idx="4865">
                  <c:v>2085.51001</c:v>
                </c:pt>
                <c:pt idx="4866">
                  <c:v>2108.290039</c:v>
                </c:pt>
                <c:pt idx="4867">
                  <c:v>2114.48999</c:v>
                </c:pt>
                <c:pt idx="4868">
                  <c:v>2089.459961</c:v>
                </c:pt>
                <c:pt idx="4869">
                  <c:v>2080.1499020000001</c:v>
                </c:pt>
                <c:pt idx="4870">
                  <c:v>2088</c:v>
                </c:pt>
                <c:pt idx="4871">
                  <c:v>2116.1000979999999</c:v>
                </c:pt>
                <c:pt idx="4872">
                  <c:v>2105.330078</c:v>
                </c:pt>
                <c:pt idx="4873">
                  <c:v>2099.1201169999999</c:v>
                </c:pt>
                <c:pt idx="4874">
                  <c:v>2098.4799800000001</c:v>
                </c:pt>
                <c:pt idx="4875">
                  <c:v>2121.1000979999999</c:v>
                </c:pt>
                <c:pt idx="4876">
                  <c:v>2122.7299800000001</c:v>
                </c:pt>
                <c:pt idx="4877">
                  <c:v>2129.1999510000001</c:v>
                </c:pt>
                <c:pt idx="4878">
                  <c:v>2127.830078</c:v>
                </c:pt>
                <c:pt idx="4879">
                  <c:v>2125.8500979999999</c:v>
                </c:pt>
                <c:pt idx="4880">
                  <c:v>2130.820068</c:v>
                </c:pt>
                <c:pt idx="4881">
                  <c:v>2126.0600589999999</c:v>
                </c:pt>
                <c:pt idx="4882">
                  <c:v>2104.1999510000001</c:v>
                </c:pt>
                <c:pt idx="4883">
                  <c:v>2123.4799800000001</c:v>
                </c:pt>
                <c:pt idx="4884">
                  <c:v>2120.790039</c:v>
                </c:pt>
                <c:pt idx="4885">
                  <c:v>2107.389893</c:v>
                </c:pt>
                <c:pt idx="4886">
                  <c:v>2111.7299800000001</c:v>
                </c:pt>
                <c:pt idx="4887">
                  <c:v>2109.6000979999999</c:v>
                </c:pt>
                <c:pt idx="4888">
                  <c:v>2114.070068</c:v>
                </c:pt>
                <c:pt idx="4889">
                  <c:v>2095.8400879999999</c:v>
                </c:pt>
                <c:pt idx="4890">
                  <c:v>2092.830078</c:v>
                </c:pt>
                <c:pt idx="4891">
                  <c:v>2079.280029</c:v>
                </c:pt>
                <c:pt idx="4892">
                  <c:v>2080.1499020000001</c:v>
                </c:pt>
                <c:pt idx="4893">
                  <c:v>2105.1999510000001</c:v>
                </c:pt>
                <c:pt idx="4894">
                  <c:v>2108.860107</c:v>
                </c:pt>
                <c:pt idx="4895">
                  <c:v>2094.110107</c:v>
                </c:pt>
                <c:pt idx="4896">
                  <c:v>2084.429932</c:v>
                </c:pt>
                <c:pt idx="4897">
                  <c:v>2096.290039</c:v>
                </c:pt>
                <c:pt idx="4898">
                  <c:v>2100.4399410000001</c:v>
                </c:pt>
                <c:pt idx="4899">
                  <c:v>2121.23999</c:v>
                </c:pt>
                <c:pt idx="4900">
                  <c:v>2109.98999</c:v>
                </c:pt>
                <c:pt idx="4901">
                  <c:v>2122.8500979999999</c:v>
                </c:pt>
                <c:pt idx="4902">
                  <c:v>2124.1999510000001</c:v>
                </c:pt>
                <c:pt idx="4903">
                  <c:v>2108.580078</c:v>
                </c:pt>
                <c:pt idx="4904">
                  <c:v>2102.3100589999999</c:v>
                </c:pt>
                <c:pt idx="4905">
                  <c:v>2101.48999</c:v>
                </c:pt>
                <c:pt idx="4906">
                  <c:v>2057.639893</c:v>
                </c:pt>
                <c:pt idx="4907">
                  <c:v>2063.110107</c:v>
                </c:pt>
                <c:pt idx="4908">
                  <c:v>2077.419922</c:v>
                </c:pt>
                <c:pt idx="4909">
                  <c:v>2076.780029</c:v>
                </c:pt>
                <c:pt idx="4910">
                  <c:v>2068.76001</c:v>
                </c:pt>
                <c:pt idx="4911">
                  <c:v>2081.3400879999999</c:v>
                </c:pt>
                <c:pt idx="4912">
                  <c:v>2046.6800539999999</c:v>
                </c:pt>
                <c:pt idx="4913">
                  <c:v>2051.3100589999999</c:v>
                </c:pt>
                <c:pt idx="4914">
                  <c:v>2076.6201169999999</c:v>
                </c:pt>
                <c:pt idx="4915">
                  <c:v>2099.6000979999999</c:v>
                </c:pt>
                <c:pt idx="4916">
                  <c:v>2108.9499510000001</c:v>
                </c:pt>
                <c:pt idx="4917">
                  <c:v>2107.3999020000001</c:v>
                </c:pt>
                <c:pt idx="4918">
                  <c:v>2124.290039</c:v>
                </c:pt>
                <c:pt idx="4919">
                  <c:v>2126.639893</c:v>
                </c:pt>
                <c:pt idx="4920">
                  <c:v>2128.280029</c:v>
                </c:pt>
                <c:pt idx="4921">
                  <c:v>2119.209961</c:v>
                </c:pt>
                <c:pt idx="4922">
                  <c:v>2114.1499020000001</c:v>
                </c:pt>
                <c:pt idx="4923">
                  <c:v>2102.1499020000001</c:v>
                </c:pt>
                <c:pt idx="4924">
                  <c:v>2079.6499020000001</c:v>
                </c:pt>
                <c:pt idx="4925">
                  <c:v>2067.639893</c:v>
                </c:pt>
                <c:pt idx="4926">
                  <c:v>2093.25</c:v>
                </c:pt>
                <c:pt idx="4927">
                  <c:v>2108.570068</c:v>
                </c:pt>
                <c:pt idx="4928">
                  <c:v>2108.6298830000001</c:v>
                </c:pt>
                <c:pt idx="4929">
                  <c:v>2103.8400879999999</c:v>
                </c:pt>
                <c:pt idx="4930">
                  <c:v>2098.040039</c:v>
                </c:pt>
                <c:pt idx="4931">
                  <c:v>2093.320068</c:v>
                </c:pt>
                <c:pt idx="4932">
                  <c:v>2099.8400879999999</c:v>
                </c:pt>
                <c:pt idx="4933">
                  <c:v>2083.5600589999999</c:v>
                </c:pt>
                <c:pt idx="4934">
                  <c:v>2077.570068</c:v>
                </c:pt>
                <c:pt idx="4935">
                  <c:v>2104.179932</c:v>
                </c:pt>
                <c:pt idx="4936">
                  <c:v>2084.070068</c:v>
                </c:pt>
                <c:pt idx="4937">
                  <c:v>2086.0500489999999</c:v>
                </c:pt>
                <c:pt idx="4938">
                  <c:v>2083.389893</c:v>
                </c:pt>
                <c:pt idx="4939">
                  <c:v>2091.540039</c:v>
                </c:pt>
                <c:pt idx="4940">
                  <c:v>2102.4399410000001</c:v>
                </c:pt>
                <c:pt idx="4941">
                  <c:v>2096.919922</c:v>
                </c:pt>
                <c:pt idx="4942">
                  <c:v>2079.610107</c:v>
                </c:pt>
                <c:pt idx="4943">
                  <c:v>2035.7299800000001</c:v>
                </c:pt>
                <c:pt idx="4944">
                  <c:v>1970.8900149999999</c:v>
                </c:pt>
                <c:pt idx="4945">
                  <c:v>1893.209961</c:v>
                </c:pt>
                <c:pt idx="4946">
                  <c:v>1867.6099850000001</c:v>
                </c:pt>
                <c:pt idx="4947">
                  <c:v>1940.51001</c:v>
                </c:pt>
                <c:pt idx="4948">
                  <c:v>1987.660034</c:v>
                </c:pt>
                <c:pt idx="4949">
                  <c:v>1988.869995</c:v>
                </c:pt>
                <c:pt idx="4950">
                  <c:v>1972.1800539999999</c:v>
                </c:pt>
                <c:pt idx="4951">
                  <c:v>1913.849976</c:v>
                </c:pt>
                <c:pt idx="4952">
                  <c:v>1948.8599850000001</c:v>
                </c:pt>
                <c:pt idx="4953">
                  <c:v>1951.130005</c:v>
                </c:pt>
                <c:pt idx="4954">
                  <c:v>1921.219971</c:v>
                </c:pt>
                <c:pt idx="4955">
                  <c:v>1969.410034</c:v>
                </c:pt>
                <c:pt idx="4956">
                  <c:v>1942.040039</c:v>
                </c:pt>
                <c:pt idx="4957">
                  <c:v>1952.290039</c:v>
                </c:pt>
                <c:pt idx="4958">
                  <c:v>1961.0500489999999</c:v>
                </c:pt>
                <c:pt idx="4959">
                  <c:v>1953.030029</c:v>
                </c:pt>
                <c:pt idx="4960">
                  <c:v>1978.089966</c:v>
                </c:pt>
                <c:pt idx="4961">
                  <c:v>1995.3100589999999</c:v>
                </c:pt>
                <c:pt idx="4962">
                  <c:v>1990.1999510000001</c:v>
                </c:pt>
                <c:pt idx="4963">
                  <c:v>1958.030029</c:v>
                </c:pt>
                <c:pt idx="4964">
                  <c:v>1966.969971</c:v>
                </c:pt>
                <c:pt idx="4965">
                  <c:v>1942.73999</c:v>
                </c:pt>
                <c:pt idx="4966">
                  <c:v>1938.76001</c:v>
                </c:pt>
                <c:pt idx="4967">
                  <c:v>1932.23999</c:v>
                </c:pt>
                <c:pt idx="4968">
                  <c:v>1931.339966</c:v>
                </c:pt>
                <c:pt idx="4969">
                  <c:v>1881.7700199999999</c:v>
                </c:pt>
                <c:pt idx="4970">
                  <c:v>1884.089966</c:v>
                </c:pt>
                <c:pt idx="4971">
                  <c:v>1920.030029</c:v>
                </c:pt>
                <c:pt idx="4972">
                  <c:v>1923.8199460000001</c:v>
                </c:pt>
                <c:pt idx="4973">
                  <c:v>1951.3599850000001</c:v>
                </c:pt>
                <c:pt idx="4974">
                  <c:v>1987.0500489999999</c:v>
                </c:pt>
                <c:pt idx="4975">
                  <c:v>1979.920044</c:v>
                </c:pt>
                <c:pt idx="4976">
                  <c:v>1995.829956</c:v>
                </c:pt>
                <c:pt idx="4977">
                  <c:v>2013.4300539999999</c:v>
                </c:pt>
                <c:pt idx="4978">
                  <c:v>2014.8900149999999</c:v>
                </c:pt>
                <c:pt idx="4979">
                  <c:v>2017.459961</c:v>
                </c:pt>
                <c:pt idx="4980">
                  <c:v>2003.6899410000001</c:v>
                </c:pt>
                <c:pt idx="4981">
                  <c:v>1994.23999</c:v>
                </c:pt>
                <c:pt idx="4982">
                  <c:v>2023.8599850000001</c:v>
                </c:pt>
                <c:pt idx="4983">
                  <c:v>2033.1099850000001</c:v>
                </c:pt>
                <c:pt idx="4984">
                  <c:v>2033.660034</c:v>
                </c:pt>
                <c:pt idx="4985">
                  <c:v>2030.7700199999999</c:v>
                </c:pt>
                <c:pt idx="4986">
                  <c:v>2018.9399410000001</c:v>
                </c:pt>
                <c:pt idx="4987">
                  <c:v>2052.51001</c:v>
                </c:pt>
                <c:pt idx="4988">
                  <c:v>2075.1499020000001</c:v>
                </c:pt>
                <c:pt idx="4989">
                  <c:v>2071.179932</c:v>
                </c:pt>
                <c:pt idx="4990">
                  <c:v>2065.889893</c:v>
                </c:pt>
                <c:pt idx="4991">
                  <c:v>2090.3500979999999</c:v>
                </c:pt>
                <c:pt idx="4992">
                  <c:v>2089.4099120000001</c:v>
                </c:pt>
                <c:pt idx="4993">
                  <c:v>2079.360107</c:v>
                </c:pt>
                <c:pt idx="4994">
                  <c:v>2104.0500489999999</c:v>
                </c:pt>
                <c:pt idx="4995">
                  <c:v>2109.790039</c:v>
                </c:pt>
                <c:pt idx="4996">
                  <c:v>2102.3100589999999</c:v>
                </c:pt>
                <c:pt idx="4997">
                  <c:v>2099.929932</c:v>
                </c:pt>
                <c:pt idx="4998">
                  <c:v>2099.1999510000001</c:v>
                </c:pt>
                <c:pt idx="4999">
                  <c:v>2078.580078</c:v>
                </c:pt>
                <c:pt idx="5000">
                  <c:v>2081.719971</c:v>
                </c:pt>
                <c:pt idx="5001">
                  <c:v>2075</c:v>
                </c:pt>
                <c:pt idx="5002">
                  <c:v>2045.969971</c:v>
                </c:pt>
                <c:pt idx="5003">
                  <c:v>2023.040039</c:v>
                </c:pt>
                <c:pt idx="5004">
                  <c:v>2053.1899410000001</c:v>
                </c:pt>
                <c:pt idx="5005">
                  <c:v>2050.4399410000001</c:v>
                </c:pt>
                <c:pt idx="5006">
                  <c:v>2083.580078</c:v>
                </c:pt>
                <c:pt idx="5007">
                  <c:v>2081.23999</c:v>
                </c:pt>
                <c:pt idx="5008">
                  <c:v>2089.169922</c:v>
                </c:pt>
                <c:pt idx="5009">
                  <c:v>2086.5900879999999</c:v>
                </c:pt>
                <c:pt idx="5010">
                  <c:v>2089.139893</c:v>
                </c:pt>
                <c:pt idx="5011">
                  <c:v>2088.8701169999999</c:v>
                </c:pt>
                <c:pt idx="5012">
                  <c:v>2090.110107</c:v>
                </c:pt>
                <c:pt idx="5013">
                  <c:v>2080.4099120000001</c:v>
                </c:pt>
                <c:pt idx="5014">
                  <c:v>2102.6298830000001</c:v>
                </c:pt>
                <c:pt idx="5015">
                  <c:v>2079.51001</c:v>
                </c:pt>
                <c:pt idx="5016">
                  <c:v>2049.6201169999999</c:v>
                </c:pt>
                <c:pt idx="5017">
                  <c:v>2091.6899410000001</c:v>
                </c:pt>
                <c:pt idx="5018">
                  <c:v>2077.070068</c:v>
                </c:pt>
                <c:pt idx="5019">
                  <c:v>2063.5900879999999</c:v>
                </c:pt>
                <c:pt idx="5020">
                  <c:v>2047.619995</c:v>
                </c:pt>
                <c:pt idx="5021">
                  <c:v>2052.2299800000001</c:v>
                </c:pt>
                <c:pt idx="5022">
                  <c:v>2012.369995</c:v>
                </c:pt>
                <c:pt idx="5023">
                  <c:v>2021.9399410000001</c:v>
                </c:pt>
                <c:pt idx="5024">
                  <c:v>2043.410034</c:v>
                </c:pt>
                <c:pt idx="5025">
                  <c:v>2073.070068</c:v>
                </c:pt>
                <c:pt idx="5026">
                  <c:v>2041.8900149999999</c:v>
                </c:pt>
                <c:pt idx="5027">
                  <c:v>2005.5500489999999</c:v>
                </c:pt>
                <c:pt idx="5028">
                  <c:v>2021.150024</c:v>
                </c:pt>
                <c:pt idx="5029">
                  <c:v>2038.969971</c:v>
                </c:pt>
                <c:pt idx="5030">
                  <c:v>2064.290039</c:v>
                </c:pt>
                <c:pt idx="5031">
                  <c:v>2060.98999</c:v>
                </c:pt>
                <c:pt idx="5032">
                  <c:v>2056.5</c:v>
                </c:pt>
                <c:pt idx="5033">
                  <c:v>2078.360107</c:v>
                </c:pt>
                <c:pt idx="5034">
                  <c:v>2063.360107</c:v>
                </c:pt>
                <c:pt idx="5035">
                  <c:v>2043.9399410000001</c:v>
                </c:pt>
                <c:pt idx="5036">
                  <c:v>2012.660034</c:v>
                </c:pt>
                <c:pt idx="5037">
                  <c:v>2016.709961</c:v>
                </c:pt>
                <c:pt idx="5038">
                  <c:v>1990.26001</c:v>
                </c:pt>
                <c:pt idx="5039">
                  <c:v>1943.089966</c:v>
                </c:pt>
                <c:pt idx="5040">
                  <c:v>1922.030029</c:v>
                </c:pt>
                <c:pt idx="5041">
                  <c:v>1923.670044</c:v>
                </c:pt>
                <c:pt idx="5042">
                  <c:v>1938.6800539999999</c:v>
                </c:pt>
                <c:pt idx="5043">
                  <c:v>1890.280029</c:v>
                </c:pt>
                <c:pt idx="5044">
                  <c:v>1921.839966</c:v>
                </c:pt>
                <c:pt idx="5045">
                  <c:v>1880.329956</c:v>
                </c:pt>
                <c:pt idx="5046">
                  <c:v>1881.329956</c:v>
                </c:pt>
                <c:pt idx="5047">
                  <c:v>1859.329956</c:v>
                </c:pt>
                <c:pt idx="5048">
                  <c:v>1868.98999</c:v>
                </c:pt>
                <c:pt idx="5049">
                  <c:v>1906.900024</c:v>
                </c:pt>
                <c:pt idx="5050">
                  <c:v>1877.079956</c:v>
                </c:pt>
                <c:pt idx="5051">
                  <c:v>1903.630005</c:v>
                </c:pt>
                <c:pt idx="5052">
                  <c:v>1882.9499510000001</c:v>
                </c:pt>
                <c:pt idx="5053">
                  <c:v>1893.3599850000001</c:v>
                </c:pt>
                <c:pt idx="5054">
                  <c:v>1940.23999</c:v>
                </c:pt>
                <c:pt idx="5055">
                  <c:v>1939.380005</c:v>
                </c:pt>
                <c:pt idx="5056">
                  <c:v>1903.030029</c:v>
                </c:pt>
                <c:pt idx="5057">
                  <c:v>1912.530029</c:v>
                </c:pt>
                <c:pt idx="5058">
                  <c:v>1915.4499510000001</c:v>
                </c:pt>
                <c:pt idx="5059">
                  <c:v>1880.0500489999999</c:v>
                </c:pt>
                <c:pt idx="5060">
                  <c:v>1853.4399410000001</c:v>
                </c:pt>
                <c:pt idx="5061">
                  <c:v>1852.209961</c:v>
                </c:pt>
                <c:pt idx="5062">
                  <c:v>1851.8599850000001</c:v>
                </c:pt>
                <c:pt idx="5063">
                  <c:v>1829.079956</c:v>
                </c:pt>
                <c:pt idx="5064">
                  <c:v>1864.780029</c:v>
                </c:pt>
                <c:pt idx="5065">
                  <c:v>1895.579956</c:v>
                </c:pt>
                <c:pt idx="5066">
                  <c:v>1926.8199460000001</c:v>
                </c:pt>
                <c:pt idx="5067">
                  <c:v>1917.829956</c:v>
                </c:pt>
                <c:pt idx="5068">
                  <c:v>1917.780029</c:v>
                </c:pt>
                <c:pt idx="5069">
                  <c:v>1945.5</c:v>
                </c:pt>
                <c:pt idx="5070">
                  <c:v>1921.2700199999999</c:v>
                </c:pt>
                <c:pt idx="5071">
                  <c:v>1929.8000489999999</c:v>
                </c:pt>
                <c:pt idx="5072">
                  <c:v>1951.6999510000001</c:v>
                </c:pt>
                <c:pt idx="5073">
                  <c:v>1948.0500489999999</c:v>
                </c:pt>
                <c:pt idx="5074">
                  <c:v>1932.2299800000001</c:v>
                </c:pt>
                <c:pt idx="5075">
                  <c:v>1978.349976</c:v>
                </c:pt>
                <c:pt idx="5076">
                  <c:v>1986.4499510000001</c:v>
                </c:pt>
                <c:pt idx="5077">
                  <c:v>1993.400024</c:v>
                </c:pt>
                <c:pt idx="5078">
                  <c:v>1999.98999</c:v>
                </c:pt>
                <c:pt idx="5079">
                  <c:v>2001.76001</c:v>
                </c:pt>
                <c:pt idx="5080">
                  <c:v>1979.26001</c:v>
                </c:pt>
                <c:pt idx="5081">
                  <c:v>1989.26001</c:v>
                </c:pt>
                <c:pt idx="5082">
                  <c:v>1989.5699460000001</c:v>
                </c:pt>
                <c:pt idx="5083">
                  <c:v>2022.1899410000001</c:v>
                </c:pt>
                <c:pt idx="5084">
                  <c:v>2019.6400149999999</c:v>
                </c:pt>
                <c:pt idx="5085">
                  <c:v>2015.9300539999999</c:v>
                </c:pt>
                <c:pt idx="5086">
                  <c:v>2027.219971</c:v>
                </c:pt>
                <c:pt idx="5087">
                  <c:v>2040.589966</c:v>
                </c:pt>
                <c:pt idx="5088">
                  <c:v>2049.580078</c:v>
                </c:pt>
                <c:pt idx="5089">
                  <c:v>2051.6000979999999</c:v>
                </c:pt>
                <c:pt idx="5090">
                  <c:v>2049.8000489999999</c:v>
                </c:pt>
                <c:pt idx="5091">
                  <c:v>2036.709961</c:v>
                </c:pt>
                <c:pt idx="5092">
                  <c:v>2035.9399410000001</c:v>
                </c:pt>
                <c:pt idx="5093">
                  <c:v>2037.0500489999999</c:v>
                </c:pt>
                <c:pt idx="5094">
                  <c:v>2055.01001</c:v>
                </c:pt>
                <c:pt idx="5095">
                  <c:v>2063.9499510000001</c:v>
                </c:pt>
                <c:pt idx="5096">
                  <c:v>2059.73999</c:v>
                </c:pt>
                <c:pt idx="5097">
                  <c:v>2072.780029</c:v>
                </c:pt>
                <c:pt idx="5098">
                  <c:v>2066.1298830000001</c:v>
                </c:pt>
                <c:pt idx="5099">
                  <c:v>2045.170044</c:v>
                </c:pt>
                <c:pt idx="5100">
                  <c:v>2066.6599120000001</c:v>
                </c:pt>
                <c:pt idx="5101">
                  <c:v>2041.910034</c:v>
                </c:pt>
                <c:pt idx="5102">
                  <c:v>2047.599976</c:v>
                </c:pt>
                <c:pt idx="5103">
                  <c:v>2041.98999</c:v>
                </c:pt>
                <c:pt idx="5104">
                  <c:v>2061.719971</c:v>
                </c:pt>
                <c:pt idx="5105">
                  <c:v>2082.419922</c:v>
                </c:pt>
                <c:pt idx="5106">
                  <c:v>2082.780029</c:v>
                </c:pt>
                <c:pt idx="5107">
                  <c:v>2080.7299800000001</c:v>
                </c:pt>
                <c:pt idx="5108">
                  <c:v>2094.3400879999999</c:v>
                </c:pt>
                <c:pt idx="5109">
                  <c:v>2100.8000489999999</c:v>
                </c:pt>
                <c:pt idx="5110">
                  <c:v>2102.3999020000001</c:v>
                </c:pt>
                <c:pt idx="5111">
                  <c:v>2091.4799800000001</c:v>
                </c:pt>
                <c:pt idx="5112">
                  <c:v>2091.580078</c:v>
                </c:pt>
                <c:pt idx="5113">
                  <c:v>2087.790039</c:v>
                </c:pt>
                <c:pt idx="5114">
                  <c:v>2091.6999510000001</c:v>
                </c:pt>
                <c:pt idx="5115">
                  <c:v>2095.1499020000001</c:v>
                </c:pt>
                <c:pt idx="5116">
                  <c:v>2075.8100589999999</c:v>
                </c:pt>
                <c:pt idx="5117">
                  <c:v>2065.3000489999999</c:v>
                </c:pt>
                <c:pt idx="5118">
                  <c:v>2081.429932</c:v>
                </c:pt>
                <c:pt idx="5119">
                  <c:v>2063.3701169999999</c:v>
                </c:pt>
                <c:pt idx="5120">
                  <c:v>2051.1201169999999</c:v>
                </c:pt>
                <c:pt idx="5121">
                  <c:v>2050.6298830000001</c:v>
                </c:pt>
                <c:pt idx="5122">
                  <c:v>2057.139893</c:v>
                </c:pt>
                <c:pt idx="5123">
                  <c:v>2058.6899410000001</c:v>
                </c:pt>
                <c:pt idx="5124">
                  <c:v>2084.389893</c:v>
                </c:pt>
                <c:pt idx="5125">
                  <c:v>2064.459961</c:v>
                </c:pt>
                <c:pt idx="5126">
                  <c:v>2064.110107</c:v>
                </c:pt>
                <c:pt idx="5127">
                  <c:v>2046.6099850000001</c:v>
                </c:pt>
                <c:pt idx="5128">
                  <c:v>2066.6599120000001</c:v>
                </c:pt>
                <c:pt idx="5129">
                  <c:v>2047.209961</c:v>
                </c:pt>
                <c:pt idx="5130">
                  <c:v>2047.630005</c:v>
                </c:pt>
                <c:pt idx="5131">
                  <c:v>2040.040039</c:v>
                </c:pt>
                <c:pt idx="5132">
                  <c:v>2052.320068</c:v>
                </c:pt>
                <c:pt idx="5133">
                  <c:v>2048.040039</c:v>
                </c:pt>
                <c:pt idx="5134">
                  <c:v>2076.0600589999999</c:v>
                </c:pt>
                <c:pt idx="5135">
                  <c:v>2090.540039</c:v>
                </c:pt>
                <c:pt idx="5136">
                  <c:v>2090.1000979999999</c:v>
                </c:pt>
                <c:pt idx="5137">
                  <c:v>2099.0600589999999</c:v>
                </c:pt>
                <c:pt idx="5138">
                  <c:v>2096.9499510000001</c:v>
                </c:pt>
                <c:pt idx="5139">
                  <c:v>2099.330078</c:v>
                </c:pt>
                <c:pt idx="5140">
                  <c:v>2105.26001</c:v>
                </c:pt>
                <c:pt idx="5141">
                  <c:v>2099.1298830000001</c:v>
                </c:pt>
                <c:pt idx="5142">
                  <c:v>2109.4099120000001</c:v>
                </c:pt>
                <c:pt idx="5143">
                  <c:v>2112.1298830000001</c:v>
                </c:pt>
                <c:pt idx="5144">
                  <c:v>2119.1201169999999</c:v>
                </c:pt>
                <c:pt idx="5145">
                  <c:v>2115.4799800000001</c:v>
                </c:pt>
                <c:pt idx="5146">
                  <c:v>2096.070068</c:v>
                </c:pt>
                <c:pt idx="5147">
                  <c:v>2079.0600589999999</c:v>
                </c:pt>
                <c:pt idx="5148">
                  <c:v>2075.320068</c:v>
                </c:pt>
                <c:pt idx="5149">
                  <c:v>2071.5</c:v>
                </c:pt>
                <c:pt idx="5150">
                  <c:v>2077.98999</c:v>
                </c:pt>
                <c:pt idx="5151">
                  <c:v>2071.219971</c:v>
                </c:pt>
                <c:pt idx="5152">
                  <c:v>2083.25</c:v>
                </c:pt>
                <c:pt idx="5153">
                  <c:v>2088.8999020000001</c:v>
                </c:pt>
                <c:pt idx="5154">
                  <c:v>2085.4499510000001</c:v>
                </c:pt>
                <c:pt idx="5155">
                  <c:v>2113.320068</c:v>
                </c:pt>
                <c:pt idx="5156">
                  <c:v>2037.410034</c:v>
                </c:pt>
                <c:pt idx="5157">
                  <c:v>2000.540039</c:v>
                </c:pt>
                <c:pt idx="5158">
                  <c:v>2036.089966</c:v>
                </c:pt>
                <c:pt idx="5159">
                  <c:v>2070.7700199999999</c:v>
                </c:pt>
                <c:pt idx="5160">
                  <c:v>2098.860107</c:v>
                </c:pt>
                <c:pt idx="5161">
                  <c:v>2102.9499510000001</c:v>
                </c:pt>
                <c:pt idx="5162">
                  <c:v>2088.5500489999999</c:v>
                </c:pt>
                <c:pt idx="5163">
                  <c:v>2099.7299800000001</c:v>
                </c:pt>
                <c:pt idx="5164">
                  <c:v>2097.8999020000001</c:v>
                </c:pt>
                <c:pt idx="5165">
                  <c:v>2129.8999020000001</c:v>
                </c:pt>
                <c:pt idx="5166">
                  <c:v>2137.1599120000001</c:v>
                </c:pt>
                <c:pt idx="5167">
                  <c:v>2152.139893</c:v>
                </c:pt>
                <c:pt idx="5168">
                  <c:v>2152.429932</c:v>
                </c:pt>
                <c:pt idx="5169">
                  <c:v>2163.75</c:v>
                </c:pt>
                <c:pt idx="5170">
                  <c:v>2161.73999</c:v>
                </c:pt>
                <c:pt idx="5171">
                  <c:v>2166.889893</c:v>
                </c:pt>
                <c:pt idx="5172">
                  <c:v>2163.780029</c:v>
                </c:pt>
                <c:pt idx="5173">
                  <c:v>2173.0200199999999</c:v>
                </c:pt>
                <c:pt idx="5174">
                  <c:v>2165.169922</c:v>
                </c:pt>
                <c:pt idx="5175">
                  <c:v>2175.030029</c:v>
                </c:pt>
                <c:pt idx="5176">
                  <c:v>2168.4799800000001</c:v>
                </c:pt>
                <c:pt idx="5177">
                  <c:v>2169.179932</c:v>
                </c:pt>
                <c:pt idx="5178">
                  <c:v>2166.580078</c:v>
                </c:pt>
                <c:pt idx="5179">
                  <c:v>2170.0600589999999</c:v>
                </c:pt>
                <c:pt idx="5180">
                  <c:v>2173.6000979999999</c:v>
                </c:pt>
                <c:pt idx="5181">
                  <c:v>2170.8400879999999</c:v>
                </c:pt>
                <c:pt idx="5182">
                  <c:v>2157.030029</c:v>
                </c:pt>
                <c:pt idx="5183">
                  <c:v>2163.790039</c:v>
                </c:pt>
                <c:pt idx="5184">
                  <c:v>2164.25</c:v>
                </c:pt>
                <c:pt idx="5185">
                  <c:v>2182.8701169999999</c:v>
                </c:pt>
                <c:pt idx="5186">
                  <c:v>2180.889893</c:v>
                </c:pt>
                <c:pt idx="5187">
                  <c:v>2181.73999</c:v>
                </c:pt>
                <c:pt idx="5188">
                  <c:v>2175.48999</c:v>
                </c:pt>
                <c:pt idx="5189">
                  <c:v>2185.790039</c:v>
                </c:pt>
                <c:pt idx="5190">
                  <c:v>2184.0500489999999</c:v>
                </c:pt>
                <c:pt idx="5191">
                  <c:v>2190.1499020000001</c:v>
                </c:pt>
                <c:pt idx="5192">
                  <c:v>2178.1499020000001</c:v>
                </c:pt>
                <c:pt idx="5193">
                  <c:v>2182.219971</c:v>
                </c:pt>
                <c:pt idx="5194">
                  <c:v>2187.0200199999999</c:v>
                </c:pt>
                <c:pt idx="5195">
                  <c:v>2183.8701169999999</c:v>
                </c:pt>
                <c:pt idx="5196">
                  <c:v>2182.639893</c:v>
                </c:pt>
                <c:pt idx="5197">
                  <c:v>2186.8999020000001</c:v>
                </c:pt>
                <c:pt idx="5198">
                  <c:v>2175.4399410000001</c:v>
                </c:pt>
                <c:pt idx="5199">
                  <c:v>2172.469971</c:v>
                </c:pt>
                <c:pt idx="5200">
                  <c:v>2169.040039</c:v>
                </c:pt>
                <c:pt idx="5201">
                  <c:v>2180.3798830000001</c:v>
                </c:pt>
                <c:pt idx="5202">
                  <c:v>2176.1201169999999</c:v>
                </c:pt>
                <c:pt idx="5203">
                  <c:v>2170.9499510000001</c:v>
                </c:pt>
                <c:pt idx="5204">
                  <c:v>2170.860107</c:v>
                </c:pt>
                <c:pt idx="5205">
                  <c:v>2179.9799800000001</c:v>
                </c:pt>
                <c:pt idx="5206">
                  <c:v>2186.4799800000001</c:v>
                </c:pt>
                <c:pt idx="5207">
                  <c:v>2186.1599120000001</c:v>
                </c:pt>
                <c:pt idx="5208">
                  <c:v>2181.3000489999999</c:v>
                </c:pt>
                <c:pt idx="5209">
                  <c:v>2127.8100589999999</c:v>
                </c:pt>
                <c:pt idx="5210">
                  <c:v>2159.040039</c:v>
                </c:pt>
                <c:pt idx="5211">
                  <c:v>2127.0200199999999</c:v>
                </c:pt>
                <c:pt idx="5212">
                  <c:v>2125.7700199999999</c:v>
                </c:pt>
                <c:pt idx="5213">
                  <c:v>2147.26001</c:v>
                </c:pt>
                <c:pt idx="5214">
                  <c:v>2139.1599120000001</c:v>
                </c:pt>
                <c:pt idx="5215">
                  <c:v>2139.1201169999999</c:v>
                </c:pt>
                <c:pt idx="5216">
                  <c:v>2139.76001</c:v>
                </c:pt>
                <c:pt idx="5217">
                  <c:v>2163.1201169999999</c:v>
                </c:pt>
                <c:pt idx="5218">
                  <c:v>2177.179932</c:v>
                </c:pt>
                <c:pt idx="5219">
                  <c:v>2164.6899410000001</c:v>
                </c:pt>
                <c:pt idx="5220">
                  <c:v>2146.1000979999999</c:v>
                </c:pt>
                <c:pt idx="5221">
                  <c:v>2159.929932</c:v>
                </c:pt>
                <c:pt idx="5222">
                  <c:v>2171.3701169999999</c:v>
                </c:pt>
                <c:pt idx="5223">
                  <c:v>2151.1298830000001</c:v>
                </c:pt>
                <c:pt idx="5224">
                  <c:v>2168.2700199999999</c:v>
                </c:pt>
                <c:pt idx="5225">
                  <c:v>2161.1999510000001</c:v>
                </c:pt>
                <c:pt idx="5226">
                  <c:v>2150.48999</c:v>
                </c:pt>
                <c:pt idx="5227">
                  <c:v>2159.7299800000001</c:v>
                </c:pt>
                <c:pt idx="5228">
                  <c:v>2160.7700199999999</c:v>
                </c:pt>
                <c:pt idx="5229">
                  <c:v>2153.73999</c:v>
                </c:pt>
                <c:pt idx="5230">
                  <c:v>2163.6599120000001</c:v>
                </c:pt>
                <c:pt idx="5231">
                  <c:v>2136.7299800000001</c:v>
                </c:pt>
                <c:pt idx="5232">
                  <c:v>2139.179932</c:v>
                </c:pt>
                <c:pt idx="5233">
                  <c:v>2132.5500489999999</c:v>
                </c:pt>
                <c:pt idx="5234">
                  <c:v>2132.9799800000001</c:v>
                </c:pt>
                <c:pt idx="5235">
                  <c:v>2126.5</c:v>
                </c:pt>
                <c:pt idx="5236">
                  <c:v>2139.6000979999999</c:v>
                </c:pt>
                <c:pt idx="5237">
                  <c:v>2144.290039</c:v>
                </c:pt>
                <c:pt idx="5238">
                  <c:v>2141.3400879999999</c:v>
                </c:pt>
                <c:pt idx="5239">
                  <c:v>2141.1599120000001</c:v>
                </c:pt>
                <c:pt idx="5240">
                  <c:v>2151.330078</c:v>
                </c:pt>
                <c:pt idx="5241">
                  <c:v>2143.1599120000001</c:v>
                </c:pt>
                <c:pt idx="5242">
                  <c:v>2139.429932</c:v>
                </c:pt>
                <c:pt idx="5243">
                  <c:v>2133.040039</c:v>
                </c:pt>
                <c:pt idx="5244">
                  <c:v>2126.4099120000001</c:v>
                </c:pt>
                <c:pt idx="5245">
                  <c:v>2126.1499020000001</c:v>
                </c:pt>
                <c:pt idx="5246">
                  <c:v>2111.719971</c:v>
                </c:pt>
                <c:pt idx="5247">
                  <c:v>2097.9399410000001</c:v>
                </c:pt>
                <c:pt idx="5248">
                  <c:v>2088.6599120000001</c:v>
                </c:pt>
                <c:pt idx="5249">
                  <c:v>2085.179932</c:v>
                </c:pt>
                <c:pt idx="5250">
                  <c:v>2131.5200199999999</c:v>
                </c:pt>
                <c:pt idx="5251">
                  <c:v>2139.5600589999999</c:v>
                </c:pt>
                <c:pt idx="5252">
                  <c:v>2163.26001</c:v>
                </c:pt>
                <c:pt idx="5253">
                  <c:v>2167.4799800000001</c:v>
                </c:pt>
                <c:pt idx="5254">
                  <c:v>2164.4499510000001</c:v>
                </c:pt>
                <c:pt idx="5255">
                  <c:v>2164.1999510000001</c:v>
                </c:pt>
                <c:pt idx="5256">
                  <c:v>2180.389893</c:v>
                </c:pt>
                <c:pt idx="5257">
                  <c:v>2176.9399410000001</c:v>
                </c:pt>
                <c:pt idx="5258">
                  <c:v>2187.1201169999999</c:v>
                </c:pt>
                <c:pt idx="5259">
                  <c:v>2181.8999020000001</c:v>
                </c:pt>
                <c:pt idx="5260">
                  <c:v>2198.179932</c:v>
                </c:pt>
                <c:pt idx="5261">
                  <c:v>2202.9399410000001</c:v>
                </c:pt>
                <c:pt idx="5262">
                  <c:v>2204.719971</c:v>
                </c:pt>
                <c:pt idx="5263">
                  <c:v>2213.3500979999999</c:v>
                </c:pt>
                <c:pt idx="5264">
                  <c:v>2201.719971</c:v>
                </c:pt>
                <c:pt idx="5265">
                  <c:v>2204.6599120000001</c:v>
                </c:pt>
                <c:pt idx="5266">
                  <c:v>2198.8100589999999</c:v>
                </c:pt>
                <c:pt idx="5267">
                  <c:v>2191.080078</c:v>
                </c:pt>
                <c:pt idx="5268">
                  <c:v>2191.9499510000001</c:v>
                </c:pt>
                <c:pt idx="5269">
                  <c:v>2204.709961</c:v>
                </c:pt>
                <c:pt idx="5270">
                  <c:v>2212.2299800000001</c:v>
                </c:pt>
                <c:pt idx="5271">
                  <c:v>2241.3500979999999</c:v>
                </c:pt>
                <c:pt idx="5272">
                  <c:v>2246.1899410000001</c:v>
                </c:pt>
                <c:pt idx="5273">
                  <c:v>2259.530029</c:v>
                </c:pt>
                <c:pt idx="5274">
                  <c:v>2256.959961</c:v>
                </c:pt>
                <c:pt idx="5275">
                  <c:v>2271.719971</c:v>
                </c:pt>
                <c:pt idx="5276">
                  <c:v>2253.280029</c:v>
                </c:pt>
                <c:pt idx="5277">
                  <c:v>2262.030029</c:v>
                </c:pt>
                <c:pt idx="5278">
                  <c:v>2258.070068</c:v>
                </c:pt>
                <c:pt idx="5279">
                  <c:v>2262.530029</c:v>
                </c:pt>
                <c:pt idx="5280">
                  <c:v>2270.76001</c:v>
                </c:pt>
                <c:pt idx="5281">
                  <c:v>2265.179932</c:v>
                </c:pt>
                <c:pt idx="5282">
                  <c:v>2260.959961</c:v>
                </c:pt>
                <c:pt idx="5283">
                  <c:v>2263.790039</c:v>
                </c:pt>
                <c:pt idx="5284">
                  <c:v>2268.8798830000001</c:v>
                </c:pt>
                <c:pt idx="5285">
                  <c:v>2249.919922</c:v>
                </c:pt>
                <c:pt idx="5286">
                  <c:v>2249.26001</c:v>
                </c:pt>
                <c:pt idx="5287">
                  <c:v>2238.830078</c:v>
                </c:pt>
                <c:pt idx="5288">
                  <c:v>2257.830078</c:v>
                </c:pt>
                <c:pt idx="5289">
                  <c:v>2270.75</c:v>
                </c:pt>
                <c:pt idx="5290">
                  <c:v>2269</c:v>
                </c:pt>
                <c:pt idx="5291">
                  <c:v>2276.9799800000001</c:v>
                </c:pt>
                <c:pt idx="5292">
                  <c:v>2268.8999020000001</c:v>
                </c:pt>
                <c:pt idx="5293">
                  <c:v>2268.8999020000001</c:v>
                </c:pt>
                <c:pt idx="5294">
                  <c:v>2275.320068</c:v>
                </c:pt>
                <c:pt idx="5295">
                  <c:v>2270.4399410000001</c:v>
                </c:pt>
                <c:pt idx="5296">
                  <c:v>2274.639893</c:v>
                </c:pt>
                <c:pt idx="5297">
                  <c:v>2267.889893</c:v>
                </c:pt>
                <c:pt idx="5298">
                  <c:v>2271.889893</c:v>
                </c:pt>
                <c:pt idx="5299">
                  <c:v>2263.6899410000001</c:v>
                </c:pt>
                <c:pt idx="5300">
                  <c:v>2271.3100589999999</c:v>
                </c:pt>
                <c:pt idx="5301">
                  <c:v>2265.1999510000001</c:v>
                </c:pt>
                <c:pt idx="5302">
                  <c:v>2280.070068</c:v>
                </c:pt>
                <c:pt idx="5303">
                  <c:v>2298.3701169999999</c:v>
                </c:pt>
                <c:pt idx="5304">
                  <c:v>2296.679932</c:v>
                </c:pt>
                <c:pt idx="5305">
                  <c:v>2294.6899410000001</c:v>
                </c:pt>
                <c:pt idx="5306">
                  <c:v>2280.8999020000001</c:v>
                </c:pt>
                <c:pt idx="5307">
                  <c:v>2278.8701169999999</c:v>
                </c:pt>
                <c:pt idx="5308">
                  <c:v>2279.5500489999999</c:v>
                </c:pt>
                <c:pt idx="5309">
                  <c:v>2280.8500979999999</c:v>
                </c:pt>
                <c:pt idx="5310">
                  <c:v>2297.419922</c:v>
                </c:pt>
                <c:pt idx="5311">
                  <c:v>2292.5600589999999</c:v>
                </c:pt>
                <c:pt idx="5312">
                  <c:v>2293.080078</c:v>
                </c:pt>
                <c:pt idx="5313">
                  <c:v>2294.669922</c:v>
                </c:pt>
                <c:pt idx="5314">
                  <c:v>2307.8701169999999</c:v>
                </c:pt>
                <c:pt idx="5315">
                  <c:v>2316.1000979999999</c:v>
                </c:pt>
                <c:pt idx="5316">
                  <c:v>2328.25</c:v>
                </c:pt>
                <c:pt idx="5317">
                  <c:v>2337.580078</c:v>
                </c:pt>
                <c:pt idx="5318">
                  <c:v>2349.25</c:v>
                </c:pt>
                <c:pt idx="5319">
                  <c:v>2347.219971</c:v>
                </c:pt>
                <c:pt idx="5320">
                  <c:v>2351.1599120000001</c:v>
                </c:pt>
                <c:pt idx="5321">
                  <c:v>2365.3798830000001</c:v>
                </c:pt>
                <c:pt idx="5322">
                  <c:v>2362.820068</c:v>
                </c:pt>
                <c:pt idx="5323">
                  <c:v>2363.8100589999999</c:v>
                </c:pt>
                <c:pt idx="5324">
                  <c:v>2367.3400879999999</c:v>
                </c:pt>
                <c:pt idx="5325">
                  <c:v>2369.75</c:v>
                </c:pt>
                <c:pt idx="5326">
                  <c:v>2363.639893</c:v>
                </c:pt>
                <c:pt idx="5327">
                  <c:v>2395.959961</c:v>
                </c:pt>
                <c:pt idx="5328">
                  <c:v>2381.919922</c:v>
                </c:pt>
                <c:pt idx="5329">
                  <c:v>2383.1201169999999</c:v>
                </c:pt>
                <c:pt idx="5330">
                  <c:v>2375.3100589999999</c:v>
                </c:pt>
                <c:pt idx="5331">
                  <c:v>2368.389893</c:v>
                </c:pt>
                <c:pt idx="5332">
                  <c:v>2362.9799800000001</c:v>
                </c:pt>
                <c:pt idx="5333">
                  <c:v>2364.8701169999999</c:v>
                </c:pt>
                <c:pt idx="5334">
                  <c:v>2372.6000979999999</c:v>
                </c:pt>
                <c:pt idx="5335">
                  <c:v>2373.469971</c:v>
                </c:pt>
                <c:pt idx="5336">
                  <c:v>2365.4499510000001</c:v>
                </c:pt>
                <c:pt idx="5337">
                  <c:v>2385.26001</c:v>
                </c:pt>
                <c:pt idx="5338">
                  <c:v>2381.3798830000001</c:v>
                </c:pt>
                <c:pt idx="5339">
                  <c:v>2378.25</c:v>
                </c:pt>
                <c:pt idx="5340">
                  <c:v>2373.469971</c:v>
                </c:pt>
                <c:pt idx="5341">
                  <c:v>2344.0200199999999</c:v>
                </c:pt>
                <c:pt idx="5342">
                  <c:v>2348.4499510000001</c:v>
                </c:pt>
                <c:pt idx="5343">
                  <c:v>2345.959961</c:v>
                </c:pt>
                <c:pt idx="5344">
                  <c:v>2343.9799800000001</c:v>
                </c:pt>
                <c:pt idx="5345">
                  <c:v>2341.5900879999999</c:v>
                </c:pt>
                <c:pt idx="5346">
                  <c:v>2358.570068</c:v>
                </c:pt>
                <c:pt idx="5347">
                  <c:v>2361.1298830000001</c:v>
                </c:pt>
                <c:pt idx="5348">
                  <c:v>2368.0600589999999</c:v>
                </c:pt>
                <c:pt idx="5349">
                  <c:v>2362.719971</c:v>
                </c:pt>
                <c:pt idx="5350">
                  <c:v>2358.8400879999999</c:v>
                </c:pt>
                <c:pt idx="5351">
                  <c:v>2360.1599120000001</c:v>
                </c:pt>
                <c:pt idx="5352">
                  <c:v>2352.9499510000001</c:v>
                </c:pt>
                <c:pt idx="5353">
                  <c:v>2357.48999</c:v>
                </c:pt>
                <c:pt idx="5354">
                  <c:v>2355.540039</c:v>
                </c:pt>
                <c:pt idx="5355">
                  <c:v>2357.1599120000001</c:v>
                </c:pt>
                <c:pt idx="5356">
                  <c:v>2353.780029</c:v>
                </c:pt>
                <c:pt idx="5357">
                  <c:v>2344.929932</c:v>
                </c:pt>
                <c:pt idx="5358">
                  <c:v>2328.9499510000001</c:v>
                </c:pt>
                <c:pt idx="5359">
                  <c:v>2349.01001</c:v>
                </c:pt>
                <c:pt idx="5360">
                  <c:v>2342.1899410000001</c:v>
                </c:pt>
                <c:pt idx="5361">
                  <c:v>2338.169922</c:v>
                </c:pt>
                <c:pt idx="5362">
                  <c:v>2355.8400879999999</c:v>
                </c:pt>
                <c:pt idx="5363">
                  <c:v>2348.6899410000001</c:v>
                </c:pt>
                <c:pt idx="5364">
                  <c:v>2374.1499020000001</c:v>
                </c:pt>
                <c:pt idx="5365">
                  <c:v>2388.610107</c:v>
                </c:pt>
                <c:pt idx="5366">
                  <c:v>2387.4499510000001</c:v>
                </c:pt>
                <c:pt idx="5367">
                  <c:v>2388.7700199999999</c:v>
                </c:pt>
                <c:pt idx="5368">
                  <c:v>2384.1999510000001</c:v>
                </c:pt>
                <c:pt idx="5369">
                  <c:v>2388.330078</c:v>
                </c:pt>
                <c:pt idx="5370">
                  <c:v>2391.169922</c:v>
                </c:pt>
                <c:pt idx="5371">
                  <c:v>2388.1298830000001</c:v>
                </c:pt>
                <c:pt idx="5372">
                  <c:v>2389.5200199999999</c:v>
                </c:pt>
                <c:pt idx="5373">
                  <c:v>2399.290039</c:v>
                </c:pt>
                <c:pt idx="5374">
                  <c:v>2399.3798830000001</c:v>
                </c:pt>
                <c:pt idx="5375">
                  <c:v>2396.919922</c:v>
                </c:pt>
                <c:pt idx="5376">
                  <c:v>2399.6298830000001</c:v>
                </c:pt>
                <c:pt idx="5377">
                  <c:v>2394.4399410000001</c:v>
                </c:pt>
                <c:pt idx="5378">
                  <c:v>2390.8999020000001</c:v>
                </c:pt>
                <c:pt idx="5379">
                  <c:v>2402.320068</c:v>
                </c:pt>
                <c:pt idx="5380">
                  <c:v>2400.669922</c:v>
                </c:pt>
                <c:pt idx="5381">
                  <c:v>2357.030029</c:v>
                </c:pt>
                <c:pt idx="5382">
                  <c:v>2365.719971</c:v>
                </c:pt>
                <c:pt idx="5383">
                  <c:v>2381.7299800000001</c:v>
                </c:pt>
                <c:pt idx="5384">
                  <c:v>2394.0200199999999</c:v>
                </c:pt>
                <c:pt idx="5385">
                  <c:v>2398.419922</c:v>
                </c:pt>
                <c:pt idx="5386">
                  <c:v>2404.389893</c:v>
                </c:pt>
                <c:pt idx="5387">
                  <c:v>2415.070068</c:v>
                </c:pt>
                <c:pt idx="5388">
                  <c:v>2415.820068</c:v>
                </c:pt>
                <c:pt idx="5389">
                  <c:v>2412.9099120000001</c:v>
                </c:pt>
                <c:pt idx="5390">
                  <c:v>2411.8000489999999</c:v>
                </c:pt>
                <c:pt idx="5391">
                  <c:v>2430.0600589999999</c:v>
                </c:pt>
                <c:pt idx="5392">
                  <c:v>2439.070068</c:v>
                </c:pt>
                <c:pt idx="5393">
                  <c:v>2436.1000979999999</c:v>
                </c:pt>
                <c:pt idx="5394">
                  <c:v>2429.330078</c:v>
                </c:pt>
                <c:pt idx="5395">
                  <c:v>2433.139893</c:v>
                </c:pt>
                <c:pt idx="5396">
                  <c:v>2433.790039</c:v>
                </c:pt>
                <c:pt idx="5397">
                  <c:v>2431.7700199999999</c:v>
                </c:pt>
                <c:pt idx="5398">
                  <c:v>2429.389893</c:v>
                </c:pt>
                <c:pt idx="5399">
                  <c:v>2440.3500979999999</c:v>
                </c:pt>
                <c:pt idx="5400">
                  <c:v>2437.919922</c:v>
                </c:pt>
                <c:pt idx="5401">
                  <c:v>2432.459961</c:v>
                </c:pt>
                <c:pt idx="5402">
                  <c:v>2433.1499020000001</c:v>
                </c:pt>
                <c:pt idx="5403">
                  <c:v>2453.459961</c:v>
                </c:pt>
                <c:pt idx="5404">
                  <c:v>2437.030029</c:v>
                </c:pt>
                <c:pt idx="5405">
                  <c:v>2435.610107</c:v>
                </c:pt>
                <c:pt idx="5406">
                  <c:v>2434.5</c:v>
                </c:pt>
                <c:pt idx="5407">
                  <c:v>2438.3000489999999</c:v>
                </c:pt>
                <c:pt idx="5408">
                  <c:v>2439.070068</c:v>
                </c:pt>
                <c:pt idx="5409">
                  <c:v>2419.3798830000001</c:v>
                </c:pt>
                <c:pt idx="5410">
                  <c:v>2440.6899410000001</c:v>
                </c:pt>
                <c:pt idx="5411">
                  <c:v>2419.6999510000001</c:v>
                </c:pt>
                <c:pt idx="5412">
                  <c:v>2423.4099120000001</c:v>
                </c:pt>
                <c:pt idx="5413">
                  <c:v>2429.01001</c:v>
                </c:pt>
                <c:pt idx="5414">
                  <c:v>2432.540039</c:v>
                </c:pt>
                <c:pt idx="5415">
                  <c:v>2409.75</c:v>
                </c:pt>
                <c:pt idx="5416">
                  <c:v>2425.179932</c:v>
                </c:pt>
                <c:pt idx="5417">
                  <c:v>2427.429932</c:v>
                </c:pt>
                <c:pt idx="5418">
                  <c:v>2425.530029</c:v>
                </c:pt>
                <c:pt idx="5419">
                  <c:v>2443.25</c:v>
                </c:pt>
                <c:pt idx="5420">
                  <c:v>2447.830078</c:v>
                </c:pt>
                <c:pt idx="5421">
                  <c:v>2459.2700199999999</c:v>
                </c:pt>
                <c:pt idx="5422">
                  <c:v>2459.139893</c:v>
                </c:pt>
                <c:pt idx="5423">
                  <c:v>2460.610107</c:v>
                </c:pt>
                <c:pt idx="5424">
                  <c:v>2473.830078</c:v>
                </c:pt>
                <c:pt idx="5425">
                  <c:v>2473.4499510000001</c:v>
                </c:pt>
                <c:pt idx="5426">
                  <c:v>2472.540039</c:v>
                </c:pt>
                <c:pt idx="5427">
                  <c:v>2469.9099120000001</c:v>
                </c:pt>
                <c:pt idx="5428">
                  <c:v>2477.1298830000001</c:v>
                </c:pt>
                <c:pt idx="5429">
                  <c:v>2477.830078</c:v>
                </c:pt>
                <c:pt idx="5430">
                  <c:v>2475.419922</c:v>
                </c:pt>
                <c:pt idx="5431">
                  <c:v>2472.1000979999999</c:v>
                </c:pt>
                <c:pt idx="5432">
                  <c:v>2470.3000489999999</c:v>
                </c:pt>
                <c:pt idx="5433">
                  <c:v>2476.3500979999999</c:v>
                </c:pt>
                <c:pt idx="5434">
                  <c:v>2477.570068</c:v>
                </c:pt>
                <c:pt idx="5435">
                  <c:v>2472.1599120000001</c:v>
                </c:pt>
                <c:pt idx="5436">
                  <c:v>2476.830078</c:v>
                </c:pt>
                <c:pt idx="5437">
                  <c:v>2480.9099120000001</c:v>
                </c:pt>
                <c:pt idx="5438">
                  <c:v>2474.919922</c:v>
                </c:pt>
                <c:pt idx="5439">
                  <c:v>2474.0200199999999</c:v>
                </c:pt>
                <c:pt idx="5440">
                  <c:v>2438.209961</c:v>
                </c:pt>
                <c:pt idx="5441">
                  <c:v>2441.320068</c:v>
                </c:pt>
                <c:pt idx="5442">
                  <c:v>2465.8400879999999</c:v>
                </c:pt>
                <c:pt idx="5443">
                  <c:v>2464.610107</c:v>
                </c:pt>
                <c:pt idx="5444">
                  <c:v>2468.110107</c:v>
                </c:pt>
                <c:pt idx="5445">
                  <c:v>2430.01001</c:v>
                </c:pt>
                <c:pt idx="5446">
                  <c:v>2425.5500489999999</c:v>
                </c:pt>
                <c:pt idx="5447">
                  <c:v>2428.3701169999999</c:v>
                </c:pt>
                <c:pt idx="5448">
                  <c:v>2452.51001</c:v>
                </c:pt>
                <c:pt idx="5449">
                  <c:v>2444.040039</c:v>
                </c:pt>
                <c:pt idx="5450">
                  <c:v>2438.969971</c:v>
                </c:pt>
                <c:pt idx="5451">
                  <c:v>2443.0500489999999</c:v>
                </c:pt>
                <c:pt idx="5452">
                  <c:v>2444.23999</c:v>
                </c:pt>
                <c:pt idx="5453">
                  <c:v>2446.3000489999999</c:v>
                </c:pt>
                <c:pt idx="5454">
                  <c:v>2457.5900879999999</c:v>
                </c:pt>
                <c:pt idx="5455">
                  <c:v>2471.6499020000001</c:v>
                </c:pt>
                <c:pt idx="5456">
                  <c:v>2476.5500489999999</c:v>
                </c:pt>
                <c:pt idx="5457">
                  <c:v>2457.8500979999999</c:v>
                </c:pt>
                <c:pt idx="5458">
                  <c:v>2465.540039</c:v>
                </c:pt>
                <c:pt idx="5459">
                  <c:v>2465.1000979999999</c:v>
                </c:pt>
                <c:pt idx="5460">
                  <c:v>2461.429932</c:v>
                </c:pt>
                <c:pt idx="5461">
                  <c:v>2488.110107</c:v>
                </c:pt>
                <c:pt idx="5462">
                  <c:v>2496.4799800000001</c:v>
                </c:pt>
                <c:pt idx="5463">
                  <c:v>2498.3701169999999</c:v>
                </c:pt>
                <c:pt idx="5464">
                  <c:v>2495.6201169999999</c:v>
                </c:pt>
                <c:pt idx="5465">
                  <c:v>2500.2299800000001</c:v>
                </c:pt>
                <c:pt idx="5466">
                  <c:v>2503.8701169999999</c:v>
                </c:pt>
                <c:pt idx="5467">
                  <c:v>2506.6499020000001</c:v>
                </c:pt>
                <c:pt idx="5468">
                  <c:v>2508.23999</c:v>
                </c:pt>
                <c:pt idx="5469">
                  <c:v>2500.6000979999999</c:v>
                </c:pt>
                <c:pt idx="5470">
                  <c:v>2502.219971</c:v>
                </c:pt>
                <c:pt idx="5471">
                  <c:v>2496.6599120000001</c:v>
                </c:pt>
                <c:pt idx="5472">
                  <c:v>2496.8400879999999</c:v>
                </c:pt>
                <c:pt idx="5473">
                  <c:v>2507.040039</c:v>
                </c:pt>
                <c:pt idx="5474">
                  <c:v>2510.0600589999999</c:v>
                </c:pt>
                <c:pt idx="5475">
                  <c:v>2519.360107</c:v>
                </c:pt>
                <c:pt idx="5476">
                  <c:v>2529.1201169999999</c:v>
                </c:pt>
                <c:pt idx="5477">
                  <c:v>2534.580078</c:v>
                </c:pt>
                <c:pt idx="5478">
                  <c:v>2537.73999</c:v>
                </c:pt>
                <c:pt idx="5479">
                  <c:v>2552.070068</c:v>
                </c:pt>
                <c:pt idx="5480">
                  <c:v>2549.330078</c:v>
                </c:pt>
                <c:pt idx="5481">
                  <c:v>2544.7299800000001</c:v>
                </c:pt>
                <c:pt idx="5482">
                  <c:v>2550.639893</c:v>
                </c:pt>
                <c:pt idx="5483">
                  <c:v>2555.23999</c:v>
                </c:pt>
                <c:pt idx="5484">
                  <c:v>2550.929932</c:v>
                </c:pt>
                <c:pt idx="5485">
                  <c:v>2553.169922</c:v>
                </c:pt>
                <c:pt idx="5486">
                  <c:v>2557.639893</c:v>
                </c:pt>
                <c:pt idx="5487">
                  <c:v>2559.360107</c:v>
                </c:pt>
                <c:pt idx="5488">
                  <c:v>2561.26001</c:v>
                </c:pt>
                <c:pt idx="5489">
                  <c:v>2562.1000979999999</c:v>
                </c:pt>
                <c:pt idx="5490">
                  <c:v>2575.209961</c:v>
                </c:pt>
                <c:pt idx="5491">
                  <c:v>2564.9799800000001</c:v>
                </c:pt>
                <c:pt idx="5492">
                  <c:v>2569.1298830000001</c:v>
                </c:pt>
                <c:pt idx="5493">
                  <c:v>2557.1499020000001</c:v>
                </c:pt>
                <c:pt idx="5494">
                  <c:v>2560.3999020000001</c:v>
                </c:pt>
                <c:pt idx="5495">
                  <c:v>2581.070068</c:v>
                </c:pt>
                <c:pt idx="5496">
                  <c:v>2572.830078</c:v>
                </c:pt>
                <c:pt idx="5497">
                  <c:v>2575.26001</c:v>
                </c:pt>
                <c:pt idx="5498">
                  <c:v>2579.360107</c:v>
                </c:pt>
                <c:pt idx="5499">
                  <c:v>2579.8500979999999</c:v>
                </c:pt>
                <c:pt idx="5500">
                  <c:v>2587.8400879999999</c:v>
                </c:pt>
                <c:pt idx="5501">
                  <c:v>2591.1298830000001</c:v>
                </c:pt>
                <c:pt idx="5502">
                  <c:v>2590.639893</c:v>
                </c:pt>
                <c:pt idx="5503">
                  <c:v>2594.3798830000001</c:v>
                </c:pt>
                <c:pt idx="5504">
                  <c:v>2584.6201169999999</c:v>
                </c:pt>
                <c:pt idx="5505">
                  <c:v>2582.3000489999999</c:v>
                </c:pt>
                <c:pt idx="5506">
                  <c:v>2584.8400879999999</c:v>
                </c:pt>
                <c:pt idx="5507">
                  <c:v>2578.8701169999999</c:v>
                </c:pt>
                <c:pt idx="5508">
                  <c:v>2564.6201169999999</c:v>
                </c:pt>
                <c:pt idx="5509">
                  <c:v>2585.639893</c:v>
                </c:pt>
                <c:pt idx="5510">
                  <c:v>2578.8500979999999</c:v>
                </c:pt>
                <c:pt idx="5511">
                  <c:v>2582.139893</c:v>
                </c:pt>
                <c:pt idx="5512">
                  <c:v>2599.030029</c:v>
                </c:pt>
                <c:pt idx="5513">
                  <c:v>2597.080078</c:v>
                </c:pt>
                <c:pt idx="5514">
                  <c:v>2602.419922</c:v>
                </c:pt>
                <c:pt idx="5515">
                  <c:v>2601.419922</c:v>
                </c:pt>
                <c:pt idx="5516">
                  <c:v>2627.040039</c:v>
                </c:pt>
                <c:pt idx="5517">
                  <c:v>2626.070068</c:v>
                </c:pt>
                <c:pt idx="5518">
                  <c:v>2647.580078</c:v>
                </c:pt>
                <c:pt idx="5519">
                  <c:v>2642.219971</c:v>
                </c:pt>
                <c:pt idx="5520">
                  <c:v>2639.4399410000001</c:v>
                </c:pt>
                <c:pt idx="5521">
                  <c:v>2629.570068</c:v>
                </c:pt>
                <c:pt idx="5522">
                  <c:v>2629.2700199999999</c:v>
                </c:pt>
                <c:pt idx="5523">
                  <c:v>2636.9799800000001</c:v>
                </c:pt>
                <c:pt idx="5524">
                  <c:v>2651.5</c:v>
                </c:pt>
                <c:pt idx="5525">
                  <c:v>2659.98999</c:v>
                </c:pt>
                <c:pt idx="5526">
                  <c:v>2664.110107</c:v>
                </c:pt>
                <c:pt idx="5527">
                  <c:v>2662.8500979999999</c:v>
                </c:pt>
                <c:pt idx="5528">
                  <c:v>2652.01001</c:v>
                </c:pt>
                <c:pt idx="5529">
                  <c:v>2675.8100589999999</c:v>
                </c:pt>
                <c:pt idx="5530">
                  <c:v>2690.1599120000001</c:v>
                </c:pt>
                <c:pt idx="5531">
                  <c:v>2681.469971</c:v>
                </c:pt>
                <c:pt idx="5532">
                  <c:v>2679.25</c:v>
                </c:pt>
                <c:pt idx="5533">
                  <c:v>2684.570068</c:v>
                </c:pt>
                <c:pt idx="5534">
                  <c:v>2683.3400879999999</c:v>
                </c:pt>
                <c:pt idx="5535">
                  <c:v>2680.5</c:v>
                </c:pt>
                <c:pt idx="5536">
                  <c:v>2682.6201169999999</c:v>
                </c:pt>
                <c:pt idx="5537">
                  <c:v>2687.540039</c:v>
                </c:pt>
                <c:pt idx="5538">
                  <c:v>2673.610107</c:v>
                </c:pt>
              </c:numCache>
            </c:numRef>
          </c:val>
          <c:smooth val="0"/>
          <c:extLst>
            <c:ext xmlns:c16="http://schemas.microsoft.com/office/drawing/2014/chart" uri="{C3380CC4-5D6E-409C-BE32-E72D297353CC}">
              <c16:uniqueId val="{00000000-2A2D-FF4E-9841-2DA4A11F4CBC}"/>
            </c:ext>
          </c:extLst>
        </c:ser>
        <c:dLbls>
          <c:showLegendKey val="0"/>
          <c:showVal val="0"/>
          <c:showCatName val="0"/>
          <c:showSerName val="0"/>
          <c:showPercent val="0"/>
          <c:showBubbleSize val="0"/>
        </c:dLbls>
        <c:smooth val="0"/>
        <c:axId val="1439629472"/>
        <c:axId val="1439617336"/>
      </c:lineChart>
      <c:dateAx>
        <c:axId val="1439629472"/>
        <c:scaling>
          <c:orientation val="minMax"/>
          <c:min val="35065"/>
        </c:scaling>
        <c:delete val="1"/>
        <c:axPos val="b"/>
        <c:numFmt formatCode="yyyy" sourceLinked="0"/>
        <c:majorTickMark val="none"/>
        <c:minorTickMark val="none"/>
        <c:tickLblPos val="nextTo"/>
        <c:crossAx val="1439617336"/>
        <c:crosses val="autoZero"/>
        <c:auto val="1"/>
        <c:lblOffset val="100"/>
        <c:baseTimeUnit val="months"/>
        <c:majorUnit val="24"/>
        <c:majorTimeUnit val="months"/>
      </c:dateAx>
      <c:valAx>
        <c:axId val="1439617336"/>
        <c:scaling>
          <c:orientation val="minMax"/>
          <c:max val="3000"/>
          <c:min val="400"/>
        </c:scaling>
        <c:delete val="1"/>
        <c:axPos val="l"/>
        <c:majorGridlines>
          <c:spPr>
            <a:ln w="9525" cap="flat" cmpd="sng" algn="ctr">
              <a:solidFill>
                <a:schemeClr val="tx1">
                  <a:lumMod val="15000"/>
                  <a:lumOff val="85000"/>
                </a:schemeClr>
              </a:solidFill>
              <a:round/>
            </a:ln>
            <a:effectLst/>
          </c:spPr>
        </c:majorGridlines>
        <c:minorGridlines>
          <c:spPr>
            <a:ln w="9525" cap="flat" cmpd="sng" algn="ctr">
              <a:noFill/>
              <a:round/>
            </a:ln>
            <a:effectLst/>
          </c:spPr>
        </c:minorGridlines>
        <c:numFmt formatCode="General" sourceLinked="1"/>
        <c:majorTickMark val="none"/>
        <c:minorTickMark val="none"/>
        <c:tickLblPos val="nextTo"/>
        <c:crossAx val="1439629472"/>
        <c:crosses val="autoZero"/>
        <c:crossBetween val="between"/>
        <c:majorUnit val="2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2400">
                <a:solidFill>
                  <a:srgbClr val="75787B"/>
                </a:solidFill>
                <a:latin typeface="+mj-lt"/>
              </a:defRPr>
            </a:pPr>
            <a:r>
              <a:rPr lang="en-US" sz="2400" dirty="0">
                <a:solidFill>
                  <a:srgbClr val="75787B"/>
                </a:solidFill>
                <a:effectLst/>
              </a:rPr>
              <a:t>79%</a:t>
            </a:r>
          </a:p>
        </c:rich>
      </c:tx>
      <c:layout>
        <c:manualLayout>
          <c:xMode val="edge"/>
          <c:yMode val="edge"/>
          <c:x val="0.43778937007874014"/>
          <c:y val="0.40465677367252162"/>
        </c:manualLayout>
      </c:layout>
      <c:overlay val="0"/>
    </c:title>
    <c:autoTitleDeleted val="0"/>
    <c:plotArea>
      <c:layout>
        <c:manualLayout>
          <c:layoutTarget val="inner"/>
          <c:xMode val="edge"/>
          <c:yMode val="edge"/>
          <c:x val="0.24289866205748673"/>
          <c:y val="0.17624114881323288"/>
          <c:w val="0.57688112156712112"/>
          <c:h val="0.59130314960629915"/>
        </c:manualLayout>
      </c:layout>
      <c:doughnutChart>
        <c:varyColors val="1"/>
        <c:ser>
          <c:idx val="0"/>
          <c:order val="0"/>
          <c:tx>
            <c:strRef>
              <c:f>Sheet1!$B$1</c:f>
              <c:strCache>
                <c:ptCount val="1"/>
                <c:pt idx="0">
                  <c:v>Sales</c:v>
                </c:pt>
              </c:strCache>
            </c:strRef>
          </c:tx>
          <c:dPt>
            <c:idx val="0"/>
            <c:bubble3D val="0"/>
            <c:spPr>
              <a:solidFill>
                <a:schemeClr val="accent1">
                  <a:lumMod val="50000"/>
                </a:schemeClr>
              </a:solidFill>
            </c:spPr>
            <c:extLst>
              <c:ext xmlns:c16="http://schemas.microsoft.com/office/drawing/2014/chart" uri="{C3380CC4-5D6E-409C-BE32-E72D297353CC}">
                <c16:uniqueId val="{00000001-795E-0340-BAF5-3331B0FB36AE}"/>
              </c:ext>
            </c:extLst>
          </c:dPt>
          <c:dPt>
            <c:idx val="1"/>
            <c:bubble3D val="0"/>
            <c:spPr>
              <a:solidFill>
                <a:schemeClr val="bg1">
                  <a:lumMod val="75000"/>
                </a:schemeClr>
              </a:solidFill>
            </c:spPr>
            <c:extLst>
              <c:ext xmlns:c16="http://schemas.microsoft.com/office/drawing/2014/chart" uri="{C3380CC4-5D6E-409C-BE32-E72D297353CC}">
                <c16:uniqueId val="{00000003-795E-0340-BAF5-3331B0FB36AE}"/>
              </c:ext>
            </c:extLst>
          </c:dPt>
          <c:cat>
            <c:strRef>
              <c:f>Sheet1!$A$2:$A$3</c:f>
              <c:strCache>
                <c:ptCount val="2"/>
                <c:pt idx="0">
                  <c:v>1st Qtr</c:v>
                </c:pt>
                <c:pt idx="1">
                  <c:v>2nd Qtr</c:v>
                </c:pt>
              </c:strCache>
            </c:strRef>
          </c:cat>
          <c:val>
            <c:numRef>
              <c:f>Sheet1!$B$2:$B$3</c:f>
              <c:numCache>
                <c:formatCode>General</c:formatCode>
                <c:ptCount val="2"/>
                <c:pt idx="0">
                  <c:v>79</c:v>
                </c:pt>
                <c:pt idx="1">
                  <c:v>21</c:v>
                </c:pt>
              </c:numCache>
            </c:numRef>
          </c:val>
          <c:extLst>
            <c:ext xmlns:c16="http://schemas.microsoft.com/office/drawing/2014/chart" uri="{C3380CC4-5D6E-409C-BE32-E72D297353CC}">
              <c16:uniqueId val="{00000004-795E-0340-BAF5-3331B0FB36AE}"/>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2400">
                <a:solidFill>
                  <a:srgbClr val="75787B"/>
                </a:solidFill>
                <a:latin typeface="+mj-lt"/>
              </a:defRPr>
            </a:pPr>
            <a:r>
              <a:rPr lang="en-US" sz="2400" dirty="0">
                <a:solidFill>
                  <a:srgbClr val="75787B"/>
                </a:solidFill>
                <a:effectLst/>
              </a:rPr>
              <a:t>73%</a:t>
            </a:r>
          </a:p>
        </c:rich>
      </c:tx>
      <c:layout>
        <c:manualLayout>
          <c:xMode val="edge"/>
          <c:yMode val="edge"/>
          <c:x val="0.45544078093789547"/>
          <c:y val="0.43476968105891328"/>
        </c:manualLayout>
      </c:layout>
      <c:overlay val="0"/>
    </c:title>
    <c:autoTitleDeleted val="0"/>
    <c:plotArea>
      <c:layout>
        <c:manualLayout>
          <c:layoutTarget val="inner"/>
          <c:xMode val="edge"/>
          <c:yMode val="edge"/>
          <c:x val="0.24289866205748673"/>
          <c:y val="0.17624114881323288"/>
          <c:w val="0.57688112156712112"/>
          <c:h val="0.59130314960629915"/>
        </c:manualLayout>
      </c:layout>
      <c:doughnutChart>
        <c:varyColors val="1"/>
        <c:ser>
          <c:idx val="0"/>
          <c:order val="0"/>
          <c:tx>
            <c:strRef>
              <c:f>Sheet1!$B$1</c:f>
              <c:strCache>
                <c:ptCount val="1"/>
                <c:pt idx="0">
                  <c:v>Sales</c:v>
                </c:pt>
              </c:strCache>
            </c:strRef>
          </c:tx>
          <c:dPt>
            <c:idx val="0"/>
            <c:bubble3D val="0"/>
            <c:spPr>
              <a:solidFill>
                <a:schemeClr val="accent1">
                  <a:lumMod val="50000"/>
                </a:schemeClr>
              </a:solidFill>
            </c:spPr>
            <c:extLst>
              <c:ext xmlns:c16="http://schemas.microsoft.com/office/drawing/2014/chart" uri="{C3380CC4-5D6E-409C-BE32-E72D297353CC}">
                <c16:uniqueId val="{00000001-795E-0340-BAF5-3331B0FB36AE}"/>
              </c:ext>
            </c:extLst>
          </c:dPt>
          <c:dPt>
            <c:idx val="1"/>
            <c:bubble3D val="0"/>
            <c:spPr>
              <a:solidFill>
                <a:schemeClr val="bg1">
                  <a:lumMod val="75000"/>
                </a:schemeClr>
              </a:solidFill>
            </c:spPr>
            <c:extLst>
              <c:ext xmlns:c16="http://schemas.microsoft.com/office/drawing/2014/chart" uri="{C3380CC4-5D6E-409C-BE32-E72D297353CC}">
                <c16:uniqueId val="{00000003-795E-0340-BAF5-3331B0FB36AE}"/>
              </c:ext>
            </c:extLst>
          </c:dPt>
          <c:cat>
            <c:strRef>
              <c:f>Sheet1!$A$2:$A$3</c:f>
              <c:strCache>
                <c:ptCount val="2"/>
                <c:pt idx="0">
                  <c:v>1st Qtr</c:v>
                </c:pt>
                <c:pt idx="1">
                  <c:v>2nd Qtr</c:v>
                </c:pt>
              </c:strCache>
            </c:strRef>
          </c:cat>
          <c:val>
            <c:numRef>
              <c:f>Sheet1!$B$2:$B$3</c:f>
              <c:numCache>
                <c:formatCode>General</c:formatCode>
                <c:ptCount val="2"/>
                <c:pt idx="0">
                  <c:v>73</c:v>
                </c:pt>
                <c:pt idx="1">
                  <c:v>27</c:v>
                </c:pt>
              </c:numCache>
            </c:numRef>
          </c:val>
          <c:extLst>
            <c:ext xmlns:c16="http://schemas.microsoft.com/office/drawing/2014/chart" uri="{C3380CC4-5D6E-409C-BE32-E72D297353CC}">
              <c16:uniqueId val="{00000004-795E-0340-BAF5-3331B0FB36AE}"/>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2400">
                <a:solidFill>
                  <a:srgbClr val="75787B"/>
                </a:solidFill>
                <a:latin typeface="+mj-lt"/>
              </a:defRPr>
            </a:pPr>
            <a:r>
              <a:rPr lang="en-US" sz="2400" dirty="0">
                <a:solidFill>
                  <a:srgbClr val="75787B"/>
                </a:solidFill>
                <a:effectLst/>
              </a:rPr>
              <a:t>55%</a:t>
            </a:r>
          </a:p>
        </c:rich>
      </c:tx>
      <c:layout>
        <c:manualLayout>
          <c:xMode val="edge"/>
          <c:yMode val="edge"/>
          <c:x val="0.46132454690948238"/>
          <c:y val="0.4197132109973406"/>
        </c:manualLayout>
      </c:layout>
      <c:overlay val="0"/>
    </c:title>
    <c:autoTitleDeleted val="0"/>
    <c:plotArea>
      <c:layout>
        <c:manualLayout>
          <c:layoutTarget val="inner"/>
          <c:xMode val="edge"/>
          <c:yMode val="edge"/>
          <c:x val="0.24289866205748673"/>
          <c:y val="0.17624114881323288"/>
          <c:w val="0.57688112156712112"/>
          <c:h val="0.59130314960629915"/>
        </c:manualLayout>
      </c:layout>
      <c:doughnutChart>
        <c:varyColors val="1"/>
        <c:ser>
          <c:idx val="0"/>
          <c:order val="0"/>
          <c:tx>
            <c:strRef>
              <c:f>Sheet1!$B$1</c:f>
              <c:strCache>
                <c:ptCount val="1"/>
                <c:pt idx="0">
                  <c:v>Sales</c:v>
                </c:pt>
              </c:strCache>
            </c:strRef>
          </c:tx>
          <c:dPt>
            <c:idx val="0"/>
            <c:bubble3D val="0"/>
            <c:spPr>
              <a:solidFill>
                <a:schemeClr val="accent1">
                  <a:lumMod val="50000"/>
                </a:schemeClr>
              </a:solidFill>
            </c:spPr>
            <c:extLst>
              <c:ext xmlns:c16="http://schemas.microsoft.com/office/drawing/2014/chart" uri="{C3380CC4-5D6E-409C-BE32-E72D297353CC}">
                <c16:uniqueId val="{00000001-795E-0340-BAF5-3331B0FB36AE}"/>
              </c:ext>
            </c:extLst>
          </c:dPt>
          <c:dPt>
            <c:idx val="1"/>
            <c:bubble3D val="0"/>
            <c:spPr>
              <a:solidFill>
                <a:schemeClr val="bg1">
                  <a:lumMod val="75000"/>
                </a:schemeClr>
              </a:solidFill>
            </c:spPr>
            <c:extLst>
              <c:ext xmlns:c16="http://schemas.microsoft.com/office/drawing/2014/chart" uri="{C3380CC4-5D6E-409C-BE32-E72D297353CC}">
                <c16:uniqueId val="{00000003-795E-0340-BAF5-3331B0FB36AE}"/>
              </c:ext>
            </c:extLst>
          </c:dPt>
          <c:cat>
            <c:strRef>
              <c:f>Sheet1!$A$2:$A$3</c:f>
              <c:strCache>
                <c:ptCount val="2"/>
                <c:pt idx="0">
                  <c:v>1st Qtr</c:v>
                </c:pt>
                <c:pt idx="1">
                  <c:v>2nd Qtr</c:v>
                </c:pt>
              </c:strCache>
            </c:strRef>
          </c:cat>
          <c:val>
            <c:numRef>
              <c:f>Sheet1!$B$2:$B$3</c:f>
              <c:numCache>
                <c:formatCode>General</c:formatCode>
                <c:ptCount val="2"/>
                <c:pt idx="0">
                  <c:v>55</c:v>
                </c:pt>
                <c:pt idx="1">
                  <c:v>45</c:v>
                </c:pt>
              </c:numCache>
            </c:numRef>
          </c:val>
          <c:extLst>
            <c:ext xmlns:c16="http://schemas.microsoft.com/office/drawing/2014/chart" uri="{C3380CC4-5D6E-409C-BE32-E72D297353CC}">
              <c16:uniqueId val="{00000004-795E-0340-BAF5-3331B0FB36AE}"/>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929297900262471"/>
          <c:y val="0.15662878321850393"/>
          <c:w val="0.56224747785433071"/>
          <c:h val="0.84337121678149607"/>
        </c:manualLayout>
      </c:layout>
      <c:pieChart>
        <c:varyColors val="1"/>
        <c:ser>
          <c:idx val="0"/>
          <c:order val="0"/>
          <c:tx>
            <c:strRef>
              <c:f>Sheet1!$B$1</c:f>
              <c:strCache>
                <c:ptCount val="1"/>
                <c:pt idx="0">
                  <c:v>Column2</c:v>
                </c:pt>
              </c:strCache>
            </c:strRef>
          </c:tx>
          <c:spPr>
            <a:solidFill>
              <a:srgbClr val="002060"/>
            </a:solidFill>
            <a:ln w="12700"/>
          </c:spPr>
          <c:dPt>
            <c:idx val="0"/>
            <c:bubble3D val="0"/>
            <c:spPr>
              <a:solidFill>
                <a:srgbClr val="3368FB"/>
              </a:solidFill>
              <a:ln w="12700">
                <a:solidFill>
                  <a:schemeClr val="lt1"/>
                </a:solidFill>
              </a:ln>
              <a:effectLst/>
            </c:spPr>
            <c:extLst>
              <c:ext xmlns:c16="http://schemas.microsoft.com/office/drawing/2014/chart" uri="{C3380CC4-5D6E-409C-BE32-E72D297353CC}">
                <c16:uniqueId val="{00000001-4EA7-E641-94D0-284F2B212CFF}"/>
              </c:ext>
            </c:extLst>
          </c:dPt>
          <c:dPt>
            <c:idx val="1"/>
            <c:bubble3D val="0"/>
            <c:spPr>
              <a:solidFill>
                <a:srgbClr val="385723"/>
              </a:solidFill>
              <a:ln w="12700">
                <a:solidFill>
                  <a:schemeClr val="bg1"/>
                </a:solidFill>
              </a:ln>
              <a:effectLst/>
            </c:spPr>
            <c:extLst>
              <c:ext xmlns:c16="http://schemas.microsoft.com/office/drawing/2014/chart" uri="{C3380CC4-5D6E-409C-BE32-E72D297353CC}">
                <c16:uniqueId val="{00000003-4EA7-E641-94D0-284F2B212CFF}"/>
              </c:ext>
            </c:extLst>
          </c:dPt>
          <c:dPt>
            <c:idx val="2"/>
            <c:bubble3D val="0"/>
            <c:spPr>
              <a:solidFill>
                <a:srgbClr val="73BFFE"/>
              </a:solidFill>
              <a:ln w="12700">
                <a:solidFill>
                  <a:schemeClr val="lt1"/>
                </a:solidFill>
              </a:ln>
              <a:effectLst/>
            </c:spPr>
            <c:extLst>
              <c:ext xmlns:c16="http://schemas.microsoft.com/office/drawing/2014/chart" uri="{C3380CC4-5D6E-409C-BE32-E72D297353CC}">
                <c16:uniqueId val="{00000005-4EA7-E641-94D0-284F2B212CFF}"/>
              </c:ext>
            </c:extLst>
          </c:dPt>
          <c:dPt>
            <c:idx val="3"/>
            <c:bubble3D val="0"/>
            <c:spPr>
              <a:solidFill>
                <a:srgbClr val="002060"/>
              </a:solidFill>
              <a:ln w="12700">
                <a:solidFill>
                  <a:schemeClr val="lt1"/>
                </a:solidFill>
              </a:ln>
              <a:effectLst/>
            </c:spPr>
            <c:extLst>
              <c:ext xmlns:c16="http://schemas.microsoft.com/office/drawing/2014/chart" uri="{C3380CC4-5D6E-409C-BE32-E72D297353CC}">
                <c16:uniqueId val="{00000007-4EA7-E641-94D0-284F2B212CFF}"/>
              </c:ext>
            </c:extLst>
          </c:dPt>
          <c:dPt>
            <c:idx val="4"/>
            <c:bubble3D val="0"/>
            <c:spPr>
              <a:solidFill>
                <a:srgbClr val="75787B"/>
              </a:solidFill>
              <a:ln w="12700">
                <a:solidFill>
                  <a:schemeClr val="lt1"/>
                </a:solidFill>
              </a:ln>
              <a:effectLst/>
            </c:spPr>
            <c:extLst>
              <c:ext xmlns:c16="http://schemas.microsoft.com/office/drawing/2014/chart" uri="{C3380CC4-5D6E-409C-BE32-E72D297353CC}">
                <c16:uniqueId val="{00000009-4EA7-E641-94D0-284F2B212CFF}"/>
              </c:ext>
            </c:extLst>
          </c:dPt>
          <c:cat>
            <c:numRef>
              <c:f>Sheet1!$A$2:$A$6</c:f>
              <c:numCache>
                <c:formatCode>General</c:formatCode>
                <c:ptCount val="5"/>
                <c:pt idx="0">
                  <c:v>1</c:v>
                </c:pt>
                <c:pt idx="1">
                  <c:v>2</c:v>
                </c:pt>
                <c:pt idx="2">
                  <c:v>3</c:v>
                </c:pt>
                <c:pt idx="3">
                  <c:v>4</c:v>
                </c:pt>
                <c:pt idx="4">
                  <c:v>5</c:v>
                </c:pt>
              </c:numCache>
            </c:numRef>
          </c:cat>
          <c:val>
            <c:numRef>
              <c:f>Sheet1!$B$2:$B$6</c:f>
              <c:numCache>
                <c:formatCode>General</c:formatCode>
                <c:ptCount val="5"/>
                <c:pt idx="0">
                  <c:v>20</c:v>
                </c:pt>
                <c:pt idx="1">
                  <c:v>4</c:v>
                </c:pt>
                <c:pt idx="2">
                  <c:v>33</c:v>
                </c:pt>
                <c:pt idx="3">
                  <c:v>34</c:v>
                </c:pt>
                <c:pt idx="4">
                  <c:v>9</c:v>
                </c:pt>
              </c:numCache>
            </c:numRef>
          </c:val>
          <c:extLst>
            <c:ext xmlns:c16="http://schemas.microsoft.com/office/drawing/2014/chart" uri="{C3380CC4-5D6E-409C-BE32-E72D297353CC}">
              <c16:uniqueId val="{00000008-4EA7-E641-94D0-284F2B212CFF}"/>
            </c:ext>
          </c:extLst>
        </c:ser>
        <c:dLbls>
          <c:showLegendKey val="0"/>
          <c:showVal val="0"/>
          <c:showCatName val="0"/>
          <c:showSerName val="0"/>
          <c:showPercent val="0"/>
          <c:showBubbleSize val="0"/>
          <c:showLeaderLines val="1"/>
        </c:dLbls>
        <c:firstSliceAng val="272"/>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3369FF"/>
            </a:solidFill>
            <a:ln>
              <a:noFill/>
            </a:ln>
            <a:effectLst/>
          </c:spPr>
          <c:invertIfNegative val="0"/>
          <c:dPt>
            <c:idx val="0"/>
            <c:invertIfNegative val="0"/>
            <c:bubble3D val="0"/>
            <c:spPr>
              <a:solidFill>
                <a:srgbClr val="3369FF"/>
              </a:solidFill>
              <a:ln>
                <a:noFill/>
              </a:ln>
              <a:effectLst/>
            </c:spPr>
            <c:extLst>
              <c:ext xmlns:c16="http://schemas.microsoft.com/office/drawing/2014/chart" uri="{C3380CC4-5D6E-409C-BE32-E72D297353CC}">
                <c16:uniqueId val="{00000001-F76B-A144-984D-30111F391ACE}"/>
              </c:ext>
            </c:extLst>
          </c:dPt>
          <c:dPt>
            <c:idx val="1"/>
            <c:invertIfNegative val="0"/>
            <c:bubble3D val="0"/>
            <c:spPr>
              <a:solidFill>
                <a:srgbClr val="3369FF"/>
              </a:solidFill>
              <a:ln>
                <a:noFill/>
              </a:ln>
              <a:effectLst/>
            </c:spPr>
            <c:extLst>
              <c:ext xmlns:c16="http://schemas.microsoft.com/office/drawing/2014/chart" uri="{C3380CC4-5D6E-409C-BE32-E72D297353CC}">
                <c16:uniqueId val="{00000003-F76B-A144-984D-30111F391ACE}"/>
              </c:ext>
            </c:extLst>
          </c:dPt>
          <c:dPt>
            <c:idx val="2"/>
            <c:invertIfNegative val="0"/>
            <c:bubble3D val="0"/>
            <c:spPr>
              <a:solidFill>
                <a:srgbClr val="3369FF"/>
              </a:solidFill>
              <a:ln>
                <a:noFill/>
              </a:ln>
              <a:effectLst/>
            </c:spPr>
            <c:extLst>
              <c:ext xmlns:c16="http://schemas.microsoft.com/office/drawing/2014/chart" uri="{C3380CC4-5D6E-409C-BE32-E72D297353CC}">
                <c16:uniqueId val="{00000005-F76B-A144-984D-30111F391ACE}"/>
              </c:ext>
            </c:extLst>
          </c:dPt>
          <c:dPt>
            <c:idx val="3"/>
            <c:invertIfNegative val="0"/>
            <c:bubble3D val="0"/>
            <c:spPr>
              <a:solidFill>
                <a:srgbClr val="3369FF"/>
              </a:solidFill>
              <a:ln>
                <a:noFill/>
              </a:ln>
              <a:effectLst/>
            </c:spPr>
            <c:extLst>
              <c:ext xmlns:c16="http://schemas.microsoft.com/office/drawing/2014/chart" uri="{C3380CC4-5D6E-409C-BE32-E72D297353CC}">
                <c16:uniqueId val="{00000007-F76B-A144-984D-30111F391ACE}"/>
              </c:ext>
            </c:extLst>
          </c:dPt>
          <c:dPt>
            <c:idx val="4"/>
            <c:invertIfNegative val="0"/>
            <c:bubble3D val="0"/>
            <c:spPr>
              <a:solidFill>
                <a:srgbClr val="3369FF"/>
              </a:solidFill>
              <a:ln>
                <a:noFill/>
              </a:ln>
              <a:effectLst/>
            </c:spPr>
            <c:extLst>
              <c:ext xmlns:c16="http://schemas.microsoft.com/office/drawing/2014/chart" uri="{C3380CC4-5D6E-409C-BE32-E72D297353CC}">
                <c16:uniqueId val="{00000009-F76B-A144-984D-30111F391ACE}"/>
              </c:ext>
            </c:extLst>
          </c:dPt>
          <c:dPt>
            <c:idx val="5"/>
            <c:invertIfNegative val="0"/>
            <c:bubble3D val="0"/>
            <c:spPr>
              <a:solidFill>
                <a:srgbClr val="3369FF"/>
              </a:solidFill>
              <a:ln>
                <a:noFill/>
              </a:ln>
              <a:effectLst/>
            </c:spPr>
            <c:extLst>
              <c:ext xmlns:c16="http://schemas.microsoft.com/office/drawing/2014/chart" uri="{C3380CC4-5D6E-409C-BE32-E72D297353CC}">
                <c16:uniqueId val="{0000000B-F76B-A144-984D-30111F391ACE}"/>
              </c:ext>
            </c:extLst>
          </c:dPt>
          <c:dLbls>
            <c:dLbl>
              <c:idx val="0"/>
              <c:tx>
                <c:rich>
                  <a:bodyPr/>
                  <a:lstStyle/>
                  <a:p>
                    <a:r>
                      <a:rPr lang="en-US" sz="2000" b="1" dirty="0">
                        <a:solidFill>
                          <a:schemeClr val="bg1"/>
                        </a:solidFill>
                        <a:latin typeface="Segoe UI" panose="020B0502040204020203" pitchFamily="34" charset="0"/>
                        <a:ea typeface="Segoe UI" panose="020B0502040204020203" pitchFamily="34" charset="0"/>
                        <a:cs typeface="Segoe UI" panose="020B0502040204020203" pitchFamily="34" charset="0"/>
                      </a:rPr>
                      <a:t>99.7%</a:t>
                    </a:r>
                    <a:endParaRPr lang="en-US" sz="2000" b="1" dirty="0">
                      <a:solidFill>
                        <a:schemeClr val="bg1"/>
                      </a:solidFill>
                    </a:endParaRP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76B-A144-984D-30111F391ACE}"/>
                </c:ext>
              </c:extLst>
            </c:dLbl>
            <c:dLbl>
              <c:idx val="1"/>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r>
                      <a:rPr lang="en-US" sz="2000" b="1" dirty="0">
                        <a:solidFill>
                          <a:schemeClr val="bg1"/>
                        </a:solidFill>
                        <a:latin typeface="Segoe UI" panose="020B0502040204020203" pitchFamily="34" charset="0"/>
                        <a:ea typeface="Segoe UI" panose="020B0502040204020203" pitchFamily="34" charset="0"/>
                        <a:cs typeface="Segoe UI" panose="020B0502040204020203" pitchFamily="34" charset="0"/>
                      </a:rPr>
                      <a:t>93.1%</a:t>
                    </a:r>
                    <a:endParaRPr lang="en-US" sz="2000" b="1" i="0" u="none" strike="noStrike" kern="1200" baseline="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sz="2000" b="1">
                        <a:solidFill>
                          <a:srgbClr val="FFFFFF"/>
                        </a:solidFill>
                      </a:defRPr>
                    </a:pPr>
                    <a:endParaRPr lang="en-US" sz="2000" dirty="0"/>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76B-A144-984D-30111F391ACE}"/>
                </c:ext>
              </c:extLst>
            </c:dLbl>
            <c:dLbl>
              <c:idx val="2"/>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r>
                      <a:rPr lang="en-US" sz="2000" b="1" dirty="0">
                        <a:solidFill>
                          <a:schemeClr val="bg1"/>
                        </a:solidFill>
                        <a:latin typeface="Segoe UI" panose="020B0502040204020203" pitchFamily="34" charset="0"/>
                        <a:ea typeface="Segoe UI" panose="020B0502040204020203" pitchFamily="34" charset="0"/>
                        <a:cs typeface="Segoe UI" panose="020B0502040204020203" pitchFamily="34" charset="0"/>
                      </a:rPr>
                      <a:t>58.1%</a:t>
                    </a:r>
                    <a:endParaRPr lang="en-US" sz="2000" b="1" i="0" u="none" strike="noStrike" kern="1200" baseline="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sz="2000" b="1">
                        <a:solidFill>
                          <a:srgbClr val="FFFFFF"/>
                        </a:solidFill>
                      </a:defRPr>
                    </a:pPr>
                    <a:endParaRPr lang="en-US" sz="2000" dirty="0"/>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76B-A144-984D-30111F391ACE}"/>
                </c:ext>
              </c:extLst>
            </c:dLbl>
            <c:dLbl>
              <c:idx val="3"/>
              <c:layout>
                <c:manualLayout>
                  <c:x val="0"/>
                  <c:y val="0.28093308123656713"/>
                </c:manualLayout>
              </c:layout>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r>
                      <a:rPr lang="en-US" sz="2000" b="1" dirty="0">
                        <a:solidFill>
                          <a:schemeClr val="bg1"/>
                        </a:solidFill>
                        <a:latin typeface="Segoe UI" panose="020B0502040204020203" pitchFamily="34" charset="0"/>
                        <a:ea typeface="Segoe UI" panose="020B0502040204020203" pitchFamily="34" charset="0"/>
                        <a:cs typeface="Segoe UI" panose="020B0502040204020203" pitchFamily="34" charset="0"/>
                      </a:rPr>
                      <a:t>30.2%</a:t>
                    </a:r>
                    <a:endParaRPr lang="en-US" sz="2000" b="1" i="0" u="none" strike="noStrike" kern="1200" baseline="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sz="2000" b="1">
                        <a:solidFill>
                          <a:srgbClr val="FFFFFF"/>
                        </a:solidFill>
                      </a:defRPr>
                    </a:pPr>
                    <a:endParaRPr lang="en-US" sz="2000" dirty="0"/>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76B-A144-984D-30111F391ACE}"/>
                </c:ext>
              </c:extLst>
            </c:dLbl>
            <c:dLbl>
              <c:idx val="4"/>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r>
                      <a:rPr lang="en-US" sz="2000" b="1" dirty="0">
                        <a:solidFill>
                          <a:schemeClr val="bg1"/>
                        </a:solidFill>
                        <a:latin typeface="Segoe UI" panose="020B0502040204020203" pitchFamily="34" charset="0"/>
                        <a:ea typeface="Segoe UI" panose="020B0502040204020203" pitchFamily="34" charset="0"/>
                        <a:cs typeface="Segoe UI" panose="020B0502040204020203" pitchFamily="34" charset="0"/>
                      </a:rPr>
                      <a:t>82%</a:t>
                    </a:r>
                    <a:endParaRPr lang="en-US" sz="2000" b="1" i="0" u="none" strike="noStrike" kern="1200" baseline="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sz="2000" b="1">
                        <a:solidFill>
                          <a:srgbClr val="FFFFFF"/>
                        </a:solidFill>
                      </a:defRPr>
                    </a:pPr>
                    <a:endParaRPr lang="en-US" sz="2000" dirty="0"/>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76B-A144-984D-30111F391ACE}"/>
                </c:ext>
              </c:extLst>
            </c:dLbl>
            <c:dLbl>
              <c:idx val="5"/>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r>
                      <a:rPr lang="en-US" sz="2000" b="1" dirty="0">
                        <a:solidFill>
                          <a:schemeClr val="bg1"/>
                        </a:solidFill>
                        <a:latin typeface="Segoe UI" panose="020B0502040204020203" pitchFamily="34" charset="0"/>
                        <a:ea typeface="Segoe UI" panose="020B0502040204020203" pitchFamily="34" charset="0"/>
                        <a:cs typeface="Segoe UI" panose="020B0502040204020203" pitchFamily="34" charset="0"/>
                      </a:rPr>
                      <a:t>92%</a:t>
                    </a:r>
                    <a:endParaRPr lang="en-US" sz="2000" b="1" i="0" u="none" strike="noStrike" kern="1200" baseline="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sz="2000" b="1">
                        <a:solidFill>
                          <a:srgbClr val="FFFFFF"/>
                        </a:solidFill>
                      </a:defRPr>
                    </a:pPr>
                    <a:endParaRPr lang="en-US" sz="2000" dirty="0"/>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76B-A144-984D-30111F391ACE}"/>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70</c:v>
                </c:pt>
                <c:pt idx="1">
                  <c:v>80</c:v>
                </c:pt>
                <c:pt idx="2">
                  <c:v>90</c:v>
                </c:pt>
                <c:pt idx="3">
                  <c:v>95</c:v>
                </c:pt>
              </c:numCache>
            </c:numRef>
          </c:cat>
          <c:val>
            <c:numRef>
              <c:f>Sheet1!$B$2:$B$7</c:f>
              <c:numCache>
                <c:formatCode>0%</c:formatCode>
                <c:ptCount val="6"/>
                <c:pt idx="0">
                  <c:v>0.997</c:v>
                </c:pt>
                <c:pt idx="1">
                  <c:v>0.93100000000000005</c:v>
                </c:pt>
                <c:pt idx="2">
                  <c:v>0.58099999999999996</c:v>
                </c:pt>
                <c:pt idx="3">
                  <c:v>0.30199999999999999</c:v>
                </c:pt>
              </c:numCache>
            </c:numRef>
          </c:val>
          <c:extLst>
            <c:ext xmlns:c16="http://schemas.microsoft.com/office/drawing/2014/chart" uri="{C3380CC4-5D6E-409C-BE32-E72D297353CC}">
              <c16:uniqueId val="{0000000C-F76B-A144-984D-30111F391ACE}"/>
            </c:ext>
          </c:extLst>
        </c:ser>
        <c:dLbls>
          <c:dLblPos val="inEnd"/>
          <c:showLegendKey val="0"/>
          <c:showVal val="1"/>
          <c:showCatName val="0"/>
          <c:showSerName val="0"/>
          <c:showPercent val="0"/>
          <c:showBubbleSize val="0"/>
        </c:dLbls>
        <c:gapWidth val="52"/>
        <c:overlap val="62"/>
        <c:axId val="1305847512"/>
        <c:axId val="1305849152"/>
      </c:barChart>
      <c:catAx>
        <c:axId val="1305847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rgbClr val="75787B"/>
                </a:solidFill>
                <a:latin typeface="+mn-lt"/>
                <a:ea typeface="+mn-ea"/>
                <a:cs typeface="+mn-cs"/>
              </a:defRPr>
            </a:pPr>
            <a:endParaRPr lang="en-US"/>
          </a:p>
        </c:txPr>
        <c:crossAx val="1305849152"/>
        <c:crossesAt val="0"/>
        <c:auto val="1"/>
        <c:lblAlgn val="ctr"/>
        <c:lblOffset val="100"/>
        <c:noMultiLvlLbl val="0"/>
      </c:catAx>
      <c:valAx>
        <c:axId val="1305849152"/>
        <c:scaling>
          <c:orientation val="minMax"/>
          <c:min val="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75787B"/>
                </a:solidFill>
                <a:latin typeface="+mn-lt"/>
                <a:ea typeface="+mn-ea"/>
                <a:cs typeface="+mn-cs"/>
              </a:defRPr>
            </a:pPr>
            <a:endParaRPr lang="en-US"/>
          </a:p>
        </c:txPr>
        <c:crossAx val="13058475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1">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2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3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2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3" dt="2020-01-13T19:41:05.452" idx="3">
    <p:pos x="5200" y="798"/>
    <p:text>footnotes here to "6" and "7" which aren't listed below</p:text>
    <p:extLst>
      <p:ext uri="{C676402C-5697-4E1C-873F-D02D1690AC5C}">
        <p15:threadingInfo xmlns:p15="http://schemas.microsoft.com/office/powerpoint/2012/main" timeZoneBias="3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57044</cdr:x>
      <cdr:y>0.77518</cdr:y>
    </cdr:from>
    <cdr:to>
      <cdr:x>0.66608</cdr:x>
      <cdr:y>0.90312</cdr:y>
    </cdr:to>
    <cdr:sp macro="" textlink="">
      <cdr:nvSpPr>
        <cdr:cNvPr id="3" name="TextBox 74">
          <a:extLst xmlns:a="http://schemas.openxmlformats.org/drawingml/2006/main">
            <a:ext uri="{FF2B5EF4-FFF2-40B4-BE49-F238E27FC236}">
              <a16:creationId xmlns:a16="http://schemas.microsoft.com/office/drawing/2014/main" id="{E0D7B5DA-7881-7743-870E-1B229E23AF47}"/>
            </a:ext>
          </a:extLst>
        </cdr:cNvPr>
        <cdr:cNvSpPr txBox="1"/>
      </cdr:nvSpPr>
      <cdr:spPr>
        <a:xfrm xmlns:a="http://schemas.openxmlformats.org/drawingml/2006/main">
          <a:off x="3032664" y="2853006"/>
          <a:ext cx="508450" cy="4708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xmlns:a="http://schemas.openxmlformats.org/drawingml/2006/main">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34%</a:t>
          </a:r>
        </a:p>
        <a:p xmlns:a="http://schemas.openxmlformats.org/drawingml/2006/main">
          <a:endParaRPr lang="en-US" dirty="0"/>
        </a:p>
      </cdr:txBody>
    </cdr:sp>
  </cdr:relSizeAnchor>
</c:userShapes>
</file>

<file path=ppt/drawings/drawing2.xml><?xml version="1.0" encoding="utf-8"?>
<c:userShapes xmlns:c="http://schemas.openxmlformats.org/drawingml/2006/chart">
  <cdr:relSizeAnchor xmlns:cdr="http://schemas.openxmlformats.org/drawingml/2006/chartDrawing">
    <cdr:from>
      <cdr:x>0.82603</cdr:x>
      <cdr:y>0.2076</cdr:y>
    </cdr:from>
    <cdr:to>
      <cdr:x>0.8973</cdr:x>
      <cdr:y>0.29713</cdr:y>
    </cdr:to>
    <cdr:sp macro="" textlink="">
      <cdr:nvSpPr>
        <cdr:cNvPr id="2" name="TextBox 77">
          <a:extLst xmlns:a="http://schemas.openxmlformats.org/drawingml/2006/main">
            <a:ext uri="{FF2B5EF4-FFF2-40B4-BE49-F238E27FC236}">
              <a16:creationId xmlns:a16="http://schemas.microsoft.com/office/drawing/2014/main" id="{1821B136-24A0-9645-BD2E-446E302903A6}"/>
            </a:ext>
          </a:extLst>
        </cdr:cNvPr>
        <cdr:cNvSpPr txBox="1"/>
      </cdr:nvSpPr>
      <cdr:spPr>
        <a:xfrm xmlns:a="http://schemas.openxmlformats.org/drawingml/2006/main">
          <a:off x="7446645" y="642340"/>
          <a:ext cx="642529"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xmlns:a="http://schemas.openxmlformats.org/drawingml/2006/main">
          <a:r>
            <a:rPr lang="en-US" sz="1200" b="1" dirty="0">
              <a:solidFill>
                <a:schemeClr val="bg1"/>
              </a:solidFill>
              <a:latin typeface="Segoe UI" panose="020B0502040204020203" pitchFamily="34" charset="0"/>
              <a:ea typeface="Segoe UI" panose="020B0502040204020203" pitchFamily="34" charset="0"/>
              <a:cs typeface="Segoe UI" panose="020B0502040204020203" pitchFamily="34" charset="0"/>
            </a:rPr>
            <a:t>41%</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IBM Eliot Sans Medium" panose="020B0703050000000000"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IBM Eliot Sans Medium" panose="020B0703050000000000" pitchFamily="34" charset="0"/>
              </a:rPr>
              <a:t>2/19/2020</a:t>
            </a:fld>
            <a:endParaRPr lang="en-US" dirty="0">
              <a:latin typeface="IBM Eliot Sans Medium" panose="020B0703050000000000"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IBM Eliot Sans Medium" panose="020B0703050000000000"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IBM Eliot Sans Medium" panose="020B0703050000000000" pitchFamily="34" charset="0"/>
              </a:rPr>
              <a:t>‹#›</a:t>
            </a:fld>
            <a:endParaRPr lang="en-US" dirty="0">
              <a:latin typeface="IBM Eliot Sans Medium" panose="020B0703050000000000"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pPr/>
              <a:t>2/19/2020</a:t>
            </a:fld>
            <a:endParaRPr lang="en-US" dirty="0"/>
          </a:p>
        </p:txBody>
      </p:sp>
      <p:sp>
        <p:nvSpPr>
          <p:cNvPr id="4" name="Slide Image Placeholder 3"/>
          <p:cNvSpPr>
            <a:spLocks noGrp="1" noRot="1" noChangeAspect="1"/>
          </p:cNvSpPr>
          <p:nvPr>
            <p:ph type="sldImg" idx="2"/>
          </p:nvPr>
        </p:nvSpPr>
        <p:spPr>
          <a:xfrm>
            <a:off x="3028950" y="857250"/>
            <a:ext cx="3086100" cy="23145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pPr/>
              <a:t>‹#›</a:t>
            </a:fld>
            <a:endParaRPr lang="en-US" dirty="0"/>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768096" rtl="0" eaLnBrk="1" latinLnBrk="0" hangingPunct="1">
      <a:defRPr sz="1008" b="0" i="0" kern="1200">
        <a:solidFill>
          <a:schemeClr val="tx1"/>
        </a:solidFill>
        <a:latin typeface="IBM Eliot Sans Medium" panose="020B0703050000000000" pitchFamily="34" charset="0"/>
        <a:ea typeface="+mn-ea"/>
        <a:cs typeface="+mn-cs"/>
      </a:defRPr>
    </a:lvl1pPr>
    <a:lvl2pPr marL="384048" algn="l" defTabSz="768096" rtl="0" eaLnBrk="1" latinLnBrk="0" hangingPunct="1">
      <a:defRPr sz="1008" b="0" i="0" kern="1200">
        <a:solidFill>
          <a:schemeClr val="tx1"/>
        </a:solidFill>
        <a:latin typeface="IBM Eliot Sans Medium" panose="020B0703050000000000" pitchFamily="34" charset="0"/>
        <a:ea typeface="+mn-ea"/>
        <a:cs typeface="+mn-cs"/>
      </a:defRPr>
    </a:lvl2pPr>
    <a:lvl3pPr marL="768096" algn="l" defTabSz="768096" rtl="0" eaLnBrk="1" latinLnBrk="0" hangingPunct="1">
      <a:defRPr sz="1008" b="0" i="0" kern="1200">
        <a:solidFill>
          <a:schemeClr val="tx1"/>
        </a:solidFill>
        <a:latin typeface="IBM Eliot Sans Medium" panose="020B0703050000000000" pitchFamily="34" charset="0"/>
        <a:ea typeface="+mn-ea"/>
        <a:cs typeface="+mn-cs"/>
      </a:defRPr>
    </a:lvl3pPr>
    <a:lvl4pPr marL="1152144" algn="l" defTabSz="768096" rtl="0" eaLnBrk="1" latinLnBrk="0" hangingPunct="1">
      <a:defRPr sz="1008" b="0" i="0" kern="1200">
        <a:solidFill>
          <a:schemeClr val="tx1"/>
        </a:solidFill>
        <a:latin typeface="IBM Eliot Sans Medium" panose="020B0703050000000000" pitchFamily="34" charset="0"/>
        <a:ea typeface="+mn-ea"/>
        <a:cs typeface="+mn-cs"/>
      </a:defRPr>
    </a:lvl4pPr>
    <a:lvl5pPr marL="1536192" algn="l" defTabSz="768096" rtl="0" eaLnBrk="1" latinLnBrk="0" hangingPunct="1">
      <a:defRPr sz="1008" b="0" i="0" kern="1200">
        <a:solidFill>
          <a:schemeClr val="tx1"/>
        </a:solidFill>
        <a:latin typeface="IBM Eliot Sans Medium" panose="020B0703050000000000" pitchFamily="34" charset="0"/>
        <a:ea typeface="+mn-ea"/>
        <a:cs typeface="+mn-cs"/>
      </a:defRPr>
    </a:lvl5pPr>
    <a:lvl6pPr marL="1920240" algn="l" defTabSz="768096" rtl="0" eaLnBrk="1" latinLnBrk="0" hangingPunct="1">
      <a:defRPr sz="1008" kern="1200">
        <a:solidFill>
          <a:schemeClr val="tx1"/>
        </a:solidFill>
        <a:latin typeface="+mn-lt"/>
        <a:ea typeface="+mn-ea"/>
        <a:cs typeface="+mn-cs"/>
      </a:defRPr>
    </a:lvl6pPr>
    <a:lvl7pPr marL="2304288" algn="l" defTabSz="768096" rtl="0" eaLnBrk="1" latinLnBrk="0" hangingPunct="1">
      <a:defRPr sz="1008" kern="1200">
        <a:solidFill>
          <a:schemeClr val="tx1"/>
        </a:solidFill>
        <a:latin typeface="+mn-lt"/>
        <a:ea typeface="+mn-ea"/>
        <a:cs typeface="+mn-cs"/>
      </a:defRPr>
    </a:lvl7pPr>
    <a:lvl8pPr marL="2688336" algn="l" defTabSz="768096" rtl="0" eaLnBrk="1" latinLnBrk="0" hangingPunct="1">
      <a:defRPr sz="1008" kern="1200">
        <a:solidFill>
          <a:schemeClr val="tx1"/>
        </a:solidFill>
        <a:latin typeface="+mn-lt"/>
        <a:ea typeface="+mn-ea"/>
        <a:cs typeface="+mn-cs"/>
      </a:defRPr>
    </a:lvl8pPr>
    <a:lvl9pPr marL="3072384" algn="l" defTabSz="768096" rtl="0" eaLnBrk="1" latinLnBrk="0" hangingPunct="1">
      <a:defRPr sz="100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GB" altLang="en-US" sz="1050" dirty="0">
                <a:latin typeface="Arial" pitchFamily="34" charset="0"/>
              </a:rPr>
              <a:t>The retirement landscape is changing. In fact, the traditional notion of retirement, in which you stop working to enjoy some leisure time is fast becoming obsolete for more and more Americans. </a:t>
            </a:r>
          </a:p>
          <a:p>
            <a:pPr eaLnBrk="1" hangingPunct="1"/>
            <a:endParaRPr lang="en-GB" altLang="en-US" sz="1050" dirty="0">
              <a:latin typeface="Arial" pitchFamily="34" charset="0"/>
            </a:endParaRPr>
          </a:p>
          <a:p>
            <a:pPr eaLnBrk="1" hangingPunct="1"/>
            <a:r>
              <a:rPr lang="en-GB" altLang="en-US" sz="1050" dirty="0">
                <a:latin typeface="Arial" pitchFamily="34" charset="0"/>
              </a:rPr>
              <a:t>Today’s presentation will take a look at the trends and the implications you need to consider while planning for retirement, so that you can design and implement a plan that has the potential to succeed. </a:t>
            </a:r>
          </a:p>
          <a:p>
            <a:pPr eaLnBrk="1" hangingPunct="1"/>
            <a:endParaRPr lang="en-GB" altLang="en-US" sz="1050" dirty="0">
              <a:latin typeface="Arial" pitchFamily="34" charset="0"/>
            </a:endParaRPr>
          </a:p>
          <a:p>
            <a:pPr eaLnBrk="1" hangingPunct="1">
              <a:spcBef>
                <a:spcPct val="0"/>
              </a:spcBef>
            </a:pPr>
            <a:endParaRPr lang="en-US" altLang="en-US" sz="1050"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a:t>
            </a:fld>
            <a:endParaRPr lang="en-US" dirty="0"/>
          </a:p>
        </p:txBody>
      </p:sp>
    </p:spTree>
    <p:extLst>
      <p:ext uri="{BB962C8B-B14F-4D97-AF65-F5344CB8AC3E}">
        <p14:creationId xmlns:p14="http://schemas.microsoft.com/office/powerpoint/2010/main" val="3692901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050" dirty="0"/>
              <a:t>Aside from protection from the market, another concern for consumers facing retirement is lifetime income. </a:t>
            </a:r>
          </a:p>
          <a:p>
            <a:pPr>
              <a:defRPr/>
            </a:pPr>
            <a:r>
              <a:rPr lang="en-US" sz="1050" dirty="0"/>
              <a:t>As income stream stops after retirement, consumers need to be prepared by considering lifetime income. </a:t>
            </a:r>
          </a:p>
          <a:p>
            <a:pPr>
              <a:defRPr/>
            </a:pPr>
            <a:r>
              <a:rPr lang="en-US" sz="1050" dirty="0"/>
              <a:t>73% of consumers are concerned that their income won’t last throughout retirement,</a:t>
            </a:r>
            <a:r>
              <a:rPr lang="en-US" sz="1050" baseline="0" dirty="0"/>
              <a:t> but </a:t>
            </a:r>
            <a:r>
              <a:rPr lang="en-US" sz="1050" dirty="0"/>
              <a:t>only 55% believe investment risk is necessary for financial success. Again, we see two factors in conflict: 1. Need to invest for a better retirement 2. fear of losing investment</a:t>
            </a:r>
          </a:p>
        </p:txBody>
      </p:sp>
      <p:sp>
        <p:nvSpPr>
          <p:cNvPr id="4" name="Slide Number Placeholder 3"/>
          <p:cNvSpPr>
            <a:spLocks noGrp="1"/>
          </p:cNvSpPr>
          <p:nvPr>
            <p:ph type="sldNum" sz="quarter" idx="5"/>
          </p:nvPr>
        </p:nvSpPr>
        <p:spPr/>
        <p:txBody>
          <a:bodyPr/>
          <a:lstStyle/>
          <a:p>
            <a:fld id="{67E37107-5B3B-C144-9AF1-F4F03A8099C2}" type="slidenum">
              <a:rPr lang="en-US" smtClean="0"/>
              <a:pPr/>
              <a:t>10</a:t>
            </a:fld>
            <a:endParaRPr lang="en-US" dirty="0"/>
          </a:p>
        </p:txBody>
      </p:sp>
    </p:spTree>
    <p:extLst>
      <p:ext uri="{BB962C8B-B14F-4D97-AF65-F5344CB8AC3E}">
        <p14:creationId xmlns:p14="http://schemas.microsoft.com/office/powerpoint/2010/main" val="9048040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en-US" altLang="en-US" sz="1050" dirty="0">
              <a:latin typeface="Arial" pitchFamily="34" charset="0"/>
            </a:endParaRPr>
          </a:p>
          <a:p>
            <a:pPr eaLnBrk="1" hangingPunct="1"/>
            <a:r>
              <a:rPr lang="en-US" altLang="en-US" sz="1050" dirty="0"/>
              <a:t>Here you can see different ways in which guaranteed income can be available for population that’s over the age 65, with social security and employment earnings leading the way. However, these factors cannot</a:t>
            </a:r>
            <a:r>
              <a:rPr lang="en-US" altLang="en-US" sz="1050" baseline="0" dirty="0"/>
              <a:t> be relied on to create complete financial security through todays increasing  length of retirement.  People are living longer, and won’t be able to rely solely on employment earnings and social security to guarantee them financial security through the length of their retirement.</a:t>
            </a:r>
            <a:endParaRPr lang="en-US" altLang="en-US" sz="1050"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1</a:t>
            </a:fld>
            <a:endParaRPr lang="en-US" dirty="0"/>
          </a:p>
        </p:txBody>
      </p:sp>
    </p:spTree>
    <p:extLst>
      <p:ext uri="{BB962C8B-B14F-4D97-AF65-F5344CB8AC3E}">
        <p14:creationId xmlns:p14="http://schemas.microsoft.com/office/powerpoint/2010/main" val="29247721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050" dirty="0"/>
              <a:t>With development in modern technology, people are living longer. Assuming retirement at 65, consumers are looking at 20 to 30 years in retirement on average. That’s a long</a:t>
            </a:r>
            <a:r>
              <a:rPr lang="en-US" sz="1050" baseline="0" dirty="0"/>
              <a:t> time to rely on earnings from employment and social security alone, increasing the importance of saving for retirement.</a:t>
            </a:r>
            <a:endParaRPr lang="en-US" sz="1050"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2</a:t>
            </a:fld>
            <a:endParaRPr lang="en-US" dirty="0"/>
          </a:p>
        </p:txBody>
      </p:sp>
    </p:spTree>
    <p:extLst>
      <p:ext uri="{BB962C8B-B14F-4D97-AF65-F5344CB8AC3E}">
        <p14:creationId xmlns:p14="http://schemas.microsoft.com/office/powerpoint/2010/main" val="10431005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050" dirty="0"/>
              <a:t>Following up on the previous slide, there’s a significant chance of living to at least age 90,</a:t>
            </a:r>
            <a:r>
              <a:rPr lang="en-US" sz="1050" baseline="0" dirty="0"/>
              <a:t> and some are living even longer.</a:t>
            </a:r>
            <a:r>
              <a:rPr lang="en-US" sz="1050" dirty="0"/>
              <a:t> Consumers must consider: do they have enough income saved up for many years of retirement?</a:t>
            </a:r>
          </a:p>
        </p:txBody>
      </p:sp>
      <p:sp>
        <p:nvSpPr>
          <p:cNvPr id="4" name="Slide Number Placeholder 3"/>
          <p:cNvSpPr>
            <a:spLocks noGrp="1"/>
          </p:cNvSpPr>
          <p:nvPr>
            <p:ph type="sldNum" sz="quarter" idx="5"/>
          </p:nvPr>
        </p:nvSpPr>
        <p:spPr/>
        <p:txBody>
          <a:bodyPr/>
          <a:lstStyle/>
          <a:p>
            <a:fld id="{67E37107-5B3B-C144-9AF1-F4F03A8099C2}" type="slidenum">
              <a:rPr lang="en-US" smtClean="0"/>
              <a:pPr/>
              <a:t>13</a:t>
            </a:fld>
            <a:endParaRPr lang="en-US" dirty="0"/>
          </a:p>
        </p:txBody>
      </p:sp>
    </p:spTree>
    <p:extLst>
      <p:ext uri="{BB962C8B-B14F-4D97-AF65-F5344CB8AC3E}">
        <p14:creationId xmlns:p14="http://schemas.microsoft.com/office/powerpoint/2010/main" val="13815223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050" dirty="0"/>
              <a:t>In the previous two slides, we used age 65 as an assumption for retirement. In reality, however, we are finding that people are retiring at an earlier age. The median retirement age is expected to be 65, when in actuality is 62. </a:t>
            </a:r>
          </a:p>
          <a:p>
            <a:pPr>
              <a:defRPr/>
            </a:pPr>
            <a:r>
              <a:rPr lang="en-US" sz="1050" dirty="0"/>
              <a:t>Health problems or disability is cited to be the number one reason for early retirement. This</a:t>
            </a:r>
            <a:r>
              <a:rPr lang="en-US" sz="1050" baseline="0" dirty="0"/>
              <a:t> further increases the average length of retirement, and eliminates several years of income from employment.  This shows the importance of adequately preparing for retirement, so that you can achieve financial security even if you are forced to retire several years before planned.  The second graph shows that only 24% of people who retired at this age felt comfortable doing so from a financial standpoint, which indicates that those who retired for other reasons may not have felt completely confident in their retirement savings.</a:t>
            </a:r>
            <a:endParaRPr lang="en-US" sz="1050"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4</a:t>
            </a:fld>
            <a:endParaRPr lang="en-US" dirty="0"/>
          </a:p>
        </p:txBody>
      </p:sp>
    </p:spTree>
    <p:extLst>
      <p:ext uri="{BB962C8B-B14F-4D97-AF65-F5344CB8AC3E}">
        <p14:creationId xmlns:p14="http://schemas.microsoft.com/office/powerpoint/2010/main" val="20354661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defRPr/>
            </a:pPr>
            <a:r>
              <a:rPr lang="en-US" sz="1050" dirty="0">
                <a:latin typeface="Arial" pitchFamily="34" charset="0"/>
                <a:ea typeface="ＭＳ Ｐゴシック" charset="0"/>
              </a:rPr>
              <a:t>A good asset mix may take you the distance! </a:t>
            </a:r>
          </a:p>
          <a:p>
            <a:pPr eaLnBrk="1" hangingPunct="1">
              <a:defRPr/>
            </a:pPr>
            <a:r>
              <a:rPr lang="en-US" sz="1050" dirty="0">
                <a:latin typeface="Arial" pitchFamily="34" charset="0"/>
                <a:ea typeface="ＭＳ Ｐゴシック" charset="0"/>
              </a:rPr>
              <a:t>This table illustrates a variety of asset mixes along with several withdrawal rates. I want to use it to explain another risk that you face in retirement – namely, not allocating your assets properly, based on your risk tolerance, to provide the income you’ll need to sustain a comfortable retirement. Let’s assume, as the table shows, that a</a:t>
            </a:r>
            <a:r>
              <a:rPr lang="en-US" sz="1050" dirty="0">
                <a:solidFill>
                  <a:srgbClr val="231F20"/>
                </a:solidFill>
                <a:latin typeface="HelveticaNeue-Roman"/>
                <a:ea typeface="ＭＳ Ｐゴシック" charset="0"/>
              </a:rPr>
              <a:t> 60-year-old woman with a life expectancy of another 24 years can readily expect to live until nearly age 85. If she had invested solely in bonds, even at a 4% withdrawal rate, she has only an 86% chance that her assets will last the 25 years. By introducing a stock component into her asset mix and using a 4% withdrawal rate, the probability of her assets lasting reaches 97%.</a:t>
            </a:r>
          </a:p>
          <a:p>
            <a:pPr eaLnBrk="1" hangingPunct="1">
              <a:defRPr/>
            </a:pPr>
            <a:endParaRPr lang="en-US" sz="1050" dirty="0">
              <a:solidFill>
                <a:srgbClr val="231F20"/>
              </a:solidFill>
              <a:latin typeface="HelveticaNeue-Roman"/>
              <a:ea typeface="ＭＳ Ｐゴシック" charset="0"/>
            </a:endParaRPr>
          </a:p>
          <a:p>
            <a:pPr eaLnBrk="1" hangingPunct="1">
              <a:defRPr/>
            </a:pPr>
            <a:r>
              <a:rPr lang="en-US" sz="1050" dirty="0">
                <a:latin typeface="Arial" pitchFamily="34" charset="0"/>
                <a:ea typeface="ＭＳ Ｐゴシック" charset="0"/>
              </a:rPr>
              <a:t>This chart assumes that a person establishes a portfolio at retirement and begins withdrawing a required income at the beginning of the first year, which is expressed as a percentage of the initial portfolio value. Annual withdrawal are made at the beginning of each subsequent year based on the first year withdrawal, adjusted for inflation. The results in this chart were generated using representative stock and bond indices in a Monte Carlo analysis. The Monte Carlo analysis is a problem solving technique used to approximate the probability of certain outcomes by running multiple trial runs, called simulations, using random variables. Please note that the results shown may vary with each use of the analysis and over time.</a:t>
            </a:r>
          </a:p>
          <a:p>
            <a:pPr eaLnBrk="1" hangingPunct="1">
              <a:defRPr/>
            </a:pPr>
            <a:endParaRPr lang="en-US" sz="1050" dirty="0">
              <a:latin typeface="Arial" pitchFamily="34" charset="0"/>
              <a:ea typeface="ＭＳ Ｐゴシック" charset="0"/>
            </a:endParaRPr>
          </a:p>
          <a:p>
            <a:pPr eaLnBrk="1" hangingPunct="1">
              <a:defRPr/>
            </a:pPr>
            <a:r>
              <a:rPr lang="en-US" sz="1050" dirty="0">
                <a:latin typeface="Arial" pitchFamily="34" charset="0"/>
                <a:ea typeface="ＭＳ Ｐゴシック" charset="0"/>
              </a:rPr>
              <a:t>Stocks in this example are represented by the Standard and Poor’s 500</a:t>
            </a:r>
            <a:r>
              <a:rPr lang="en-US" sz="1050" baseline="30000" dirty="0">
                <a:latin typeface="Arial" pitchFamily="34" charset="0"/>
                <a:ea typeface="ＭＳ Ｐゴシック" charset="0"/>
              </a:rPr>
              <a:t>®</a:t>
            </a:r>
            <a:r>
              <a:rPr lang="en-US" sz="1050" dirty="0">
                <a:latin typeface="Arial" pitchFamily="34" charset="0"/>
                <a:ea typeface="ＭＳ Ｐゴシック" charset="0"/>
              </a:rPr>
              <a:t>, which is an unmanaged group of securities and considered to be representative of the stock market in general. Bonds are represented by the five-year U.S. government bond and inflation by the Consumer Price Index. Each monthly withdrawal is adjusted for inflation. Data is historical from 1926-2009.</a:t>
            </a:r>
          </a:p>
          <a:p>
            <a:pPr eaLnBrk="1" hangingPunct="1">
              <a:defRPr/>
            </a:pPr>
            <a:endParaRPr lang="en-US" sz="1050" dirty="0">
              <a:latin typeface="Arial" pitchFamily="34" charset="0"/>
              <a:ea typeface="ＭＳ Ｐゴシック" charset="0"/>
            </a:endParaRPr>
          </a:p>
          <a:p>
            <a:pPr eaLnBrk="1" hangingPunct="1">
              <a:defRPr/>
            </a:pPr>
            <a:endParaRPr lang="en-US" sz="1050" dirty="0">
              <a:latin typeface="Arial" pitchFamily="34" charset="0"/>
              <a:ea typeface="ＭＳ Ｐゴシック" charset="0"/>
            </a:endParaRPr>
          </a:p>
          <a:p>
            <a:pPr eaLnBrk="1" hangingPunct="1">
              <a:defRPr/>
            </a:pPr>
            <a:r>
              <a:rPr lang="en-US" sz="1050" dirty="0">
                <a:latin typeface="Arial" pitchFamily="34" charset="0"/>
                <a:ea typeface="ＭＳ Ｐゴシック" charset="0"/>
              </a:rPr>
              <a:t>The table shows also shows how the rate of withdrawal can affect the chance of maintaining a positive portfolio balance over a 25-year retirement. A high probability indicates it is more likely that an investor will maintain a positive portfolio balance in retirement, while a low probability indicates that an investor is less likely to do so and may face a shortfall. The chance of a portfolio running out over a long retirement is less likely as the amount withdrawn decreases and as equities are added. </a:t>
            </a:r>
            <a:endParaRPr lang="en-GB" sz="1050" dirty="0">
              <a:latin typeface="Arial" pitchFamily="34" charset="0"/>
              <a:ea typeface="ＭＳ Ｐゴシック" charset="0"/>
            </a:endParaRPr>
          </a:p>
          <a:p>
            <a:pPr>
              <a:defRPr/>
            </a:pPr>
            <a:endParaRPr lang="en-US" sz="1050"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5</a:t>
            </a:fld>
            <a:endParaRPr lang="en-US" dirty="0"/>
          </a:p>
        </p:txBody>
      </p:sp>
    </p:spTree>
    <p:extLst>
      <p:ext uri="{BB962C8B-B14F-4D97-AF65-F5344CB8AC3E}">
        <p14:creationId xmlns:p14="http://schemas.microsoft.com/office/powerpoint/2010/main" val="17741119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3980"/>
            <a:r>
              <a:rPr lang="en-US" altLang="en-US" sz="1050" dirty="0"/>
              <a:t>Read Slide, source info from the 2015 Fidelity Couples Retirement Study.  This chart</a:t>
            </a:r>
            <a:r>
              <a:rPr lang="en-US" altLang="en-US" sz="1050" baseline="0" dirty="0"/>
              <a:t> </a:t>
            </a:r>
            <a:r>
              <a:rPr lang="en-US" altLang="en-US" sz="1050" dirty="0"/>
              <a:t>makes it</a:t>
            </a:r>
            <a:r>
              <a:rPr lang="en-US" altLang="en-US" sz="1050" baseline="0" dirty="0"/>
              <a:t> clear how a retirement plan can significantly increase financial stability and comfort throughout retirement.  Those with a plan will be more likely to know how much they need for retirement, and will be comfortable with the amount they do have.  This can help to alleviate much of the stress of retiring.</a:t>
            </a:r>
            <a:endParaRPr lang="en-US" altLang="en-US" sz="1050" dirty="0"/>
          </a:p>
          <a:p>
            <a:pPr defTabSz="913980"/>
            <a:endParaRPr lang="en-US" altLang="en-US" sz="1050"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6</a:t>
            </a:fld>
            <a:endParaRPr lang="en-US" dirty="0"/>
          </a:p>
        </p:txBody>
      </p:sp>
    </p:spTree>
    <p:extLst>
      <p:ext uri="{BB962C8B-B14F-4D97-AF65-F5344CB8AC3E}">
        <p14:creationId xmlns:p14="http://schemas.microsoft.com/office/powerpoint/2010/main" val="4296316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Healthcare continues to be a big problem for consumers. </a:t>
            </a:r>
            <a:r>
              <a:rPr lang="en-US" sz="1050" b="0" dirty="0">
                <a:solidFill>
                  <a:prstClr val="white">
                    <a:lumMod val="50000"/>
                  </a:prstClr>
                </a:solidFill>
                <a:cs typeface="Arial" pitchFamily="34" charset="0"/>
              </a:rPr>
              <a:t>In 2017, Fidelity estimated that average health care expenses during retirement for a 65-year-old couple rose to $275,000, up $15,000 from 2016.</a:t>
            </a:r>
            <a:r>
              <a:rPr lang="en-US" sz="1050" b="0" baseline="30000" dirty="0">
                <a:solidFill>
                  <a:prstClr val="white">
                    <a:lumMod val="50000"/>
                  </a:prstClr>
                </a:solidFill>
                <a:cs typeface="Arial" pitchFamily="34" charset="0"/>
              </a:rPr>
              <a:t>1</a:t>
            </a:r>
          </a:p>
          <a:p>
            <a:pPr>
              <a:defRPr/>
            </a:pPr>
            <a:r>
              <a:rPr lang="en-US" sz="1050" dirty="0"/>
              <a:t>One interesting finding is that even though consumers recognize that health care cost is a significant issue, not many have searched for solutions. In fact, only 18% of consumers reported in the research study by AXA and Insured Retirement Institute that they have worked with their financial professionals to estimate retirement health care costs. </a:t>
            </a:r>
          </a:p>
        </p:txBody>
      </p:sp>
      <p:sp>
        <p:nvSpPr>
          <p:cNvPr id="4" name="Slide Number Placeholder 3"/>
          <p:cNvSpPr>
            <a:spLocks noGrp="1"/>
          </p:cNvSpPr>
          <p:nvPr>
            <p:ph type="sldNum" sz="quarter" idx="5"/>
          </p:nvPr>
        </p:nvSpPr>
        <p:spPr/>
        <p:txBody>
          <a:bodyPr/>
          <a:lstStyle/>
          <a:p>
            <a:fld id="{67E37107-5B3B-C144-9AF1-F4F03A8099C2}" type="slidenum">
              <a:rPr lang="en-US" smtClean="0"/>
              <a:pPr/>
              <a:t>17</a:t>
            </a:fld>
            <a:endParaRPr lang="en-US" dirty="0"/>
          </a:p>
        </p:txBody>
      </p:sp>
    </p:spTree>
    <p:extLst>
      <p:ext uri="{BB962C8B-B14F-4D97-AF65-F5344CB8AC3E}">
        <p14:creationId xmlns:p14="http://schemas.microsoft.com/office/powerpoint/2010/main" val="39386680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0" dirty="0">
                <a:solidFill>
                  <a:prstClr val="white">
                    <a:lumMod val="50000"/>
                  </a:prstClr>
                </a:solidFill>
                <a:cs typeface="Arial" pitchFamily="34" charset="0"/>
              </a:rPr>
              <a:t>In addition to health care costs, inflation is another huge concern for consumers. There may not be a clear understanding of how devastating the effects of inflation can be. At just 2 percent annual inflation, the purchasing power of a dollar is cut by 49% over 20 years.</a:t>
            </a:r>
            <a:r>
              <a:rPr lang="en-US" sz="1050" b="0" baseline="0" dirty="0">
                <a:solidFill>
                  <a:prstClr val="white">
                    <a:lumMod val="50000"/>
                  </a:prstClr>
                </a:solidFill>
                <a:cs typeface="Arial" pitchFamily="34" charset="0"/>
              </a:rPr>
              <a:t>  This means that the average person will need to have more saved for retirement than they may have thought.</a:t>
            </a:r>
            <a:endParaRPr lang="en-US" sz="1050" b="0" dirty="0">
              <a:solidFill>
                <a:prstClr val="white">
                  <a:lumMod val="50000"/>
                </a:prstClr>
              </a:solidFill>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dirty="0">
              <a:solidFill>
                <a:prstClr val="white">
                  <a:lumMod val="50000"/>
                </a:prstClr>
              </a:solidFill>
              <a:cs typeface="Arial" pitchFamily="34" charset="0"/>
            </a:endParaRPr>
          </a:p>
          <a:p>
            <a:pPr>
              <a:defRPr/>
            </a:pPr>
            <a:endParaRPr lang="en-US" sz="1050"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8</a:t>
            </a:fld>
            <a:endParaRPr lang="en-US" dirty="0"/>
          </a:p>
        </p:txBody>
      </p:sp>
    </p:spTree>
    <p:extLst>
      <p:ext uri="{BB962C8B-B14F-4D97-AF65-F5344CB8AC3E}">
        <p14:creationId xmlns:p14="http://schemas.microsoft.com/office/powerpoint/2010/main" val="34212625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defRPr/>
            </a:pPr>
            <a:r>
              <a:rPr lang="en-US" sz="1050" dirty="0">
                <a:latin typeface="Arial" pitchFamily="34" charset="0"/>
                <a:ea typeface="ＭＳ Ｐゴシック" charset="0"/>
              </a:rPr>
              <a:t>Inflation reduces purchasing power. A dollar today will likely be worth less at retirement because of inflation. Since everyday items may get more expensive over time, consumers need to plan for future price increases when saving for retirement. While it is difficult to predict inflation rates, even a 3% rate of inflation</a:t>
            </a:r>
          </a:p>
          <a:p>
            <a:pPr eaLnBrk="1" hangingPunct="1">
              <a:defRPr/>
            </a:pPr>
            <a:r>
              <a:rPr lang="en-US" sz="1050" dirty="0">
                <a:latin typeface="Arial" pitchFamily="34" charset="0"/>
                <a:ea typeface="ＭＳ Ｐゴシック" charset="0"/>
              </a:rPr>
              <a:t>(just below the historical average of 3.7%) can have a significant impact on purchasing power and on future standard of living.</a:t>
            </a:r>
          </a:p>
          <a:p>
            <a:pPr>
              <a:defRPr/>
            </a:pPr>
            <a:endParaRPr lang="en-US" sz="1050"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9</a:t>
            </a:fld>
            <a:endParaRPr lang="en-US" dirty="0"/>
          </a:p>
        </p:txBody>
      </p:sp>
    </p:spTree>
    <p:extLst>
      <p:ext uri="{BB962C8B-B14F-4D97-AF65-F5344CB8AC3E}">
        <p14:creationId xmlns:p14="http://schemas.microsoft.com/office/powerpoint/2010/main" val="7546102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sz="1050" dirty="0"/>
              <a:t>Today we will talk about the five sections shown on the slide.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a:t>
            </a:fld>
            <a:endParaRPr lang="en-US" dirty="0"/>
          </a:p>
        </p:txBody>
      </p:sp>
    </p:spTree>
    <p:extLst>
      <p:ext uri="{BB962C8B-B14F-4D97-AF65-F5344CB8AC3E}">
        <p14:creationId xmlns:p14="http://schemas.microsoft.com/office/powerpoint/2010/main" val="21590589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050" dirty="0"/>
              <a:t>As you can see in the chart, the 10 year treasury rates and inflation are at historical lows. After the peak in 1980, the rates have been on a continuous decline to</a:t>
            </a:r>
            <a:r>
              <a:rPr lang="en-US" sz="1050" baseline="0" dirty="0"/>
              <a:t> this day.</a:t>
            </a:r>
            <a:endParaRPr lang="en-US" sz="1050"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0</a:t>
            </a:fld>
            <a:endParaRPr lang="en-US" dirty="0"/>
          </a:p>
        </p:txBody>
      </p:sp>
    </p:spTree>
    <p:extLst>
      <p:ext uri="{BB962C8B-B14F-4D97-AF65-F5344CB8AC3E}">
        <p14:creationId xmlns:p14="http://schemas.microsoft.com/office/powerpoint/2010/main" val="30836477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050" dirty="0"/>
              <a:t>But if you look at the distribution of historical rates, we notice that the low rates that you’ve seen in recent years are atypical. In fact, since 1965, rates have been above 4% over eighty percent of the time. This leads to the speculation that we will soon see a bounce in the rates in the near future. </a:t>
            </a:r>
          </a:p>
        </p:txBody>
      </p:sp>
      <p:sp>
        <p:nvSpPr>
          <p:cNvPr id="4" name="Slide Number Placeholder 3"/>
          <p:cNvSpPr>
            <a:spLocks noGrp="1"/>
          </p:cNvSpPr>
          <p:nvPr>
            <p:ph type="sldNum" sz="quarter" idx="5"/>
          </p:nvPr>
        </p:nvSpPr>
        <p:spPr/>
        <p:txBody>
          <a:bodyPr/>
          <a:lstStyle/>
          <a:p>
            <a:fld id="{67E37107-5B3B-C144-9AF1-F4F03A8099C2}" type="slidenum">
              <a:rPr lang="en-US" smtClean="0"/>
              <a:pPr/>
              <a:t>21</a:t>
            </a:fld>
            <a:endParaRPr lang="en-US" dirty="0"/>
          </a:p>
        </p:txBody>
      </p:sp>
    </p:spTree>
    <p:extLst>
      <p:ext uri="{BB962C8B-B14F-4D97-AF65-F5344CB8AC3E}">
        <p14:creationId xmlns:p14="http://schemas.microsoft.com/office/powerpoint/2010/main" val="3576720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GB" altLang="en-US" sz="1050" dirty="0">
                <a:latin typeface="Arial" pitchFamily="34" charset="0"/>
              </a:rPr>
              <a:t>For those of you who are not familiar with annuities, they are long-term investment vehicles designed for retirement. In the most basic terms, a deferred variable annuity is a contract between a client and an insurance company to accumulate funds and then provide lifetime payments. </a:t>
            </a:r>
          </a:p>
          <a:p>
            <a:pPr eaLnBrk="1" hangingPunct="1"/>
            <a:endParaRPr lang="en-GB" altLang="en-US" sz="1050" dirty="0">
              <a:latin typeface="Arial" pitchFamily="34" charset="0"/>
            </a:endParaRPr>
          </a:p>
          <a:p>
            <a:pPr eaLnBrk="1" hangingPunct="1"/>
            <a:r>
              <a:rPr lang="en-GB" altLang="en-US" sz="1050" dirty="0">
                <a:latin typeface="Arial" pitchFamily="34" charset="0"/>
              </a:rPr>
              <a:t>Variable annuities – while offering deferral of current income taxes– provide other benefits that appeal to many investors. It is appealing as a retirement planning strategy because it can help clients: </a:t>
            </a:r>
          </a:p>
          <a:p>
            <a:pPr eaLnBrk="1" hangingPunct="1"/>
            <a:r>
              <a:rPr lang="en-GB" altLang="en-US" sz="1050" dirty="0">
                <a:latin typeface="Arial" pitchFamily="34" charset="0"/>
              </a:rPr>
              <a:t>Potentially grow money faster through a variety of equity and fixed income investment options. These investments options are subject to market risk including the loss of principal.</a:t>
            </a:r>
          </a:p>
          <a:p>
            <a:pPr eaLnBrk="1" hangingPunct="1"/>
            <a:r>
              <a:rPr lang="en-GB" altLang="en-US" sz="1050" dirty="0">
                <a:latin typeface="Arial" pitchFamily="34" charset="0"/>
              </a:rPr>
              <a:t>Manage annuity payments more efficiently in retirement.</a:t>
            </a:r>
          </a:p>
          <a:p>
            <a:pPr eaLnBrk="1" hangingPunct="1"/>
            <a:r>
              <a:rPr lang="en-GB" altLang="en-US" sz="1050" dirty="0">
                <a:latin typeface="Arial" pitchFamily="34" charset="0"/>
              </a:rPr>
              <a:t>Provide death benefit protection to beneficiaries prior to annuitization.  </a:t>
            </a:r>
          </a:p>
          <a:p>
            <a:pPr eaLnBrk="1" hangingPunct="1"/>
            <a:r>
              <a:rPr lang="en-GB" altLang="en-US" sz="1050" dirty="0">
                <a:latin typeface="Arial" pitchFamily="34" charset="0"/>
              </a:rPr>
              <a:t>Access money in retirement through a variety of </a:t>
            </a:r>
            <a:r>
              <a:rPr lang="en-GB" altLang="en-US" sz="1050" dirty="0" err="1">
                <a:latin typeface="Arial" pitchFamily="34" charset="0"/>
              </a:rPr>
              <a:t>payout</a:t>
            </a:r>
            <a:r>
              <a:rPr lang="en-GB" altLang="en-US" sz="1050" dirty="0">
                <a:latin typeface="Arial" pitchFamily="34" charset="0"/>
              </a:rPr>
              <a:t> options.</a:t>
            </a:r>
          </a:p>
          <a:p>
            <a:pPr eaLnBrk="1" hangingPunct="1"/>
            <a:endParaRPr lang="en-GB" altLang="en-US" sz="1050" dirty="0">
              <a:latin typeface="Arial" pitchFamily="34" charset="0"/>
            </a:endParaRPr>
          </a:p>
          <a:p>
            <a:pPr eaLnBrk="1" hangingPunct="1"/>
            <a:r>
              <a:rPr lang="en-GB" altLang="en-US" sz="1050" dirty="0">
                <a:latin typeface="Arial" pitchFamily="34" charset="0"/>
              </a:rPr>
              <a:t>Of course, there are certain fees and charges associated with variable annuities, which include, but are not limited to: mortality and expense charges, sales charges, administrative fees, and withdrawal charges. </a:t>
            </a:r>
          </a:p>
          <a:p>
            <a:pPr eaLnBrk="1" hangingPunct="1"/>
            <a:endParaRPr lang="en-GB" altLang="en-US" sz="1050" dirty="0">
              <a:latin typeface="Arial" pitchFamily="34" charset="0"/>
            </a:endParaRPr>
          </a:p>
          <a:p>
            <a:pPr eaLnBrk="1" hangingPunct="1"/>
            <a:r>
              <a:rPr lang="en-GB" altLang="en-US" sz="1050" dirty="0">
                <a:latin typeface="Arial" pitchFamily="34" charset="0"/>
              </a:rPr>
              <a:t>A guaranteed stream of lifetime income can be provided by annuitizing account value that has been built up during the accumulation period. Guaranteed minimum payments are provided by a living benefit rider which is optional and available for an additional fee. </a:t>
            </a:r>
          </a:p>
          <a:p>
            <a:pPr eaLnBrk="1" hangingPunct="1"/>
            <a:endParaRPr lang="en-GB" altLang="en-US" sz="1050" dirty="0">
              <a:latin typeface="Arial" pitchFamily="34" charset="0"/>
            </a:endParaRPr>
          </a:p>
          <a:p>
            <a:pPr eaLnBrk="1" hangingPunct="1"/>
            <a:r>
              <a:rPr lang="en-GB" altLang="en-US" sz="1050" dirty="0">
                <a:latin typeface="Arial" pitchFamily="34" charset="0"/>
              </a:rPr>
              <a:t>AXA Equitable offers three variable annuities that your financial professional can speak further with you about.</a:t>
            </a:r>
          </a:p>
          <a:p>
            <a:pPr eaLnBrk="1" hangingPunct="1"/>
            <a:endParaRPr lang="en-GB" altLang="en-US" sz="1050" dirty="0">
              <a:latin typeface="Arial" pitchFamily="34" charset="0"/>
            </a:endParaRPr>
          </a:p>
          <a:p>
            <a:pPr eaLnBrk="1" hangingPunct="1"/>
            <a:r>
              <a:rPr lang="en-GB" altLang="en-US" sz="1050" dirty="0">
                <a:solidFill>
                  <a:schemeClr val="accent1"/>
                </a:solidFill>
                <a:latin typeface="Arial" pitchFamily="34" charset="0"/>
              </a:rPr>
              <a:t>A deferred variable annuity is a long-term financial product designed for retirement purposes. In essence, an annuity is a contractual agreement in which payment(s) are made to an insurance company, which agrees to pay out an income or a lump sum amount at a later date. Typically, variable annuities have mortality and expense charges, account fees, investment management fees, administrative fees and charges for special contract features. In addition, annuity contracts have exclusions and limitations. Early withdrawals may be subject to contractual withdrawal charges, and, if taken prior to age 59 ½, a 10%  federal income tax penalty may apply. Variable annuities are subject to market risks, including the possible loss of principal invested. For costs and complete details of coverage, contact a financial professional.</a:t>
            </a:r>
          </a:p>
          <a:p>
            <a:pPr eaLnBrk="1" hangingPunct="1"/>
            <a:endParaRPr lang="en-GB" altLang="en-US" sz="1050" dirty="0">
              <a:solidFill>
                <a:schemeClr val="accent1"/>
              </a:solidFill>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2</a:t>
            </a:fld>
            <a:endParaRPr lang="en-US" dirty="0"/>
          </a:p>
        </p:txBody>
      </p:sp>
    </p:spTree>
    <p:extLst>
      <p:ext uri="{BB962C8B-B14F-4D97-AF65-F5344CB8AC3E}">
        <p14:creationId xmlns:p14="http://schemas.microsoft.com/office/powerpoint/2010/main" val="28488906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t>Investors like you who may shy away from investing in annuities typically cite complexity as a reason. Most of the time, however, they make this assumption without looking into the details. </a:t>
            </a:r>
          </a:p>
          <a:p>
            <a:endParaRPr lang="en-US" sz="1050" dirty="0"/>
          </a:p>
          <a:p>
            <a:r>
              <a:rPr lang="en-US" sz="1050" dirty="0"/>
              <a:t>When explained, 8 in 10 consumers actually find structured and lifetime income annuities easy to understand. </a:t>
            </a:r>
          </a:p>
          <a:p>
            <a:r>
              <a:rPr lang="en-US" sz="1050" dirty="0"/>
              <a:t>In addition, the features of these annuities are viewed as attractive to consumers. The study from AXA and IRI showed that 7 in 10 consumers find annuity products that offer principal protection, the potential for growth based on stock market gains, and/or guaranteed lifetime income appealing. </a:t>
            </a:r>
          </a:p>
        </p:txBody>
      </p:sp>
      <p:sp>
        <p:nvSpPr>
          <p:cNvPr id="4" name="Slide Number Placeholder 3"/>
          <p:cNvSpPr>
            <a:spLocks noGrp="1"/>
          </p:cNvSpPr>
          <p:nvPr>
            <p:ph type="sldNum" sz="quarter" idx="5"/>
          </p:nvPr>
        </p:nvSpPr>
        <p:spPr/>
        <p:txBody>
          <a:bodyPr/>
          <a:lstStyle/>
          <a:p>
            <a:fld id="{67E37107-5B3B-C144-9AF1-F4F03A8099C2}" type="slidenum">
              <a:rPr lang="en-US" smtClean="0"/>
              <a:pPr/>
              <a:t>23</a:t>
            </a:fld>
            <a:endParaRPr lang="en-US" dirty="0"/>
          </a:p>
        </p:txBody>
      </p:sp>
    </p:spTree>
    <p:extLst>
      <p:ext uri="{BB962C8B-B14F-4D97-AF65-F5344CB8AC3E}">
        <p14:creationId xmlns:p14="http://schemas.microsoft.com/office/powerpoint/2010/main" val="38583868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en-US" altLang="en-US" sz="1050" dirty="0">
              <a:latin typeface="Arial" pitchFamily="34" charset="0"/>
            </a:endParaRPr>
          </a:p>
          <a:p>
            <a:pPr eaLnBrk="1" hangingPunct="1"/>
            <a:r>
              <a:rPr lang="en-US" altLang="en-US" sz="1050" dirty="0"/>
              <a:t>As you can see by the yellow line, tax-deferral has significant potential advantages for investment growth. In rolling return, especially, tax deferral means the longer the length of investment, the higher the rate of return will potentially be for a larger amount of investment that includes the tax-deferred portion of the investment. </a:t>
            </a:r>
          </a:p>
        </p:txBody>
      </p:sp>
      <p:sp>
        <p:nvSpPr>
          <p:cNvPr id="4" name="Slide Number Placeholder 3"/>
          <p:cNvSpPr>
            <a:spLocks noGrp="1"/>
          </p:cNvSpPr>
          <p:nvPr>
            <p:ph type="sldNum" sz="quarter" idx="5"/>
          </p:nvPr>
        </p:nvSpPr>
        <p:spPr/>
        <p:txBody>
          <a:bodyPr/>
          <a:lstStyle/>
          <a:p>
            <a:fld id="{67E37107-5B3B-C144-9AF1-F4F03A8099C2}" type="slidenum">
              <a:rPr lang="en-US" smtClean="0"/>
              <a:pPr/>
              <a:t>24</a:t>
            </a:fld>
            <a:endParaRPr lang="en-US" dirty="0"/>
          </a:p>
        </p:txBody>
      </p:sp>
    </p:spTree>
    <p:extLst>
      <p:ext uri="{BB962C8B-B14F-4D97-AF65-F5344CB8AC3E}">
        <p14:creationId xmlns:p14="http://schemas.microsoft.com/office/powerpoint/2010/main" val="27279143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050" dirty="0">
                <a:latin typeface="Times New Roman" panose="02020603050405020304" pitchFamily="18" charset="0"/>
              </a:rPr>
              <a:t>A structured product is a pre-packaged</a:t>
            </a:r>
            <a:r>
              <a:rPr lang="en-US" altLang="en-US" sz="1050" baseline="0" dirty="0">
                <a:latin typeface="Times New Roman" panose="02020603050405020304" pitchFamily="18" charset="0"/>
              </a:rPr>
              <a:t> investment strategy that uses two or more financial instruments.  One of these instruments is a derivative, which is essentially a contract between two parties, and its value fluctuates based on an underlying asset.  They are generally used to hedge investment risk.</a:t>
            </a:r>
          </a:p>
        </p:txBody>
      </p:sp>
      <p:sp>
        <p:nvSpPr>
          <p:cNvPr id="4" name="Slide Number Placeholder 3"/>
          <p:cNvSpPr>
            <a:spLocks noGrp="1"/>
          </p:cNvSpPr>
          <p:nvPr>
            <p:ph type="sldNum" sz="quarter" idx="5"/>
          </p:nvPr>
        </p:nvSpPr>
        <p:spPr/>
        <p:txBody>
          <a:bodyPr/>
          <a:lstStyle/>
          <a:p>
            <a:fld id="{67E37107-5B3B-C144-9AF1-F4F03A8099C2}" type="slidenum">
              <a:rPr lang="en-US" smtClean="0"/>
              <a:pPr/>
              <a:t>25</a:t>
            </a:fld>
            <a:endParaRPr lang="en-US" dirty="0"/>
          </a:p>
        </p:txBody>
      </p:sp>
    </p:spTree>
    <p:extLst>
      <p:ext uri="{BB962C8B-B14F-4D97-AF65-F5344CB8AC3E}">
        <p14:creationId xmlns:p14="http://schemas.microsoft.com/office/powerpoint/2010/main" val="4681348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050" dirty="0">
                <a:latin typeface="Times New Roman" panose="02020603050405020304" pitchFamily="18" charset="0"/>
              </a:rPr>
              <a:t>What are some of the advantages or selling features of the variable annuity with structured investments? </a:t>
            </a:r>
          </a:p>
          <a:p>
            <a:pPr eaLnBrk="1" hangingPunct="1"/>
            <a:endParaRPr lang="en-US" altLang="en-US" sz="1050" dirty="0">
              <a:latin typeface="Times New Roman" panose="02020603050405020304" pitchFamily="18" charset="0"/>
            </a:endParaRPr>
          </a:p>
          <a:p>
            <a:pPr eaLnBrk="1" hangingPunct="1"/>
            <a:r>
              <a:rPr lang="en-US" altLang="en-US" sz="1050" dirty="0">
                <a:latin typeface="Times New Roman" panose="02020603050405020304" pitchFamily="18" charset="0"/>
              </a:rPr>
              <a:t>One advantage it’s relatively easy to understand.  Another advantage is that it provides some downside protection</a:t>
            </a:r>
          </a:p>
          <a:p>
            <a:pPr eaLnBrk="1" hangingPunct="1"/>
            <a:endParaRPr lang="en-US" altLang="en-US" sz="1050" dirty="0">
              <a:latin typeface="Times New Roman" panose="02020603050405020304" pitchFamily="18" charset="0"/>
            </a:endParaRPr>
          </a:p>
          <a:p>
            <a:pPr eaLnBrk="1" hangingPunct="1"/>
            <a:r>
              <a:rPr lang="en-US" altLang="en-US" sz="1050" dirty="0">
                <a:latin typeface="Times New Roman" panose="02020603050405020304" pitchFamily="18" charset="0"/>
              </a:rPr>
              <a:t>Also, higher volatility in the equity markets can actually increase the performance caps on this type of product.  This product may be more attractive in periods of high volatility.</a:t>
            </a:r>
          </a:p>
          <a:p>
            <a:pPr eaLnBrk="1" hangingPunct="1"/>
            <a:endParaRPr lang="en-US" altLang="en-US" sz="1050" dirty="0">
              <a:latin typeface="Times New Roman" panose="02020603050405020304" pitchFamily="18" charset="0"/>
            </a:endParaRPr>
          </a:p>
          <a:p>
            <a:pPr eaLnBrk="1" hangingPunct="1"/>
            <a:r>
              <a:rPr lang="en-US" altLang="en-US" sz="1050" dirty="0">
                <a:latin typeface="Times New Roman" panose="02020603050405020304" pitchFamily="18" charset="0"/>
              </a:rPr>
              <a:t>The variable annuity with structured investments provides the account owner access to a variety of indices including commodities.  The client will have options besides the S&amp;P 500 index.  Some of the indices may only be available in IRAs.</a:t>
            </a:r>
          </a:p>
          <a:p>
            <a:pPr eaLnBrk="1" hangingPunct="1"/>
            <a:endParaRPr lang="en-US" altLang="en-US" sz="1050" dirty="0">
              <a:latin typeface="Times New Roman" panose="02020603050405020304" pitchFamily="18" charset="0"/>
            </a:endParaRPr>
          </a:p>
          <a:p>
            <a:pPr eaLnBrk="1" hangingPunct="1"/>
            <a:r>
              <a:rPr lang="en-US" altLang="en-US" sz="1050" dirty="0">
                <a:latin typeface="Times New Roman" panose="02020603050405020304" pitchFamily="18" charset="0"/>
              </a:rPr>
              <a:t>Since it is a variable annuity the variable annuity with structured investments does offer the benefit of tax-deferral if the owner is investing with after-tax dollars.</a:t>
            </a:r>
          </a:p>
        </p:txBody>
      </p:sp>
      <p:sp>
        <p:nvSpPr>
          <p:cNvPr id="4" name="Slide Number Placeholder 3"/>
          <p:cNvSpPr>
            <a:spLocks noGrp="1"/>
          </p:cNvSpPr>
          <p:nvPr>
            <p:ph type="sldNum" sz="quarter" idx="5"/>
          </p:nvPr>
        </p:nvSpPr>
        <p:spPr/>
        <p:txBody>
          <a:bodyPr/>
          <a:lstStyle/>
          <a:p>
            <a:fld id="{67E37107-5B3B-C144-9AF1-F4F03A8099C2}" type="slidenum">
              <a:rPr lang="en-US" smtClean="0"/>
              <a:pPr/>
              <a:t>26</a:t>
            </a:fld>
            <a:endParaRPr lang="en-US" dirty="0"/>
          </a:p>
        </p:txBody>
      </p:sp>
    </p:spTree>
    <p:extLst>
      <p:ext uri="{BB962C8B-B14F-4D97-AF65-F5344CB8AC3E}">
        <p14:creationId xmlns:p14="http://schemas.microsoft.com/office/powerpoint/2010/main" val="11078028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050" dirty="0">
                <a:latin typeface="Times New Roman" panose="02020603050405020304" pitchFamily="18" charset="0"/>
              </a:rPr>
              <a:t>There are some disadvantages or factors to consider with structured variable annuities. One disadvantage is that the buffer does not provide full principal protection.  Since these products use a partial downside protection strategy it is possible that the client could lose a substantial amount of money if the underlying index underperforms the buffer.  </a:t>
            </a:r>
          </a:p>
          <a:p>
            <a:pPr eaLnBrk="1" hangingPunct="1"/>
            <a:endParaRPr lang="en-US" altLang="en-US" sz="1050" dirty="0">
              <a:latin typeface="Times New Roman" panose="02020603050405020304" pitchFamily="18" charset="0"/>
            </a:endParaRPr>
          </a:p>
          <a:p>
            <a:pPr eaLnBrk="1" hangingPunct="1"/>
            <a:r>
              <a:rPr lang="en-US" altLang="en-US" sz="1050" dirty="0">
                <a:latin typeface="Times New Roman" panose="02020603050405020304" pitchFamily="18" charset="0"/>
              </a:rPr>
              <a:t>Another disadvantage is that the duration on a variable annuity with structured investments may be longer than other structured products.  Some of the segments are 3 to 5 years long.  Other structured products can offer durations as short as 3 months.</a:t>
            </a:r>
          </a:p>
          <a:p>
            <a:pPr eaLnBrk="1" hangingPunct="1"/>
            <a:endParaRPr lang="en-US" altLang="en-US" sz="1050" dirty="0">
              <a:latin typeface="Times New Roman" panose="02020603050405020304" pitchFamily="18" charset="0"/>
            </a:endParaRPr>
          </a:p>
          <a:p>
            <a:pPr eaLnBrk="1" hangingPunct="1"/>
            <a:r>
              <a:rPr lang="en-US" altLang="en-US" sz="1050" dirty="0">
                <a:latin typeface="Times New Roman" panose="02020603050405020304" pitchFamily="18" charset="0"/>
              </a:rPr>
              <a:t>Variable annuities with structured investments do offer the benefit of tax deferral.  The downside to this is when earnings are withdrawn they will be taxed as ordinary income. </a:t>
            </a:r>
          </a:p>
          <a:p>
            <a:pPr eaLnBrk="1" hangingPunct="1"/>
            <a:endParaRPr lang="en-US" altLang="en-US" sz="1050" dirty="0">
              <a:latin typeface="Times New Roman" panose="02020603050405020304" pitchFamily="18" charset="0"/>
            </a:endParaRPr>
          </a:p>
          <a:p>
            <a:pPr eaLnBrk="1" hangingPunct="1"/>
            <a:r>
              <a:rPr lang="en-US" altLang="en-US" sz="1050" dirty="0">
                <a:latin typeface="Times New Roman" panose="02020603050405020304" pitchFamily="18" charset="0"/>
              </a:rPr>
              <a:t>There also could be a contractual withdrawal charge, some structured products can offer to have some of their income taxed as capital gains.</a:t>
            </a:r>
          </a:p>
        </p:txBody>
      </p:sp>
      <p:sp>
        <p:nvSpPr>
          <p:cNvPr id="4" name="Slide Number Placeholder 3"/>
          <p:cNvSpPr>
            <a:spLocks noGrp="1"/>
          </p:cNvSpPr>
          <p:nvPr>
            <p:ph type="sldNum" sz="quarter" idx="5"/>
          </p:nvPr>
        </p:nvSpPr>
        <p:spPr/>
        <p:txBody>
          <a:bodyPr/>
          <a:lstStyle/>
          <a:p>
            <a:fld id="{67E37107-5B3B-C144-9AF1-F4F03A8099C2}" type="slidenum">
              <a:rPr lang="en-US" smtClean="0"/>
              <a:pPr/>
              <a:t>27</a:t>
            </a:fld>
            <a:endParaRPr lang="en-US" dirty="0"/>
          </a:p>
        </p:txBody>
      </p:sp>
    </p:spTree>
    <p:extLst>
      <p:ext uri="{BB962C8B-B14F-4D97-AF65-F5344CB8AC3E}">
        <p14:creationId xmlns:p14="http://schemas.microsoft.com/office/powerpoint/2010/main" val="42743038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en-US" altLang="en-US" sz="1050" dirty="0">
              <a:latin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pPr/>
              <a:t>28</a:t>
            </a:fld>
            <a:endParaRPr lang="en-US" dirty="0"/>
          </a:p>
        </p:txBody>
      </p:sp>
    </p:spTree>
    <p:extLst>
      <p:ext uri="{BB962C8B-B14F-4D97-AF65-F5344CB8AC3E}">
        <p14:creationId xmlns:p14="http://schemas.microsoft.com/office/powerpoint/2010/main" val="14776639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altLang="en-US" sz="1050" dirty="0">
                <a:latin typeface="Times New Roman" panose="02020603050405020304" pitchFamily="18" charset="0"/>
              </a:rPr>
              <a:t>Read slide.</a:t>
            </a:r>
          </a:p>
          <a:p>
            <a:pPr eaLnBrk="1" hangingPunct="1"/>
            <a:endParaRPr lang="en-US" altLang="en-US" sz="1050" dirty="0">
              <a:latin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pPr/>
              <a:t>29</a:t>
            </a:fld>
            <a:endParaRPr lang="en-US" dirty="0"/>
          </a:p>
        </p:txBody>
      </p:sp>
    </p:spTree>
    <p:extLst>
      <p:ext uri="{BB962C8B-B14F-4D97-AF65-F5344CB8AC3E}">
        <p14:creationId xmlns:p14="http://schemas.microsoft.com/office/powerpoint/2010/main" val="34122742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hart represents the significant financial crisis that have offset the gains seen by S&amp;P500 in the years prior to the crisis. </a:t>
            </a:r>
          </a:p>
          <a:p>
            <a:r>
              <a:rPr lang="en-US" dirty="0"/>
              <a:t>Notice the chart shows the tech bubble in the early 2000’s and housing crisis in 2008, causing 49% loss and 57% loss respectively.</a:t>
            </a:r>
          </a:p>
          <a:p>
            <a:r>
              <a:rPr lang="en-US" dirty="0"/>
              <a:t>Historically, bull markets are followed by bear markets. We are now in the 9</a:t>
            </a:r>
            <a:r>
              <a:rPr lang="en-US" baseline="30000" dirty="0"/>
              <a:t>th</a:t>
            </a:r>
            <a:r>
              <a:rPr lang="en-US" dirty="0"/>
              <a:t> year of the second-longest</a:t>
            </a:r>
            <a:r>
              <a:rPr lang="en-US" baseline="0" dirty="0"/>
              <a:t> and second-strongest bull market in history, and no one can know for sure how much longer it will last.  In fact, many economists believe this business cycle is entering its later stages in 2018.  In thinking about retirement, one must consider how to mitigate the risk of a potential bear market.</a:t>
            </a:r>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a:t>
            </a:fld>
            <a:endParaRPr lang="en-US" dirty="0"/>
          </a:p>
        </p:txBody>
      </p:sp>
    </p:spTree>
    <p:extLst>
      <p:ext uri="{BB962C8B-B14F-4D97-AF65-F5344CB8AC3E}">
        <p14:creationId xmlns:p14="http://schemas.microsoft.com/office/powerpoint/2010/main" val="28242499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050" dirty="0">
                <a:latin typeface="Times New Roman" panose="02020603050405020304" pitchFamily="18" charset="0"/>
              </a:rPr>
              <a:t>So what is a variable annuity with structured investments.  This is a relatively new type of annuity product.  It is a variable annuity with both structured investment options and variable investment options.</a:t>
            </a:r>
          </a:p>
          <a:p>
            <a:pPr eaLnBrk="1" hangingPunct="1"/>
            <a:r>
              <a:rPr lang="en-US" altLang="en-US" sz="1050" dirty="0">
                <a:latin typeface="Times New Roman" panose="02020603050405020304" pitchFamily="18" charset="0"/>
              </a:rPr>
              <a:t>The structured investment options allow the annuity contract owner to select from a variety of indices.  These indices could include the S&amp;P 500, International, the Russell 2000 and commodity linked indices.</a:t>
            </a:r>
          </a:p>
          <a:p>
            <a:pPr eaLnBrk="1" hangingPunct="1"/>
            <a:r>
              <a:rPr lang="en-US" altLang="en-US" sz="1050" dirty="0">
                <a:latin typeface="Times New Roman" panose="02020603050405020304" pitchFamily="18" charset="0"/>
              </a:rPr>
              <a:t>A structured variable annuity uses a similar “collared-type” investment strategy to that of structured products and fixed indexed annuities.  It provides downside protection with upside market potential up to a cap.</a:t>
            </a:r>
          </a:p>
          <a:p>
            <a:pPr eaLnBrk="1" hangingPunct="1"/>
            <a:r>
              <a:rPr lang="en-US" altLang="en-US" sz="1050" dirty="0">
                <a:latin typeface="Times New Roman" panose="02020603050405020304" pitchFamily="18" charset="0"/>
              </a:rPr>
              <a:t>It uses a buffer strategy for limited downside protection.  The investor can select from different buffers from 10%-30%.  The insurance company would absorb any loss up to the selected buffer of the underlying index.</a:t>
            </a:r>
          </a:p>
          <a:p>
            <a:pPr eaLnBrk="1" hangingPunct="1"/>
            <a:r>
              <a:rPr lang="en-US" altLang="en-US" sz="1050" dirty="0">
                <a:latin typeface="Times New Roman" panose="02020603050405020304" pitchFamily="18" charset="0"/>
              </a:rPr>
              <a:t>The account owner would also be able to capture any upward movements in the underlying index up to a performance cap.</a:t>
            </a:r>
          </a:p>
          <a:p>
            <a:pPr eaLnBrk="1" hangingPunct="1"/>
            <a:r>
              <a:rPr lang="en-US" altLang="en-US" sz="1050" dirty="0">
                <a:latin typeface="Times New Roman" panose="02020603050405020304" pitchFamily="18" charset="0"/>
              </a:rPr>
              <a:t>The account owner could select from different segments with different durations ranging from 1 year to 5 years.  Similar to a fixed index annuity these annuity products could have a surrender schedule ranging from 1 year to 5 years.</a:t>
            </a:r>
          </a:p>
          <a:p>
            <a:pPr eaLnBrk="1" hangingPunct="1"/>
            <a:endParaRPr lang="en-US" altLang="en-US" sz="1050" dirty="0">
              <a:latin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pPr/>
              <a:t>30</a:t>
            </a:fld>
            <a:endParaRPr lang="en-US" dirty="0"/>
          </a:p>
        </p:txBody>
      </p:sp>
    </p:spTree>
    <p:extLst>
      <p:ext uri="{BB962C8B-B14F-4D97-AF65-F5344CB8AC3E}">
        <p14:creationId xmlns:p14="http://schemas.microsoft.com/office/powerpoint/2010/main" val="1556149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1225" eaLnBrk="1" hangingPunct="1"/>
            <a:r>
              <a:rPr lang="en-US" altLang="en-US" sz="1050" dirty="0">
                <a:latin typeface="Times New Roman" panose="02020603050405020304" pitchFamily="18" charset="0"/>
              </a:rPr>
              <a:t>Let’s take a look at an example on how an index variable annuity with structured investments could work.  In this example we will look at four different market scenarios to illustrate how this product works.  You’re tracking an index for 5 years with a -20% buffer. The cap is set at 36%. </a:t>
            </a:r>
          </a:p>
          <a:p>
            <a:pPr defTabSz="911225" eaLnBrk="1" hangingPunct="1"/>
            <a:r>
              <a:rPr lang="en-US" altLang="en-US" sz="1050" dirty="0">
                <a:latin typeface="Times New Roman" panose="02020603050405020304" pitchFamily="18" charset="0"/>
              </a:rPr>
              <a:t>In the first scenario  the index is up 24%, you realize the 24% because the return is under the set cap rate. </a:t>
            </a:r>
          </a:p>
          <a:p>
            <a:pPr defTabSz="911225" eaLnBrk="1" hangingPunct="1"/>
            <a:endParaRPr lang="en-US" altLang="en-US" sz="1050" dirty="0">
              <a:latin typeface="Times New Roman" panose="02020603050405020304" pitchFamily="18" charset="0"/>
            </a:endParaRPr>
          </a:p>
          <a:p>
            <a:pPr defTabSz="911225" eaLnBrk="1" hangingPunct="1"/>
            <a:r>
              <a:rPr lang="en-US" altLang="en-US" sz="1050" dirty="0">
                <a:latin typeface="Times New Roman" panose="02020603050405020304" pitchFamily="18" charset="0"/>
              </a:rPr>
              <a:t>In the second scenario the index is down -20%, your investment stays flat because you selected the -20% buffer and all losses were absorbed by the insurance company</a:t>
            </a:r>
          </a:p>
          <a:p>
            <a:pPr defTabSz="911225" eaLnBrk="1" hangingPunct="1"/>
            <a:endParaRPr lang="en-US" altLang="en-US" sz="1050" dirty="0">
              <a:latin typeface="Times New Roman" panose="02020603050405020304" pitchFamily="18" charset="0"/>
            </a:endParaRPr>
          </a:p>
          <a:p>
            <a:pPr defTabSz="911225" eaLnBrk="1" hangingPunct="1"/>
            <a:r>
              <a:rPr lang="en-US" altLang="en-US" sz="1050" dirty="0">
                <a:latin typeface="Times New Roman" panose="02020603050405020304" pitchFamily="18" charset="0"/>
              </a:rPr>
              <a:t>In the third scenario the index is up by 40%, your return is 36% due to the set cap rate of 36%. </a:t>
            </a:r>
          </a:p>
          <a:p>
            <a:pPr defTabSz="911225" eaLnBrk="1" hangingPunct="1"/>
            <a:endParaRPr lang="en-US" altLang="en-US" sz="1050" dirty="0">
              <a:latin typeface="Times New Roman" panose="02020603050405020304" pitchFamily="18" charset="0"/>
            </a:endParaRPr>
          </a:p>
          <a:p>
            <a:pPr defTabSz="911225" eaLnBrk="1" hangingPunct="1"/>
            <a:r>
              <a:rPr lang="en-US" altLang="en-US" sz="1050" dirty="0">
                <a:latin typeface="Times New Roman" panose="02020603050405020304" pitchFamily="18" charset="0"/>
              </a:rPr>
              <a:t>Finally in the fourth scenario  the index  is down -25%, but your loss is only -5% because the insurance company absorbed -20% of that loss.</a:t>
            </a:r>
          </a:p>
        </p:txBody>
      </p:sp>
      <p:sp>
        <p:nvSpPr>
          <p:cNvPr id="4" name="Slide Number Placeholder 3"/>
          <p:cNvSpPr>
            <a:spLocks noGrp="1"/>
          </p:cNvSpPr>
          <p:nvPr>
            <p:ph type="sldNum" sz="quarter" idx="5"/>
          </p:nvPr>
        </p:nvSpPr>
        <p:spPr/>
        <p:txBody>
          <a:bodyPr/>
          <a:lstStyle/>
          <a:p>
            <a:fld id="{67E37107-5B3B-C144-9AF1-F4F03A8099C2}" type="slidenum">
              <a:rPr lang="en-US" smtClean="0"/>
              <a:pPr/>
              <a:t>31</a:t>
            </a:fld>
            <a:endParaRPr lang="en-US" dirty="0"/>
          </a:p>
        </p:txBody>
      </p:sp>
    </p:spTree>
    <p:extLst>
      <p:ext uri="{BB962C8B-B14F-4D97-AF65-F5344CB8AC3E}">
        <p14:creationId xmlns:p14="http://schemas.microsoft.com/office/powerpoint/2010/main" val="35411513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ltLang="en-US" sz="1050" b="0" dirty="0">
                <a:latin typeface="Arial" panose="020B0604020202020204" pitchFamily="34" charset="0"/>
              </a:rPr>
              <a:t>To give you perspective on how these indices have performed historically, the following analysis looks back to 1980 and observes returns of 1-Year, 3-year, and 5-year periods on a rolling monthly basis (e.g., Jan–Jan, Feb–Feb, etc.). This shows how frequently losses have occurred within the listed ranges. </a:t>
            </a:r>
          </a:p>
          <a:p>
            <a:pPr lvl="0" algn="l">
              <a:spcBef>
                <a:spcPct val="0"/>
              </a:spcBef>
            </a:pPr>
            <a:endParaRPr lang="en-US" altLang="en-US" sz="1050" b="1" dirty="0">
              <a:latin typeface="Arial" panose="020B0604020202020204"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pPr/>
              <a:t>32</a:t>
            </a:fld>
            <a:endParaRPr lang="en-US" dirty="0"/>
          </a:p>
        </p:txBody>
      </p:sp>
    </p:spTree>
    <p:extLst>
      <p:ext uri="{BB962C8B-B14F-4D97-AF65-F5344CB8AC3E}">
        <p14:creationId xmlns:p14="http://schemas.microsoft.com/office/powerpoint/2010/main" val="32042203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050" dirty="0">
                <a:latin typeface="Times New Roman" panose="02020603050405020304" pitchFamily="18" charset="0"/>
              </a:rPr>
              <a:t>Who are some potential clients for a variable annuities with structured investments.</a:t>
            </a:r>
          </a:p>
          <a:p>
            <a:pPr eaLnBrk="1" hangingPunct="1"/>
            <a:r>
              <a:rPr lang="en-US" altLang="en-US" sz="1050" dirty="0">
                <a:latin typeface="Times New Roman" panose="02020603050405020304" pitchFamily="18" charset="0"/>
              </a:rPr>
              <a:t>First clients who currently have large cash or fixed income positions.  As mentioned earlier there are a tremendous amount of assets sitting in cash or fixed income.  For these clients safety or preservation of their capital is very important.  But we are currently at near all time lows for interest rates.  These client maybe attracted to an investment strategy that offers them protection but gives them the opportunity for market gains.</a:t>
            </a:r>
          </a:p>
          <a:p>
            <a:pPr eaLnBrk="1" hangingPunct="1"/>
            <a:endParaRPr lang="en-US" altLang="en-US" sz="1050" dirty="0">
              <a:latin typeface="Times New Roman" panose="02020603050405020304" pitchFamily="18" charset="0"/>
            </a:endParaRPr>
          </a:p>
          <a:p>
            <a:pPr eaLnBrk="1" hangingPunct="1"/>
            <a:r>
              <a:rPr lang="en-US" altLang="en-US" sz="1050" dirty="0">
                <a:latin typeface="Times New Roman" panose="02020603050405020304" pitchFamily="18" charset="0"/>
              </a:rPr>
              <a:t>In addition clients currently in fixed annuities with this tremendously low interest rate environment maybe good clients for a structured variable annuity.  In addition to these clients there maybe clients who purchased Guaranteed Accumulation Benefits in the past.  These clients purchased products with downside protection and upside potential but these benefits do not exist today like they did a few years ago.</a:t>
            </a:r>
          </a:p>
          <a:p>
            <a:pPr eaLnBrk="1" hangingPunct="1"/>
            <a:endParaRPr lang="en-US" altLang="en-US" sz="1050" dirty="0">
              <a:latin typeface="Times New Roman" panose="02020603050405020304" pitchFamily="18" charset="0"/>
            </a:endParaRPr>
          </a:p>
          <a:p>
            <a:pPr eaLnBrk="1" hangingPunct="1"/>
            <a:r>
              <a:rPr lang="en-US" altLang="en-US" sz="1050" dirty="0">
                <a:latin typeface="Times New Roman" panose="02020603050405020304" pitchFamily="18" charset="0"/>
              </a:rPr>
              <a:t>This product may also be attractive to clients looking to protect gains they have in current equity positions without vacating equities entirely.</a:t>
            </a:r>
          </a:p>
          <a:p>
            <a:pPr eaLnBrk="1" hangingPunct="1"/>
            <a:endParaRPr lang="en-US" altLang="en-US" sz="1050" dirty="0">
              <a:latin typeface="Times New Roman" panose="02020603050405020304" pitchFamily="18" charset="0"/>
            </a:endParaRPr>
          </a:p>
          <a:p>
            <a:pPr eaLnBrk="1" hangingPunct="1"/>
            <a:r>
              <a:rPr lang="en-US" altLang="en-US" sz="1050" dirty="0">
                <a:latin typeface="Times New Roman" panose="02020603050405020304" pitchFamily="18" charset="0"/>
              </a:rPr>
              <a:t>Finally there maybe a fit with clients with defined benefit plans looking for downside protection and upside potential.</a:t>
            </a:r>
          </a:p>
          <a:p>
            <a:pPr eaLnBrk="1" hangingPunct="1"/>
            <a:endParaRPr lang="en-US" altLang="en-US" sz="1050" dirty="0">
              <a:latin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pPr/>
              <a:t>33</a:t>
            </a:fld>
            <a:endParaRPr lang="en-US" dirty="0"/>
          </a:p>
        </p:txBody>
      </p:sp>
    </p:spTree>
    <p:extLst>
      <p:ext uri="{BB962C8B-B14F-4D97-AF65-F5344CB8AC3E}">
        <p14:creationId xmlns:p14="http://schemas.microsoft.com/office/powerpoint/2010/main" val="7586544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050" dirty="0">
                <a:latin typeface="Times New Roman" panose="02020603050405020304" pitchFamily="18" charset="0"/>
              </a:rPr>
              <a:t>In this presentation today we took a closer look at structured investments and some of the pros and cons of a collared investment approach.  These investments may offer your clients the benefit of downside protection with upside market potential.</a:t>
            </a:r>
          </a:p>
          <a:p>
            <a:pPr eaLnBrk="1" hangingPunct="1"/>
            <a:r>
              <a:rPr lang="en-US" altLang="en-US" sz="1050" dirty="0">
                <a:latin typeface="Times New Roman" panose="02020603050405020304" pitchFamily="18" charset="0"/>
              </a:rPr>
              <a:t>There are a wide variety of options that come under the label of structured investments.  There are a variety of variable that need to be considered when differentiating between these products.</a:t>
            </a:r>
          </a:p>
          <a:p>
            <a:pPr eaLnBrk="1" hangingPunct="1"/>
            <a:r>
              <a:rPr lang="en-US" altLang="en-US" sz="1050" dirty="0">
                <a:latin typeface="Times New Roman" panose="02020603050405020304" pitchFamily="18" charset="0"/>
              </a:rPr>
              <a:t>Probably the key factor when deciding between the numerous types of structured investments is the level of downside protection versus the potential opportunity of positive gains of the underlying index.</a:t>
            </a:r>
          </a:p>
          <a:p>
            <a:pPr eaLnBrk="1" hangingPunct="1"/>
            <a:endParaRPr lang="en-US" altLang="en-US" sz="1050" dirty="0">
              <a:latin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pPr/>
              <a:t>34</a:t>
            </a:fld>
            <a:endParaRPr lang="en-US" dirty="0"/>
          </a:p>
        </p:txBody>
      </p:sp>
    </p:spTree>
    <p:extLst>
      <p:ext uri="{BB962C8B-B14F-4D97-AF65-F5344CB8AC3E}">
        <p14:creationId xmlns:p14="http://schemas.microsoft.com/office/powerpoint/2010/main" val="14500204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defRPr/>
            </a:pPr>
            <a:r>
              <a:rPr lang="en-US" sz="1050" dirty="0">
                <a:latin typeface="Arial" pitchFamily="34" charset="0"/>
                <a:ea typeface="ＭＳ Ｐゴシック" charset="0"/>
              </a:rPr>
              <a:t>Volatility, or in this case, the sequence in which you experience returns, can have a real impact on your retirement.  In this hypothetical example, Mr. Green and Mr. Blue experience the same returns</a:t>
            </a:r>
            <a:r>
              <a:rPr lang="en-US" sz="1050" baseline="0" dirty="0">
                <a:latin typeface="Arial" pitchFamily="34" charset="0"/>
                <a:ea typeface="ＭＳ Ｐゴシック" charset="0"/>
              </a:rPr>
              <a:t> </a:t>
            </a:r>
            <a:r>
              <a:rPr lang="en-US" sz="1050" dirty="0">
                <a:latin typeface="Arial" pitchFamily="34" charset="0"/>
                <a:ea typeface="ＭＳ Ｐゴシック" charset="0"/>
              </a:rPr>
              <a:t>in their retirement portfolios, but in opposite order. Each portfolio ends up with the same average annual rate of return of 6.0% after 25 years of investing. What is of note here is that no withdrawals are taken.</a:t>
            </a:r>
          </a:p>
          <a:p>
            <a:pPr eaLnBrk="1" hangingPunct="1">
              <a:defRPr/>
            </a:pPr>
            <a:endParaRPr lang="en-US" sz="1050" dirty="0">
              <a:latin typeface="Arial" pitchFamily="34" charset="0"/>
              <a:ea typeface="ＭＳ Ｐゴシック" charset="0"/>
            </a:endParaRPr>
          </a:p>
          <a:p>
            <a:pPr>
              <a:defRPr/>
            </a:pPr>
            <a:endParaRPr lang="en-US" sz="1050"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6</a:t>
            </a:fld>
            <a:endParaRPr lang="en-US" dirty="0"/>
          </a:p>
        </p:txBody>
      </p:sp>
    </p:spTree>
    <p:extLst>
      <p:ext uri="{BB962C8B-B14F-4D97-AF65-F5344CB8AC3E}">
        <p14:creationId xmlns:p14="http://schemas.microsoft.com/office/powerpoint/2010/main" val="15075208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defRPr/>
            </a:pPr>
            <a:r>
              <a:rPr lang="en-US" sz="1050" dirty="0">
                <a:ea typeface="ＭＳ Ｐゴシック" charset="0"/>
              </a:rPr>
              <a:t>Once these clients each begin taking withdrawals, the sequence of returns has a significant impact on their portfolio’s overall value, even if the average return is the same.</a:t>
            </a:r>
          </a:p>
          <a:p>
            <a:pPr eaLnBrk="1" hangingPunct="1">
              <a:defRPr/>
            </a:pPr>
            <a:endParaRPr lang="en-US" sz="1050" dirty="0">
              <a:ea typeface="ＭＳ Ｐゴシック" charset="0"/>
            </a:endParaRPr>
          </a:p>
          <a:p>
            <a:pPr eaLnBrk="1" hangingPunct="1">
              <a:defRPr/>
            </a:pPr>
            <a:r>
              <a:rPr lang="en-US" sz="1050" dirty="0">
                <a:ea typeface="ＭＳ Ｐゴシック" charset="0"/>
              </a:rPr>
              <a:t>The</a:t>
            </a:r>
            <a:r>
              <a:rPr lang="en-US" sz="1050" baseline="0" dirty="0">
                <a:ea typeface="ＭＳ Ｐゴシック" charset="0"/>
              </a:rPr>
              <a:t> c</a:t>
            </a:r>
            <a:r>
              <a:rPr lang="en-US" sz="1050" dirty="0">
                <a:ea typeface="ＭＳ Ｐゴシック" charset="0"/>
              </a:rPr>
              <a:t>lient in the grey begins withdrawals in an up market, which gives him the optimal environment to maintain his portfolio value.</a:t>
            </a:r>
          </a:p>
          <a:p>
            <a:pPr eaLnBrk="1" hangingPunct="1">
              <a:defRPr/>
            </a:pPr>
            <a:r>
              <a:rPr lang="en-US" sz="1050" dirty="0">
                <a:ea typeface="ＭＳ Ｐゴシック" charset="0"/>
              </a:rPr>
              <a:t>The client in the blue is not as lucky. Withdrawals in a down market may deplete investors’ portfolios when they are not prepared.</a:t>
            </a:r>
          </a:p>
          <a:p>
            <a:pPr eaLnBrk="1" hangingPunct="1">
              <a:defRPr/>
            </a:pPr>
            <a:endParaRPr lang="en-GB" sz="1050" dirty="0">
              <a:ea typeface="ＭＳ Ｐゴシック" charset="0"/>
            </a:endParaRPr>
          </a:p>
          <a:p>
            <a:pPr>
              <a:defRPr/>
            </a:pPr>
            <a:endParaRPr lang="en-US" sz="1050"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7</a:t>
            </a:fld>
            <a:endParaRPr lang="en-US" dirty="0"/>
          </a:p>
        </p:txBody>
      </p:sp>
    </p:spTree>
    <p:extLst>
      <p:ext uri="{BB962C8B-B14F-4D97-AF65-F5344CB8AC3E}">
        <p14:creationId xmlns:p14="http://schemas.microsoft.com/office/powerpoint/2010/main" val="22080142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sz="1050" b="0" i="0" kern="1200" dirty="0">
                <a:solidFill>
                  <a:schemeClr val="tx1"/>
                </a:solidFill>
                <a:effectLst/>
                <a:latin typeface="IBM Eliot Sans Medium" panose="020B0703050000000000" pitchFamily="34" charset="0"/>
                <a:ea typeface="+mn-ea"/>
                <a:cs typeface="+mn-cs"/>
              </a:rPr>
              <a:t>The cost of annual taxes can quietly "eat away" at net returns, and erode investment earnings. The earlier investors invest tax-deferred and the longer they remain invested, the more their money can have the opportunity to compound over the years without a tax drag.  </a:t>
            </a:r>
            <a:endParaRPr lang="en-US" alt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8</a:t>
            </a:fld>
            <a:endParaRPr lang="en-US" dirty="0"/>
          </a:p>
        </p:txBody>
      </p:sp>
    </p:spTree>
    <p:extLst>
      <p:ext uri="{BB962C8B-B14F-4D97-AF65-F5344CB8AC3E}">
        <p14:creationId xmlns:p14="http://schemas.microsoft.com/office/powerpoint/2010/main" val="16963691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050" dirty="0">
                <a:latin typeface="Arial" pitchFamily="34" charset="0"/>
              </a:rPr>
              <a:t>As this chart shows,</a:t>
            </a:r>
            <a:r>
              <a:rPr lang="en-US" altLang="en-US" sz="1050" baseline="0" dirty="0">
                <a:latin typeface="Arial" pitchFamily="34" charset="0"/>
              </a:rPr>
              <a:t> about one quarter of recent retirees, and even more of those already in retirement for 10+ years, feel that their social security payouts are less than they had expected.  This is yet another factor which could cause financial discomfort during retirement, especially if a person is relying on social security as their only source of income.</a:t>
            </a:r>
            <a:endParaRPr lang="en-US" altLang="en-US" sz="1050" dirty="0">
              <a:latin typeface="Arial" pitchFamily="34" charset="0"/>
            </a:endParaRPr>
          </a:p>
          <a:p>
            <a:pPr eaLnBrk="1" hangingPunct="1"/>
            <a:endParaRPr lang="en-US" altLang="en-US" sz="1050"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9</a:t>
            </a:fld>
            <a:endParaRPr lang="en-US" dirty="0"/>
          </a:p>
        </p:txBody>
      </p:sp>
    </p:spTree>
    <p:extLst>
      <p:ext uri="{BB962C8B-B14F-4D97-AF65-F5344CB8AC3E}">
        <p14:creationId xmlns:p14="http://schemas.microsoft.com/office/powerpoint/2010/main" val="1479698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050" dirty="0">
                <a:latin typeface="Arial" pitchFamily="34" charset="0"/>
              </a:rPr>
              <a:t>Future retirees are on the same page as recent and 10+ year retirees in that they believe social</a:t>
            </a:r>
            <a:r>
              <a:rPr lang="en-US" altLang="en-US" sz="1050" baseline="0" dirty="0">
                <a:latin typeface="Arial" pitchFamily="34" charset="0"/>
              </a:rPr>
              <a:t> security will cover more than half of their expenses, but many more in this group also say they plan to supplement their social security payouts with income from retirement accounts.  However, this graph also indicates that the number of future retirees who say they plan to have retirement accounts has decreased.</a:t>
            </a:r>
            <a:endParaRPr lang="en-US" altLang="en-US" sz="1050" dirty="0">
              <a:latin typeface="Arial" pitchFamily="34" charset="0"/>
            </a:endParaRPr>
          </a:p>
          <a:p>
            <a:pPr eaLnBrk="1" hangingPunct="1"/>
            <a:endParaRPr lang="en-US" altLang="en-US" sz="1050"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40</a:t>
            </a:fld>
            <a:endParaRPr lang="en-US" dirty="0"/>
          </a:p>
        </p:txBody>
      </p:sp>
    </p:spTree>
    <p:extLst>
      <p:ext uri="{BB962C8B-B14F-4D97-AF65-F5344CB8AC3E}">
        <p14:creationId xmlns:p14="http://schemas.microsoft.com/office/powerpoint/2010/main" val="12935311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not common for active management to outperform the index. In addition, the investor takes on the full loss for active management. Active managers can get lucky from time to time with</a:t>
            </a:r>
            <a:r>
              <a:rPr lang="en-US" baseline="0" dirty="0"/>
              <a:t> stock picks, but this is not a skill that can usually be sustained.  Further, there is no evidence to guarantee that active management will raise a return on your investment.  Despite this, the expense ratio of the average actively managed fund is almost twice as high as a typical index fund.  Index funds provide lower fees for participants, while at the same time outperforming active management funds.  Through lower fees and higher performance, index funds will typically leave a retiree with the most money at the end of the day.</a:t>
            </a:r>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4</a:t>
            </a:fld>
            <a:endParaRPr lang="en-US" dirty="0"/>
          </a:p>
        </p:txBody>
      </p:sp>
    </p:spTree>
    <p:extLst>
      <p:ext uri="{BB962C8B-B14F-4D97-AF65-F5344CB8AC3E}">
        <p14:creationId xmlns:p14="http://schemas.microsoft.com/office/powerpoint/2010/main" val="15700368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43</a:t>
            </a:fld>
            <a:endParaRPr lang="en-US" dirty="0"/>
          </a:p>
        </p:txBody>
      </p:sp>
    </p:spTree>
    <p:extLst>
      <p:ext uri="{BB962C8B-B14F-4D97-AF65-F5344CB8AC3E}">
        <p14:creationId xmlns:p14="http://schemas.microsoft.com/office/powerpoint/2010/main" val="16296938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The blue dots represent the worst decline that happened during that intra-year. The</a:t>
            </a:r>
            <a:r>
              <a:rPr lang="en-US" baseline="0" dirty="0"/>
              <a:t> blue </a:t>
            </a:r>
            <a:r>
              <a:rPr lang="en-US" dirty="0"/>
              <a:t>bars represent the annual return for that year. Although declines</a:t>
            </a:r>
            <a:r>
              <a:rPr lang="en-US" baseline="0" dirty="0"/>
              <a:t> have been common, annual returns have been positive a good majority of the time – 29 out of the 38 years between 1980-2018.  On average, the S&amp;P 500 and other index funds provide a cost-effective method for saving for retirement. </a:t>
            </a:r>
            <a:r>
              <a:rPr lang="en-US" dirty="0"/>
              <a:t>Past performance is no indicator of future results.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5</a:t>
            </a:fld>
            <a:endParaRPr lang="en-US" dirty="0"/>
          </a:p>
        </p:txBody>
      </p:sp>
    </p:spTree>
    <p:extLst>
      <p:ext uri="{BB962C8B-B14F-4D97-AF65-F5344CB8AC3E}">
        <p14:creationId xmlns:p14="http://schemas.microsoft.com/office/powerpoint/2010/main" val="20654337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Looking at the past few years of the S&amp;P 500, there was significant</a:t>
            </a:r>
            <a:r>
              <a:rPr lang="en-US" baseline="0" dirty="0"/>
              <a:t> </a:t>
            </a:r>
            <a:r>
              <a:rPr lang="en-US" dirty="0"/>
              <a:t>opportunity for </a:t>
            </a:r>
            <a:r>
              <a:rPr lang="en-US" baseline="0" dirty="0"/>
              <a:t>growth.</a:t>
            </a:r>
            <a:r>
              <a:rPr lang="en-US" dirty="0"/>
              <a:t> However,</a:t>
            </a:r>
            <a:r>
              <a:rPr lang="en-US" baseline="0" dirty="0"/>
              <a:t> with 2008 still on the mind, many of us were hesitant to jump back into the market and invest in equities. </a:t>
            </a:r>
            <a:r>
              <a:rPr lang="en-US" dirty="0"/>
              <a:t>For many people</a:t>
            </a:r>
            <a:r>
              <a:rPr lang="en-US" baseline="0" dirty="0"/>
              <a:t> who were once invested,</a:t>
            </a:r>
            <a:r>
              <a:rPr lang="en-US" dirty="0"/>
              <a:t> they</a:t>
            </a:r>
            <a:r>
              <a:rPr lang="en-US" baseline="0" dirty="0"/>
              <a:t> are now sitting on the sidelines in cash, mindful of another correction. Perhaps some of those people would be willing to take on some risk and invest, if they knew that they had some level of protection from losses.</a:t>
            </a:r>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6</a:t>
            </a:fld>
            <a:endParaRPr lang="en-US" dirty="0"/>
          </a:p>
        </p:txBody>
      </p:sp>
    </p:spTree>
    <p:extLst>
      <p:ext uri="{BB962C8B-B14F-4D97-AF65-F5344CB8AC3E}">
        <p14:creationId xmlns:p14="http://schemas.microsoft.com/office/powerpoint/2010/main" val="27925248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sz="1050" dirty="0"/>
              <a:t>According to a research conducted by AXA Equitable and Insured Retirement Institute, 79% of consumers are interested in protecting their wealth. One of the top reasons why consumers shy away from investing is the fear of losing money in a stock market that is volatile and unpredictable. So it turns out that protection is what is one of the main concerns on consumers’ minds when it comes to retirement.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7</a:t>
            </a:fld>
            <a:endParaRPr lang="en-US" dirty="0"/>
          </a:p>
        </p:txBody>
      </p:sp>
    </p:spTree>
    <p:extLst>
      <p:ext uri="{BB962C8B-B14F-4D97-AF65-F5344CB8AC3E}">
        <p14:creationId xmlns:p14="http://schemas.microsoft.com/office/powerpoint/2010/main" val="31871005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050" dirty="0"/>
              <a:t>There are three points to be made on this slide. First is that on average, consumers hold less than one-half of their assets in the stock market even though they recognize that risk is necessary for the level of return they are satisfied with. </a:t>
            </a:r>
          </a:p>
          <a:p>
            <a:pPr>
              <a:defRPr/>
            </a:pPr>
            <a:r>
              <a:rPr lang="en-US" sz="1050" dirty="0"/>
              <a:t>Second point is that, at the same time, these conservative investors value not losing their principal or investment as extremely or very important. This explains the low allocation of assets in the stock market. </a:t>
            </a:r>
          </a:p>
          <a:p>
            <a:pPr>
              <a:defRPr/>
            </a:pPr>
            <a:r>
              <a:rPr lang="en-US" sz="1050" dirty="0"/>
              <a:t>Third point is that it may be market volatility that is preventing American savers from investing in the stock market and instead leading them to holding cash on the sidelines for their retirement.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8</a:t>
            </a:fld>
            <a:endParaRPr lang="en-US" dirty="0"/>
          </a:p>
        </p:txBody>
      </p:sp>
    </p:spTree>
    <p:extLst>
      <p:ext uri="{BB962C8B-B14F-4D97-AF65-F5344CB8AC3E}">
        <p14:creationId xmlns:p14="http://schemas.microsoft.com/office/powerpoint/2010/main" val="42309877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050" dirty="0"/>
              <a:t>These are the five retirement challenges everyone faces. Longevity – people are living longer</a:t>
            </a:r>
            <a:r>
              <a:rPr lang="en-US" sz="1050" baseline="0" dirty="0"/>
              <a:t> today than ever before – which means a longer time to rely on retirement savings.  Inflation – Even moderate rates of inflation can severely erode the future purchasing power of hard-earned retirement dollars.  Market volatility causes many to fear that losses in the market will significantly reduce their retirement savings.  Interest rates are at historical lows, and may continue to reduce the growth of retirement funds.  The cost of annual taxes can also negatively impact investment earnings.  This is a lot to think about, but adequately preparing for retirement can mitigate all these risks.</a:t>
            </a:r>
            <a:endParaRPr lang="en-US" sz="1050"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9</a:t>
            </a:fld>
            <a:endParaRPr lang="en-US" dirty="0"/>
          </a:p>
        </p:txBody>
      </p:sp>
    </p:spTree>
    <p:extLst>
      <p:ext uri="{BB962C8B-B14F-4D97-AF65-F5344CB8AC3E}">
        <p14:creationId xmlns:p14="http://schemas.microsoft.com/office/powerpoint/2010/main" val="9506698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8437751" y="6360728"/>
            <a:ext cx="314936"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5385167" y="6361888"/>
            <a:ext cx="3001841"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285750" y="2479966"/>
            <a:ext cx="8522494" cy="1898069"/>
          </a:xfrm>
          <a:prstGeom prst="rect">
            <a:avLst/>
          </a:prstGeom>
        </p:spPr>
        <p:txBody>
          <a:bodyPr anchor="ctr" anchorCtr="0"/>
          <a:lstStyle>
            <a:lvl1pPr>
              <a:defRPr lang="en-US" sz="5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4037244233"/>
      </p:ext>
    </p:extLst>
  </p:cSld>
  <p:clrMapOvr>
    <a:masterClrMapping/>
  </p:clrMapOvr>
  <p:extLst>
    <p:ext uri="{DCECCB84-F9BA-43D5-87BE-67443E8EF086}">
      <p15:sldGuideLst xmlns:p15="http://schemas.microsoft.com/office/powerpoint/2012/main">
        <p15:guide id="1" orient="horz" pos="19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1905000"/>
            <a:ext cx="9144000" cy="4191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000500"/>
            <a:ext cx="914732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2281807" y="1822962"/>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343663" y="3930319"/>
            <a:ext cx="415188" cy="777145"/>
          </a:xfrm>
          <a:prstGeom prst="rect">
            <a:avLst/>
          </a:prstGeom>
        </p:spPr>
        <p:txBody>
          <a:bodyPr vert="horz" lIns="68580" tIns="34290" rIns="68580" bIns="34290"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4876"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4570913" y="1808472"/>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6854615" y="1773483"/>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8507942" y="6361600"/>
            <a:ext cx="342014" cy="21957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5459997" y="635755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228040" y="333737"/>
            <a:ext cx="3629585"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04573" y="3058636"/>
            <a:ext cx="194188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287401"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2526773" y="3048053"/>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4812773" y="3048053"/>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7098773" y="3048053"/>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2494861"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4780861"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7066861"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04573" y="5132969"/>
            <a:ext cx="194188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287401" y="4133551"/>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2526773" y="5122386"/>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4812773" y="5122386"/>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7098773" y="5122386"/>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2494861" y="4133551"/>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4780861" y="4133551"/>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7066861" y="4133551"/>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1003323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285750" y="2508250"/>
            <a:ext cx="2125980" cy="358902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4584118" y="2508250"/>
            <a:ext cx="2125980" cy="3589020"/>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6733182" y="2508250"/>
            <a:ext cx="2125980" cy="358775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2434746" y="2508250"/>
            <a:ext cx="2125980" cy="358902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8452438" y="6343905"/>
            <a:ext cx="365125" cy="187523"/>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55086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371967"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398198" y="4147974"/>
            <a:ext cx="1659203" cy="227542"/>
          </a:xfrm>
          <a:prstGeom prst="rect">
            <a:avLst/>
          </a:prstGeom>
        </p:spPr>
        <p:txBody>
          <a:bodyPr/>
          <a:lstStyle>
            <a:lvl1pPr marL="0" indent="0">
              <a:buNone/>
              <a:defRPr sz="75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2536904" y="4147974"/>
            <a:ext cx="1663623" cy="227542"/>
          </a:xfrm>
          <a:prstGeom prst="rect">
            <a:avLst/>
          </a:prstGeom>
        </p:spPr>
        <p:txBody>
          <a:bodyPr/>
          <a:lstStyle>
            <a:lvl1pPr marL="0" indent="0">
              <a:buNone/>
              <a:defRPr sz="75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4675609" y="4147974"/>
            <a:ext cx="1659298"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6826099" y="4147974"/>
            <a:ext cx="1659298"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412750" y="2785918"/>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2540000" y="2785918"/>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4667250" y="2785918"/>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6826250" y="2785918"/>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2540635" y="4396901"/>
            <a:ext cx="1614170" cy="1343501"/>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75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4683760" y="4396901"/>
            <a:ext cx="1614170" cy="1343501"/>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75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6832600" y="4396901"/>
            <a:ext cx="1614170" cy="1343501"/>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75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409094" y="4396901"/>
            <a:ext cx="1614170" cy="1343501"/>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75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69052458"/>
      </p:ext>
    </p:extLst>
  </p:cSld>
  <p:clrMapOvr>
    <a:masterClrMapping/>
  </p:clrMapOvr>
  <p:extLst>
    <p:ext uri="{DCECCB84-F9BA-43D5-87BE-67443E8EF086}">
      <p15:sldGuideLst xmlns:p15="http://schemas.microsoft.com/office/powerpoint/2012/main">
        <p15:guide id="1" orient="horz" pos="1740" userDrawn="1">
          <p15:clr>
            <a:srgbClr val="FBAE40"/>
          </p15:clr>
        </p15:guide>
        <p15:guide id="4" pos="5385" userDrawn="1">
          <p15:clr>
            <a:srgbClr val="FBAE40"/>
          </p15:clr>
        </p15:guide>
        <p15:guide id="8" orient="horz" pos="1900" userDrawn="1">
          <p15:clr>
            <a:srgbClr val="FBAE40"/>
          </p15:clr>
        </p15:guide>
        <p15:guide id="9" orient="horz" pos="2640" userDrawn="1">
          <p15:clr>
            <a:srgbClr val="FBAE40"/>
          </p15:clr>
        </p15:guide>
        <p15:guide id="10" orient="horz" pos="3640" userDrawn="1">
          <p15:clr>
            <a:srgbClr val="FBAE40"/>
          </p15:clr>
        </p15:guide>
        <p15:guide id="11" pos="285"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45476" y="2141220"/>
            <a:ext cx="4286251" cy="3954780"/>
          </a:xfrm>
          <a:prstGeom prst="rect">
            <a:avLst/>
          </a:prstGeom>
        </p:spPr>
        <p:txBody>
          <a:bodyPr>
            <a:normAutofit/>
          </a:bodyPr>
          <a:lstStyle>
            <a:lvl1pPr marL="133340" indent="-133340">
              <a:lnSpc>
                <a:spcPct val="90000"/>
              </a:lnSpc>
              <a:buFont typeface="Arial" panose="020B0604020202020204" pitchFamily="34" charset="0"/>
              <a:buChar char="•"/>
              <a:tabLst/>
              <a:defRPr sz="1000" b="0" i="0">
                <a:solidFill>
                  <a:srgbClr val="002677"/>
                </a:solidFill>
                <a:latin typeface="IBM Eliot Sans Medium" panose="020B0703050000000000" pitchFamily="34" charset="0"/>
              </a:defRPr>
            </a:lvl1pPr>
            <a:lvl2pPr marL="128579" marR="0" indent="0" algn="l" defTabSz="685749" rtl="0" eaLnBrk="1" fontAlgn="auto" latinLnBrk="0" hangingPunct="1">
              <a:lnSpc>
                <a:spcPct val="90000"/>
              </a:lnSpc>
              <a:spcBef>
                <a:spcPts val="376"/>
              </a:spcBef>
              <a:spcAft>
                <a:spcPts val="0"/>
              </a:spcAft>
              <a:buClrTx/>
              <a:buSzTx/>
              <a:buFont typeface="Courier New" panose="02070309020205020404" pitchFamily="49" charset="0"/>
              <a:buNone/>
              <a:tabLst/>
              <a:defRPr sz="75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258348" marR="0" lvl="1" indent="-129769" algn="l" defTabSz="685749" rtl="0" eaLnBrk="1" fontAlgn="auto" latinLnBrk="0" hangingPunct="1">
              <a:lnSpc>
                <a:spcPts val="1875"/>
              </a:lnSpc>
              <a:spcBef>
                <a:spcPts val="376"/>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8442733" y="6357655"/>
            <a:ext cx="381705" cy="215023"/>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5529299"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513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132761866"/>
      </p:ext>
    </p:extLst>
  </p:cSld>
  <p:clrMapOvr>
    <a:masterClrMapping/>
  </p:clrMapOvr>
  <p:extLst>
    <p:ext uri="{DCECCB84-F9BA-43D5-87BE-67443E8EF086}">
      <p15:sldGuideLst xmlns:p15="http://schemas.microsoft.com/office/powerpoint/2012/main">
        <p15:guide id="2" orient="horz" pos="1440" userDrawn="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8504610" y="6350781"/>
            <a:ext cx="326703" cy="208148"/>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5515549"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31162" y="3058586"/>
            <a:ext cx="1990609" cy="212936"/>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30717"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2491432" y="3058586"/>
            <a:ext cx="1990609" cy="212936"/>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4657417" y="3058586"/>
            <a:ext cx="1990609" cy="212936"/>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6834832" y="3058586"/>
            <a:ext cx="1990609" cy="212936"/>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30513"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2492945"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4655378"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6838405"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209598534"/>
      </p:ext>
    </p:extLst>
  </p:cSld>
  <p:clrMapOvr>
    <a:masterClrMapping/>
  </p:clrMapOvr>
  <p:extLst>
    <p:ext uri="{DCECCB84-F9BA-43D5-87BE-67443E8EF086}">
      <p15:sldGuideLst xmlns:p15="http://schemas.microsoft.com/office/powerpoint/2012/main">
        <p15:guide id="1" orient="horz" pos="1960" userDrawn="1">
          <p15:clr>
            <a:srgbClr val="FBAE40"/>
          </p15:clr>
        </p15:guide>
        <p15:guide id="2" orient="horz" pos="2260" userDrawn="1">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8477109" y="6343906"/>
            <a:ext cx="347329" cy="133094"/>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5501799"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3513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2559604" y="3042200"/>
            <a:ext cx="1832293" cy="3037414"/>
          </a:xfrm>
          <a:prstGeom prst="rect">
            <a:avLst/>
          </a:prstGeom>
        </p:spPr>
        <p:txBody>
          <a:bodyPr>
            <a:normAutofit/>
          </a:bodyPr>
          <a:lstStyle>
            <a:lvl1pPr marL="0" marR="0" indent="0" algn="l" defTabSz="685749" rtl="0" eaLnBrk="1" fontAlgn="auto" latinLnBrk="0" hangingPunct="1">
              <a:lnSpc>
                <a:spcPts val="1000"/>
              </a:lnSpc>
              <a:spcBef>
                <a:spcPts val="500"/>
              </a:spcBef>
              <a:spcAft>
                <a:spcPts val="0"/>
              </a:spcAft>
              <a:buClrTx/>
              <a:buSzTx/>
              <a:buFont typeface="Arial" panose="020B0604020202020204" pitchFamily="34" charset="0"/>
              <a:buNone/>
              <a:tabLst/>
              <a:defRPr sz="75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370599" y="3058586"/>
            <a:ext cx="1832293" cy="3037414"/>
          </a:xfrm>
          <a:prstGeom prst="rect">
            <a:avLst/>
          </a:prstGeom>
        </p:spPr>
        <p:txBody>
          <a:bodyPr>
            <a:normAutofit/>
          </a:bodyPr>
          <a:lstStyle>
            <a:lvl1pPr marL="0" marR="0" indent="0" algn="l" defTabSz="685749" rtl="0" eaLnBrk="1" fontAlgn="auto" latinLnBrk="0" hangingPunct="1">
              <a:lnSpc>
                <a:spcPts val="1000"/>
              </a:lnSpc>
              <a:spcBef>
                <a:spcPts val="500"/>
              </a:spcBef>
              <a:spcAft>
                <a:spcPts val="0"/>
              </a:spcAft>
              <a:buClrTx/>
              <a:buSzTx/>
              <a:buFont typeface="Arial" panose="020B0604020202020204" pitchFamily="34" charset="0"/>
              <a:buNone/>
              <a:tabLst/>
              <a:defRPr sz="75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4700612" y="3042200"/>
            <a:ext cx="1832293" cy="3037414"/>
          </a:xfrm>
          <a:prstGeom prst="rect">
            <a:avLst/>
          </a:prstGeom>
        </p:spPr>
        <p:txBody>
          <a:bodyPr>
            <a:normAutofit/>
          </a:bodyPr>
          <a:lstStyle>
            <a:lvl1pPr marL="0" marR="0" indent="0" algn="l" defTabSz="685749" rtl="0" eaLnBrk="1" fontAlgn="auto" latinLnBrk="0" hangingPunct="1">
              <a:lnSpc>
                <a:spcPts val="1000"/>
              </a:lnSpc>
              <a:spcBef>
                <a:spcPts val="500"/>
              </a:spcBef>
              <a:spcAft>
                <a:spcPts val="0"/>
              </a:spcAft>
              <a:buClrTx/>
              <a:buSzTx/>
              <a:buFont typeface="Arial" panose="020B0604020202020204" pitchFamily="34" charset="0"/>
              <a:buNone/>
              <a:tabLst/>
              <a:defRPr sz="75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6881480" y="3042200"/>
            <a:ext cx="1832293" cy="3037414"/>
          </a:xfrm>
          <a:prstGeom prst="rect">
            <a:avLst/>
          </a:prstGeom>
        </p:spPr>
        <p:txBody>
          <a:bodyPr>
            <a:normAutofit/>
          </a:bodyPr>
          <a:lstStyle>
            <a:lvl1pPr marL="0" marR="0" indent="0" algn="l" defTabSz="685749" rtl="0" eaLnBrk="1" fontAlgn="auto" latinLnBrk="0" hangingPunct="1">
              <a:lnSpc>
                <a:spcPts val="1000"/>
              </a:lnSpc>
              <a:spcBef>
                <a:spcPts val="500"/>
              </a:spcBef>
              <a:spcAft>
                <a:spcPts val="0"/>
              </a:spcAft>
              <a:buClrTx/>
              <a:buSzTx/>
              <a:buFont typeface="Arial" panose="020B0604020202020204" pitchFamily="34" charset="0"/>
              <a:buNone/>
              <a:tabLst/>
              <a:defRPr sz="75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4140553510"/>
      </p:ext>
    </p:extLst>
  </p:cSld>
  <p:clrMapOvr>
    <a:masterClrMapping/>
  </p:clrMapOvr>
  <p:extLst>
    <p:ext uri="{DCECCB84-F9BA-43D5-87BE-67443E8EF086}">
      <p15:sldGuideLst xmlns:p15="http://schemas.microsoft.com/office/powerpoint/2012/main">
        <p15:guide id="3" orient="horz" pos="1960" userDrawn="1">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285750" y="2667000"/>
            <a:ext cx="2095500" cy="1524000"/>
          </a:xfrm>
          <a:prstGeom prst="rect">
            <a:avLst/>
          </a:prstGeom>
        </p:spPr>
        <p:txBody>
          <a:bodyPr/>
          <a:lstStyle>
            <a:lvl1pPr>
              <a:defRPr sz="5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8511484" y="6343906"/>
            <a:ext cx="319828" cy="133094"/>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5529299"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39361" y="4303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2450216" y="2667000"/>
            <a:ext cx="2095500" cy="1524000"/>
          </a:xfrm>
          <a:prstGeom prst="rect">
            <a:avLst/>
          </a:prstGeom>
        </p:spPr>
        <p:txBody>
          <a:bodyPr/>
          <a:lstStyle>
            <a:lvl1pPr>
              <a:defRPr sz="5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4609712" y="2667000"/>
            <a:ext cx="2095500" cy="1524000"/>
          </a:xfrm>
          <a:prstGeom prst="rect">
            <a:avLst/>
          </a:prstGeom>
        </p:spPr>
        <p:txBody>
          <a:bodyPr/>
          <a:lstStyle>
            <a:lvl1pPr>
              <a:defRPr sz="5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6766064" y="2667000"/>
            <a:ext cx="2095500" cy="1524000"/>
          </a:xfrm>
          <a:prstGeom prst="rect">
            <a:avLst/>
          </a:prstGeom>
        </p:spPr>
        <p:txBody>
          <a:bodyPr/>
          <a:lstStyle>
            <a:lvl1pPr>
              <a:defRPr sz="5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506091" y="4303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4652943" y="4303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6814704" y="4303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2509613"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IBM Eliot Sans Medium" panose="020B0703050000000000"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4650929"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IBM Eliot Sans Medium" panose="020B0703050000000000"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6813948"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IBM Eliot Sans Medium" panose="020B0703050000000000"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32126"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IBM Eliot Sans Medium" panose="020B0703050000000000"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3406316783"/>
      </p:ext>
    </p:extLst>
  </p:cSld>
  <p:clrMapOvr>
    <a:masterClrMapping/>
  </p:clrMapOvr>
  <p:extLst>
    <p:ext uri="{DCECCB84-F9BA-43D5-87BE-67443E8EF086}">
      <p15:sldGuideLst xmlns:p15="http://schemas.microsoft.com/office/powerpoint/2012/main">
        <p15:guide id="1" orient="horz" pos="1680" userDrawn="1">
          <p15:clr>
            <a:srgbClr val="FBAE40"/>
          </p15:clr>
        </p15:guide>
        <p15:guide id="2" orient="horz" pos="2640" userDrawn="1">
          <p15:clr>
            <a:srgbClr val="FBAE40"/>
          </p15:clr>
        </p15:guide>
        <p15:guide id="7" orient="horz" pos="2740" userDrawn="1">
          <p15:clr>
            <a:srgbClr val="FBAE40"/>
          </p15:clr>
        </p15:guide>
        <p15:guide id="8" orient="horz" pos="2900" userDrawn="1">
          <p15:clr>
            <a:srgbClr val="FBAE40"/>
          </p15:clr>
        </p15:guide>
        <p15:guide id="10" pos="5700" userDrawn="1">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29361" y="3560338"/>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2450216"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396091" y="3541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4542943" y="3541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6704704" y="3541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229361" y="5827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2396091" y="5827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4542943" y="5827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6704704" y="5827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4598767"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6769020"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2450216"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4598767"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6769020"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287197"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2457450" y="2277978"/>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4591533" y="2277978"/>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6761786" y="2277978"/>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2457450" y="4602561"/>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272729" y="4602561"/>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4591533" y="4602561"/>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6761786" y="4602561"/>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292932"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284721" y="2277978"/>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2268832354"/>
      </p:ext>
    </p:extLst>
  </p:cSld>
  <p:clrMapOvr>
    <a:masterClrMapping/>
  </p:clrMapOvr>
  <p:extLst>
    <p:ext uri="{DCECCB84-F9BA-43D5-87BE-67443E8EF086}">
      <p15:sldGuideLst xmlns:p15="http://schemas.microsoft.com/office/powerpoint/2012/main">
        <p15:guide id="1" orient="horz" pos="1200" userDrawn="1">
          <p15:clr>
            <a:srgbClr val="FBAE40"/>
          </p15:clr>
        </p15:guide>
        <p15:guide id="2" orient="horz" pos="2640" userDrawn="1">
          <p15:clr>
            <a:srgbClr val="FBAE40"/>
          </p15:clr>
        </p15:guide>
        <p15:guide id="7" orient="horz" pos="3640" userDrawn="1">
          <p15:clr>
            <a:srgbClr val="FBAE40"/>
          </p15:clr>
        </p15:guide>
        <p15:guide id="8" orient="horz" pos="3600" userDrawn="1">
          <p15:clr>
            <a:srgbClr val="FBAE40"/>
          </p15:clr>
        </p15:guide>
        <p15:guide id="9" pos="5730" userDrawn="1">
          <p15:clr>
            <a:srgbClr val="FBAE40"/>
          </p15:clr>
        </p15:guide>
        <p15:guide id="12" orient="horz" pos="2160" userDrawn="1">
          <p15:clr>
            <a:srgbClr val="FBAE40"/>
          </p15:clr>
        </p15:guide>
        <p15:guide id="13" orient="horz" pos="2220"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4572000" y="3429000"/>
            <a:ext cx="4572000" cy="3429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4572000" y="4"/>
            <a:ext cx="4572000" cy="3448446"/>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5026347" y="3949972"/>
            <a:ext cx="3828577" cy="1581702"/>
          </a:xfrm>
          <a:prstGeom prst="rect">
            <a:avLst/>
          </a:prstGeom>
          <a:noFill/>
        </p:spPr>
        <p:txBody>
          <a:bodyPr anchor="ctr">
            <a:norm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438" b="1" i="0">
                <a:solidFill>
                  <a:srgbClr val="FFFFFF"/>
                </a:solidFill>
                <a:latin typeface="IBM Eliot Sans Medium" panose="020B0703050000000000" pitchFamily="34" charset="0"/>
              </a:defRPr>
            </a:lvl1pPr>
          </a:lstStyle>
          <a:p>
            <a:pPr marL="0" marR="0" lvl="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245815" y="2142044"/>
            <a:ext cx="4181503" cy="3048000"/>
          </a:xfrm>
          <a:prstGeom prst="rect">
            <a:avLst/>
          </a:prstGeom>
        </p:spPr>
        <p:txBody>
          <a:bodyPr/>
          <a:lstStyle>
            <a:lvl1pPr marL="178590" marR="0" indent="-178590"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000" b="0" i="0">
                <a:solidFill>
                  <a:srgbClr val="002677"/>
                </a:solidFill>
                <a:latin typeface="IBM Eliot Sans Medium" panose="020B0703050000000000" pitchFamily="34" charset="0"/>
              </a:defRPr>
            </a:lvl1pPr>
            <a:lvl2pPr marL="259538" indent="-126197">
              <a:lnSpc>
                <a:spcPct val="90000"/>
              </a:lnSpc>
              <a:spcBef>
                <a:spcPts val="750"/>
              </a:spcBef>
              <a:spcAft>
                <a:spcPts val="0"/>
              </a:spcAft>
              <a:buFont typeface="Courier New" panose="02070309020205020404" pitchFamily="49" charset="0"/>
              <a:buChar char="o"/>
              <a:tabLst/>
              <a:defRPr sz="750" b="0" i="0">
                <a:solidFill>
                  <a:srgbClr val="002677"/>
                </a:solidFill>
                <a:latin typeface="IBM Eliot Sans Medium" panose="020B0703050000000000" pitchFamily="34" charset="0"/>
              </a:defRPr>
            </a:lvl2pPr>
            <a:lvl3pPr marL="685749" indent="0">
              <a:buNone/>
              <a:defRPr sz="1050">
                <a:latin typeface="GT America" pitchFamily="2" charset="77"/>
              </a:defRPr>
            </a:lvl3pPr>
            <a:lvl4pPr marL="1028624" indent="0">
              <a:buNone/>
              <a:defRPr sz="1050">
                <a:latin typeface="GT America" pitchFamily="2" charset="77"/>
              </a:defRPr>
            </a:lvl4pPr>
            <a:lvl5pPr marL="1371498" indent="0">
              <a:buNone/>
              <a:defRPr sz="105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5020509" y="5549419"/>
            <a:ext cx="2364383" cy="182433"/>
          </a:xfrm>
          <a:prstGeom prst="rect">
            <a:avLst/>
          </a:prstGeom>
        </p:spPr>
        <p:txBody>
          <a:bodyPr/>
          <a:lstStyle>
            <a:lvl1pPr marL="0" indent="0">
              <a:buNone/>
              <a:defRPr sz="75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662894818"/>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2640" userDrawn="1">
          <p15:clr>
            <a:srgbClr val="FBAE40"/>
          </p15:clr>
        </p15:guide>
        <p15:guide id="4" orient="horz" pos="3520" userDrawn="1">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4572000" y="3428999"/>
            <a:ext cx="4572000" cy="3429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4572000" y="4"/>
            <a:ext cx="4572000" cy="3448446"/>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5026347" y="3949972"/>
            <a:ext cx="3828577" cy="1581702"/>
          </a:xfrm>
          <a:prstGeom prst="rect">
            <a:avLst/>
          </a:prstGeom>
          <a:noFill/>
        </p:spPr>
        <p:txBody>
          <a:bodyPr anchor="ctr">
            <a:norm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438" b="1" i="0">
                <a:solidFill>
                  <a:srgbClr val="FFFFFF"/>
                </a:solidFill>
                <a:latin typeface="IBM Eliot Sans Medium" panose="020B0703050000000000" pitchFamily="34" charset="0"/>
              </a:defRPr>
            </a:lvl1pPr>
          </a:lstStyle>
          <a:p>
            <a:pPr marL="0" marR="0" lvl="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245816" y="2142045"/>
            <a:ext cx="3468936" cy="3953956"/>
          </a:xfrm>
          <a:prstGeom prst="rect">
            <a:avLst/>
          </a:prstGeom>
        </p:spPr>
        <p:txBody>
          <a:bodyPr/>
          <a:lstStyle>
            <a:lvl1pPr marL="178590" marR="0" indent="-178590"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000" b="0" i="0">
                <a:solidFill>
                  <a:srgbClr val="002677"/>
                </a:solidFill>
                <a:latin typeface="IBM Eliot Sans Medium" panose="020B0703050000000000" pitchFamily="34" charset="0"/>
              </a:defRPr>
            </a:lvl1pPr>
            <a:lvl2pPr marL="259538" indent="-126197">
              <a:lnSpc>
                <a:spcPct val="90000"/>
              </a:lnSpc>
              <a:spcBef>
                <a:spcPts val="750"/>
              </a:spcBef>
              <a:spcAft>
                <a:spcPts val="0"/>
              </a:spcAft>
              <a:buFont typeface="Courier New" panose="02070309020205020404" pitchFamily="49" charset="0"/>
              <a:buChar char="o"/>
              <a:tabLst/>
              <a:defRPr sz="750" b="0" i="0">
                <a:solidFill>
                  <a:srgbClr val="002677"/>
                </a:solidFill>
                <a:latin typeface="IBM Eliot Sans Medium" panose="020B0703050000000000" pitchFamily="34" charset="0"/>
              </a:defRPr>
            </a:lvl2pPr>
            <a:lvl3pPr marL="685749" indent="0">
              <a:buNone/>
              <a:defRPr sz="1050">
                <a:latin typeface="GT America" pitchFamily="2" charset="77"/>
              </a:defRPr>
            </a:lvl3pPr>
            <a:lvl4pPr marL="1028624" indent="0">
              <a:buNone/>
              <a:defRPr sz="1050">
                <a:latin typeface="GT America" pitchFamily="2" charset="77"/>
              </a:defRPr>
            </a:lvl4pPr>
            <a:lvl5pPr marL="1371498" indent="0">
              <a:buNone/>
              <a:defRPr sz="105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5020509" y="5549419"/>
            <a:ext cx="2364383" cy="182433"/>
          </a:xfrm>
          <a:prstGeom prst="rect">
            <a:avLst/>
          </a:prstGeom>
        </p:spPr>
        <p:txBody>
          <a:bodyPr/>
          <a:lstStyle>
            <a:lvl1pPr marL="0" indent="0">
              <a:buNone/>
              <a:defRPr sz="75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47758025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285751" y="2286000"/>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6713283" y="4318000"/>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4620236" y="2558437"/>
            <a:ext cx="4257777" cy="1174311"/>
          </a:xfrm>
          <a:prstGeom prst="rect">
            <a:avLst/>
          </a:prstGeom>
        </p:spPr>
        <p:txBody>
          <a:bodyPr>
            <a:noAutofit/>
          </a:bodyPr>
          <a:lstStyle>
            <a:lvl1pPr marL="0" indent="0">
              <a:buNone/>
              <a:defRPr sz="625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4620238" y="2286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6760845" y="4790361"/>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235111"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4559976"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4620238" y="4191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4559976"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6782476"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235148" y="2970392"/>
            <a:ext cx="2195567" cy="3125610"/>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0668964"/>
      </p:ext>
    </p:extLst>
  </p:cSld>
  <p:clrMapOvr>
    <a:masterClrMapping/>
  </p:clrMapOvr>
  <p:extLst>
    <p:ext uri="{DCECCB84-F9BA-43D5-87BE-67443E8EF086}">
      <p15:sldGuideLst xmlns:p15="http://schemas.microsoft.com/office/powerpoint/2012/main">
        <p15:guide id="3" orient="horz" pos="1920" userDrawn="1">
          <p15:clr>
            <a:srgbClr val="FBAE40"/>
          </p15:clr>
        </p15:guide>
        <p15:guide id="4" orient="horz" pos="2720" userDrawn="1">
          <p15:clr>
            <a:srgbClr val="FBAE40"/>
          </p15:clr>
        </p15:guide>
        <p15:guide id="5" orient="horz" pos="3780" userDrawn="1">
          <p15:clr>
            <a:srgbClr val="FBAE40"/>
          </p15:clr>
        </p15:guide>
        <p15:guide id="8" orient="horz" pos="2160" userDrawn="1">
          <p15:clr>
            <a:srgbClr val="FBAE40"/>
          </p15:clr>
        </p15:guide>
        <p15:guide id="9" orient="horz" pos="1580" userDrawn="1">
          <p15:clr>
            <a:srgbClr val="FBAE40"/>
          </p15:clr>
        </p15:guide>
        <p15:guide id="10" orient="horz" pos="144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285751" y="2286000"/>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4620238" y="2286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235111"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6762951" y="4790361"/>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4620238" y="4191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4559976"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6782476"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6713283" y="4318000"/>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6760845" y="2895944"/>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4559976" y="23622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4543425" y="2895944"/>
            <a:ext cx="2045606" cy="886594"/>
          </a:xfrm>
          <a:prstGeom prst="rect">
            <a:avLst/>
          </a:prstGeom>
        </p:spPr>
        <p:txBody>
          <a:bodyPr>
            <a:noAutofit/>
          </a:bodyPr>
          <a:lstStyle>
            <a:lvl1pPr marL="0" indent="0">
              <a:buNone/>
              <a:defRPr sz="435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6782476" y="23622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6713283" y="2423583"/>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235148" y="2971802"/>
            <a:ext cx="2195567" cy="3108960"/>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922474414"/>
      </p:ext>
    </p:extLst>
  </p:cSld>
  <p:clrMapOvr>
    <a:masterClrMapping/>
  </p:clrMapOvr>
  <p:extLst>
    <p:ext uri="{DCECCB84-F9BA-43D5-87BE-67443E8EF086}">
      <p15:sldGuideLst xmlns:p15="http://schemas.microsoft.com/office/powerpoint/2012/main">
        <p15:guide id="1" orient="horz" pos="1920" userDrawn="1">
          <p15:clr>
            <a:srgbClr val="FBAE40"/>
          </p15:clr>
        </p15:guide>
        <p15:guide id="2" orient="horz" pos="2720" userDrawn="1">
          <p15:clr>
            <a:srgbClr val="FBAE40"/>
          </p15:clr>
        </p15:guide>
        <p15:guide id="3" orient="horz" pos="378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6103619" y="1904998"/>
            <a:ext cx="3051810" cy="41910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3051809" y="1904998"/>
            <a:ext cx="3051810" cy="41910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1905000"/>
            <a:ext cx="3051810" cy="4191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3050068" y="1752600"/>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6103619" y="1829103"/>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8508490" y="6360736"/>
            <a:ext cx="308355" cy="180310"/>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5443716"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228041" y="333737"/>
            <a:ext cx="3629586"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293011"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3222224" y="2059218"/>
            <a:ext cx="825624" cy="825498"/>
          </a:xfrm>
          <a:prstGeom prst="rect">
            <a:avLst/>
          </a:prstGeom>
        </p:spPr>
        <p:txBody>
          <a:bodyPr/>
          <a:lstStyle>
            <a:lvl1pPr marL="0" indent="0" algn="l">
              <a:buNone/>
              <a:defRPr sz="4688"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6270224" y="2059218"/>
            <a:ext cx="825624" cy="825498"/>
          </a:xfrm>
          <a:prstGeom prst="rect">
            <a:avLst/>
          </a:prstGeom>
        </p:spPr>
        <p:txBody>
          <a:bodyPr/>
          <a:lstStyle>
            <a:lvl1pPr marL="0" indent="0" algn="l">
              <a:buNone/>
              <a:defRPr sz="4688"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310181" y="3058636"/>
            <a:ext cx="2612522"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3226406" y="3058636"/>
            <a:ext cx="2612522"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6265748" y="3058636"/>
            <a:ext cx="2612522" cy="727080"/>
          </a:xfrm>
          <a:prstGeom prst="rect">
            <a:avLst/>
          </a:prstGeom>
        </p:spPr>
        <p:txBody>
          <a:bodyPr/>
          <a:lstStyle>
            <a:lvl1pPr marL="0" indent="0">
              <a:lnSpc>
                <a:spcPts val="750"/>
              </a:lnSpc>
              <a:buNone/>
              <a:defRPr sz="1125" b="1" i="0">
                <a:solidFill>
                  <a:srgbClr val="0025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4225478800"/>
      </p:ext>
    </p:extLst>
  </p:cSld>
  <p:clrMapOvr>
    <a:masterClrMapping/>
  </p:clrMapOvr>
  <p:extLst>
    <p:ext uri="{DCECCB84-F9BA-43D5-87BE-67443E8EF086}">
      <p15:sldGuideLst xmlns:p15="http://schemas.microsoft.com/office/powerpoint/2012/main">
        <p15:guide id="1" orient="horz" pos="3835" userDrawn="1">
          <p15:clr>
            <a:srgbClr val="FBAE40"/>
          </p15:clr>
        </p15:guide>
        <p15:guide id="2" orient="horz" pos="120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3109864" y="2413000"/>
            <a:ext cx="0" cy="36830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248341" y="2760432"/>
            <a:ext cx="2805544" cy="886594"/>
          </a:xfrm>
          <a:prstGeom prst="rect">
            <a:avLst/>
          </a:prstGeom>
        </p:spPr>
        <p:txBody>
          <a:bodyPr>
            <a:noAutofit/>
          </a:bodyPr>
          <a:lstStyle>
            <a:lvl1pPr marL="0" indent="0">
              <a:buNone/>
              <a:defRPr sz="435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3154460" y="2759351"/>
            <a:ext cx="2805544"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5985420" y="2759351"/>
            <a:ext cx="2805544"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285750" y="2286000"/>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235111"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3179924"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6069174"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235111"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3179924"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6069174"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238665" y="4572000"/>
            <a:ext cx="2140372" cy="1524000"/>
          </a:xfrm>
          <a:prstGeom prst="rect">
            <a:avLst/>
          </a:prstGeom>
        </p:spPr>
        <p:txBody>
          <a:bodyPr>
            <a:normAutofit/>
          </a:bodyPr>
          <a:lstStyle>
            <a:lvl1pPr marL="107154" marR="0" indent="-107154"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75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3187538" y="4572000"/>
            <a:ext cx="2140372" cy="1524000"/>
          </a:xfrm>
          <a:prstGeom prst="rect">
            <a:avLst/>
          </a:prstGeom>
        </p:spPr>
        <p:txBody>
          <a:bodyPr>
            <a:normAutofit/>
          </a:bodyPr>
          <a:lstStyle>
            <a:lvl1pPr marL="107154" marR="0" indent="-107154"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75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6071803" y="4572000"/>
            <a:ext cx="2140372" cy="1524000"/>
          </a:xfrm>
          <a:prstGeom prst="rect">
            <a:avLst/>
          </a:prstGeom>
        </p:spPr>
        <p:txBody>
          <a:bodyPr>
            <a:normAutofit/>
          </a:bodyPr>
          <a:lstStyle>
            <a:lvl1pPr marL="107154" marR="0" indent="-107154"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75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6022927" y="2413000"/>
            <a:ext cx="0" cy="36830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5119792"/>
      </p:ext>
    </p:extLst>
  </p:cSld>
  <p:clrMapOvr>
    <a:masterClrMapping/>
  </p:clrMapOvr>
  <p:extLst>
    <p:ext uri="{DCECCB84-F9BA-43D5-87BE-67443E8EF086}">
      <p15:sldGuideLst xmlns:p15="http://schemas.microsoft.com/office/powerpoint/2012/main">
        <p15:guide id="5" pos="1440" userDrawn="1">
          <p15:clr>
            <a:srgbClr val="FBAE40"/>
          </p15:clr>
        </p15:guide>
        <p15:guide id="6" orient="horz" pos="1840" userDrawn="1">
          <p15:clr>
            <a:srgbClr val="FBAE40"/>
          </p15:clr>
        </p15:guide>
        <p15:guide id="7" orient="horz" pos="2720" userDrawn="1">
          <p15:clr>
            <a:srgbClr val="FBAE40"/>
          </p15:clr>
        </p15:guide>
        <p15:guide id="8" orient="horz" pos="2880" userDrawn="1">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9144000" cy="68580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236595" y="2587021"/>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235110" y="2831375"/>
            <a:ext cx="2867027" cy="194336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193560019"/>
      </p:ext>
    </p:extLst>
  </p:cSld>
  <p:clrMapOvr>
    <a:masterClrMapping/>
  </p:clrMapOvr>
  <p:extLst>
    <p:ext uri="{DCECCB84-F9BA-43D5-87BE-67443E8EF086}">
      <p15:sldGuideLst xmlns:p15="http://schemas.microsoft.com/office/powerpoint/2012/main">
        <p15:guide id="1" orient="horz" pos="1660" userDrawn="1">
          <p15:clr>
            <a:srgbClr val="FBAE40"/>
          </p15:clr>
        </p15:guide>
        <p15:guide id="2" orient="horz" pos="1820"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4572001" y="1514475"/>
            <a:ext cx="4372070" cy="4581525"/>
          </a:xfrm>
          <a:prstGeom prst="rect">
            <a:avLst/>
          </a:prstGeom>
        </p:spPr>
        <p:txBody>
          <a:bodyPr/>
          <a:lstStyle>
            <a:lvl1pPr>
              <a:defRPr sz="5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235111" y="3323833"/>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235149" y="3547959"/>
            <a:ext cx="2072418" cy="2548043"/>
          </a:xfrm>
          <a:prstGeom prst="rect">
            <a:avLst/>
          </a:prstGeom>
        </p:spPr>
        <p:txBody>
          <a:bodyPr/>
          <a:lstStyle>
            <a:lvl1pPr marL="0" indent="0">
              <a:lnSpc>
                <a:spcPts val="1000"/>
              </a:lnSpc>
              <a:spcBef>
                <a:spcPts val="0"/>
              </a:spcBef>
              <a:buNone/>
              <a:defRPr lang="en-US" sz="75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2398129" y="3323833"/>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2398168" y="3547959"/>
            <a:ext cx="2072418" cy="2548043"/>
          </a:xfrm>
          <a:prstGeom prst="rect">
            <a:avLst/>
          </a:prstGeom>
        </p:spPr>
        <p:txBody>
          <a:bodyPr/>
          <a:lstStyle>
            <a:lvl1pPr marL="0" indent="0">
              <a:lnSpc>
                <a:spcPts val="1000"/>
              </a:lnSpc>
              <a:spcBef>
                <a:spcPts val="0"/>
              </a:spcBef>
              <a:buNone/>
              <a:defRPr lang="en-US" sz="75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2536658924"/>
      </p:ext>
    </p:extLst>
  </p:cSld>
  <p:clrMapOvr>
    <a:masterClrMapping/>
  </p:clrMapOvr>
  <p:extLst>
    <p:ext uri="{DCECCB84-F9BA-43D5-87BE-67443E8EF086}">
      <p15:sldGuideLst xmlns:p15="http://schemas.microsoft.com/office/powerpoint/2012/main">
        <p15:guide id="1" orient="horz" pos="2320" userDrawn="1">
          <p15:clr>
            <a:srgbClr val="FBAE40"/>
          </p15:clr>
        </p15:guide>
        <p15:guide id="2" pos="5055" userDrawn="1">
          <p15:clr>
            <a:srgbClr val="FBAE40"/>
          </p15:clr>
        </p15:guide>
        <p15:guide id="3" orient="horz" pos="960" userDrawn="1">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02415" y="2413004"/>
            <a:ext cx="5107773" cy="3682993"/>
          </a:xfrm>
          <a:prstGeom prst="rect">
            <a:avLst/>
          </a:prstGeom>
        </p:spPr>
        <p:txBody>
          <a:bodyPr/>
          <a:lstStyle>
            <a:lvl1pPr>
              <a:defRPr sz="75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5933902" y="4960581"/>
            <a:ext cx="1387926" cy="439021"/>
          </a:xfrm>
          <a:prstGeom prst="rect">
            <a:avLst/>
          </a:prstGeom>
        </p:spPr>
        <p:txBody>
          <a:bodyPr>
            <a:noAutofit/>
          </a:bodyPr>
          <a:lstStyle>
            <a:lvl1pPr marL="0" indent="0">
              <a:buNone/>
              <a:defRPr sz="2188"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5946323" y="4337850"/>
            <a:ext cx="1173616" cy="250076"/>
          </a:xfrm>
          <a:prstGeom prst="rect">
            <a:avLst/>
          </a:prstGeom>
        </p:spPr>
        <p:txBody>
          <a:bodyPr>
            <a:normAutofit/>
          </a:bodyPr>
          <a:lstStyle>
            <a:lvl1pPr marL="0" indent="0">
              <a:buNone/>
              <a:defRPr sz="75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5946323" y="5437295"/>
            <a:ext cx="1173616" cy="250068"/>
          </a:xfrm>
          <a:prstGeom prst="rect">
            <a:avLst/>
          </a:prstGeom>
        </p:spPr>
        <p:txBody>
          <a:bodyPr>
            <a:normAutofit/>
          </a:bodyPr>
          <a:lstStyle>
            <a:lvl1pPr marL="0" indent="0">
              <a:buNone/>
              <a:defRPr sz="75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5946323" y="3057424"/>
            <a:ext cx="1173616" cy="232498"/>
          </a:xfrm>
          <a:prstGeom prst="rect">
            <a:avLst/>
          </a:prstGeom>
        </p:spPr>
        <p:txBody>
          <a:bodyPr>
            <a:normAutofit/>
          </a:bodyPr>
          <a:lstStyle>
            <a:lvl1pPr marL="0" indent="0">
              <a:buNone/>
              <a:defRPr sz="75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5933902" y="3864001"/>
            <a:ext cx="1387926" cy="439021"/>
          </a:xfrm>
          <a:prstGeom prst="rect">
            <a:avLst/>
          </a:prstGeom>
        </p:spPr>
        <p:txBody>
          <a:bodyPr>
            <a:noAutofit/>
          </a:bodyPr>
          <a:lstStyle>
            <a:lvl1pPr marL="0" indent="0">
              <a:buNone/>
              <a:defRPr sz="2188"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5921473" y="2287750"/>
            <a:ext cx="2812053" cy="706271"/>
          </a:xfrm>
          <a:prstGeom prst="rect">
            <a:avLst/>
          </a:prstGeom>
        </p:spPr>
        <p:txBody>
          <a:bodyPr>
            <a:noAutofit/>
          </a:bodyPr>
          <a:lstStyle>
            <a:lvl1pPr marL="0" indent="0">
              <a:buNone/>
              <a:defRPr sz="405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5946323" y="1857875"/>
            <a:ext cx="3232208" cy="279676"/>
          </a:xfrm>
          <a:prstGeom prst="rect">
            <a:avLst/>
          </a:prstGeom>
        </p:spPr>
        <p:txBody>
          <a:bodyPr>
            <a:noAutofit/>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285750" y="1747779"/>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31323" y="1857875"/>
            <a:ext cx="3232208" cy="279676"/>
          </a:xfrm>
          <a:prstGeom prst="rect">
            <a:avLst/>
          </a:prstGeom>
        </p:spPr>
        <p:txBody>
          <a:bodyPr>
            <a:noAutofit/>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7381876" y="4826001"/>
            <a:ext cx="738188" cy="603250"/>
          </a:xfrm>
          <a:prstGeom prst="rect">
            <a:avLst/>
          </a:prstGeom>
        </p:spPr>
        <p:txBody>
          <a:bodyPr/>
          <a:lstStyle>
            <a:lvl1pPr marL="0" indent="0">
              <a:buNone/>
              <a:defRPr sz="75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7381876" y="3725334"/>
            <a:ext cx="738188" cy="603250"/>
          </a:xfrm>
          <a:prstGeom prst="rect">
            <a:avLst/>
          </a:prstGeom>
        </p:spPr>
        <p:txBody>
          <a:bodyPr/>
          <a:lstStyle>
            <a:lvl1pPr marL="0" indent="0">
              <a:buNone/>
              <a:defRPr sz="75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830985266"/>
      </p:ext>
    </p:extLst>
  </p:cSld>
  <p:clrMapOvr>
    <a:masterClrMapping/>
  </p:clrMapOvr>
  <p:extLst>
    <p:ext uri="{DCECCB84-F9BA-43D5-87BE-67443E8EF086}">
      <p15:sldGuideLst xmlns:p15="http://schemas.microsoft.com/office/powerpoint/2012/main">
        <p15:guide id="1" orient="horz" pos="1100" userDrawn="1">
          <p15:clr>
            <a:srgbClr val="FBAE40"/>
          </p15:clr>
        </p15:guide>
        <p15:guide id="2" orient="horz" pos="1200" userDrawn="1">
          <p15:clr>
            <a:srgbClr val="FBAE40"/>
          </p15:clr>
        </p15:guide>
        <p15:guide id="6" orient="horz" pos="1880" userDrawn="1">
          <p15:clr>
            <a:srgbClr val="FBAE40"/>
          </p15:clr>
        </p15:guide>
        <p15:guide id="7" orient="horz" pos="2360" userDrawn="1">
          <p15:clr>
            <a:srgbClr val="FBAE40"/>
          </p15:clr>
        </p15:guide>
        <p15:guide id="8" orient="horz" pos="2680" userDrawn="1">
          <p15:clr>
            <a:srgbClr val="FBAE40"/>
          </p15:clr>
        </p15:guide>
        <p15:guide id="9" orient="horz" pos="3040" userDrawn="1">
          <p15:clr>
            <a:srgbClr val="FBAE40"/>
          </p15:clr>
        </p15:guide>
        <p15:guide id="10" orient="horz" pos="3860" userDrawn="1">
          <p15:clr>
            <a:srgbClr val="FBAE40"/>
          </p15:clr>
        </p15:guide>
        <p15:guide id="11" pos="3345" userDrawn="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02415" y="2413004"/>
            <a:ext cx="510777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5946321" y="2287751"/>
            <a:ext cx="2173743" cy="3808244"/>
          </a:xfrm>
          <a:prstGeom prst="rect">
            <a:avLst/>
          </a:prstGeom>
        </p:spPr>
        <p:txBody>
          <a:bodyPr>
            <a:noAutofit/>
          </a:bodyPr>
          <a:lstStyle>
            <a:lvl1pPr marL="107154" indent="-107154">
              <a:buFont typeface="Courier New" panose="02070309020205020404" pitchFamily="49" charset="0"/>
              <a:buChar char="o"/>
              <a:defRPr sz="75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5946323" y="1857875"/>
            <a:ext cx="3232208" cy="279676"/>
          </a:xfrm>
          <a:prstGeom prst="rect">
            <a:avLst/>
          </a:prstGeom>
        </p:spPr>
        <p:txBody>
          <a:bodyPr>
            <a:noAutofit/>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285750" y="1747779"/>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31323" y="1857875"/>
            <a:ext cx="3232208" cy="279676"/>
          </a:xfrm>
          <a:prstGeom prst="rect">
            <a:avLst/>
          </a:prstGeom>
        </p:spPr>
        <p:txBody>
          <a:bodyPr>
            <a:noAutofit/>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729730139"/>
      </p:ext>
    </p:extLst>
  </p:cSld>
  <p:clrMapOvr>
    <a:masterClrMapping/>
  </p:clrMapOvr>
  <p:extLst>
    <p:ext uri="{DCECCB84-F9BA-43D5-87BE-67443E8EF086}">
      <p15:sldGuideLst xmlns:p15="http://schemas.microsoft.com/office/powerpoint/2012/main">
        <p15:guide id="1" orient="horz" pos="1100" userDrawn="1">
          <p15:clr>
            <a:srgbClr val="FBAE40"/>
          </p15:clr>
        </p15:guide>
        <p15:guide id="2" orient="horz" pos="1200" userDrawn="1">
          <p15:clr>
            <a:srgbClr val="FBAE40"/>
          </p15:clr>
        </p15:guide>
        <p15:guide id="6" orient="horz" pos="1880" userDrawn="1">
          <p15:clr>
            <a:srgbClr val="FBAE40"/>
          </p15:clr>
        </p15:guide>
        <p15:guide id="7" orient="horz" pos="2360" userDrawn="1">
          <p15:clr>
            <a:srgbClr val="FBAE40"/>
          </p15:clr>
        </p15:guide>
        <p15:guide id="8" orient="horz" pos="2680" userDrawn="1">
          <p15:clr>
            <a:srgbClr val="FBAE40"/>
          </p15:clr>
        </p15:guide>
        <p15:guide id="9" orient="horz" pos="3040" userDrawn="1">
          <p15:clr>
            <a:srgbClr val="FBAE40"/>
          </p15:clr>
        </p15:guide>
        <p15:guide id="11" pos="3345" userDrawn="1">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6548438" y="4000500"/>
            <a:ext cx="0" cy="20002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4514634" y="2283270"/>
            <a:ext cx="4257777" cy="1174311"/>
          </a:xfrm>
          <a:prstGeom prst="rect">
            <a:avLst/>
          </a:prstGeom>
        </p:spPr>
        <p:txBody>
          <a:bodyPr>
            <a:noAutofit/>
          </a:bodyPr>
          <a:lstStyle>
            <a:lvl1pPr marL="0" indent="0">
              <a:buNone/>
              <a:defRPr sz="625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6750527" y="4631611"/>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4620238" y="3810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4559976" y="39532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4543425" y="4631611"/>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202416" y="2413004"/>
            <a:ext cx="4311106"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4564063" y="1857875"/>
            <a:ext cx="3232208" cy="279676"/>
          </a:xfrm>
          <a:prstGeom prst="rect">
            <a:avLst/>
          </a:prstGeom>
        </p:spPr>
        <p:txBody>
          <a:bodyPr>
            <a:noAutofit/>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285750" y="1747779"/>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231323" y="1857875"/>
            <a:ext cx="3232208" cy="279676"/>
          </a:xfrm>
          <a:prstGeom prst="rect">
            <a:avLst/>
          </a:prstGeom>
        </p:spPr>
        <p:txBody>
          <a:bodyPr>
            <a:noAutofit/>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6782476" y="39532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374644611"/>
      </p:ext>
    </p:extLst>
  </p:cSld>
  <p:clrMapOvr>
    <a:masterClrMapping/>
  </p:clrMapOvr>
  <p:extLst>
    <p:ext uri="{DCECCB84-F9BA-43D5-87BE-67443E8EF086}">
      <p15:sldGuideLst xmlns:p15="http://schemas.microsoft.com/office/powerpoint/2012/main">
        <p15:guide id="3" orient="horz" pos="2400" userDrawn="1">
          <p15:clr>
            <a:srgbClr val="FBAE40"/>
          </p15:clr>
        </p15:guide>
        <p15:guide id="4" orient="horz" pos="2520" userDrawn="1">
          <p15:clr>
            <a:srgbClr val="FBAE40"/>
          </p15:clr>
        </p15:guide>
        <p15:guide id="5" orient="horz" pos="3780" userDrawn="1">
          <p15:clr>
            <a:srgbClr val="FBAE40"/>
          </p15:clr>
        </p15:guide>
        <p15:guide id="8" orient="horz" pos="1200" userDrawn="1">
          <p15:clr>
            <a:srgbClr val="FBAE40"/>
          </p15:clr>
        </p15:guide>
        <p15:guide id="9" orient="horz" pos="1560" userDrawn="1">
          <p15:clr>
            <a:srgbClr val="FBAE40"/>
          </p15:clr>
        </p15:guide>
        <p15:guide id="11" orient="horz" pos="3000" userDrawn="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285750" y="1778000"/>
            <a:ext cx="392906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4905375" y="1778000"/>
            <a:ext cx="395287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235111" y="1857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4848667" y="1857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285750" y="2413004"/>
            <a:ext cx="392906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4921250" y="2413004"/>
            <a:ext cx="392906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2431583903"/>
      </p:ext>
    </p:extLst>
  </p:cSld>
  <p:clrMapOvr>
    <a:masterClrMapping/>
  </p:clrMapOvr>
  <p:extLst>
    <p:ext uri="{DCECCB84-F9BA-43D5-87BE-67443E8EF086}">
      <p15:sldGuideLst xmlns:p15="http://schemas.microsoft.com/office/powerpoint/2012/main">
        <p15:guide id="1" pos="2655" userDrawn="1">
          <p15:clr>
            <a:srgbClr val="FBAE40"/>
          </p15:clr>
        </p15:guide>
        <p15:guide id="3" orient="horz" pos="1120" userDrawn="1">
          <p15:clr>
            <a:srgbClr val="FBAE40"/>
          </p15:clr>
        </p15:guide>
        <p15:guide id="4" orient="horz" pos="1200" userDrawn="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285750" y="2103834"/>
            <a:ext cx="4033938" cy="176784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4614520" y="2103836"/>
            <a:ext cx="4332882" cy="3992166"/>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285750" y="4000524"/>
            <a:ext cx="4167188"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285751" y="1778000"/>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4620238" y="1778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4615539" y="18542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234039" y="18542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285750" y="4326334"/>
            <a:ext cx="4033938" cy="176784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234039" y="40767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851879954"/>
      </p:ext>
    </p:extLst>
  </p:cSld>
  <p:clrMapOvr>
    <a:masterClrMapping/>
  </p:clrMapOvr>
  <p:extLst>
    <p:ext uri="{DCECCB84-F9BA-43D5-87BE-67443E8EF086}">
      <p15:sldGuideLst xmlns:p15="http://schemas.microsoft.com/office/powerpoint/2012/main">
        <p15:guide id="1" orient="horz" pos="1120" userDrawn="1">
          <p15:clr>
            <a:srgbClr val="FBAE40"/>
          </p15:clr>
        </p15:guide>
        <p15:guide id="2" orient="horz" pos="2460" userDrawn="1">
          <p15:clr>
            <a:srgbClr val="FBAE40"/>
          </p15:clr>
        </p15:guide>
        <p15:guide id="3" orient="horz" pos="1320" userDrawn="1">
          <p15:clr>
            <a:srgbClr val="FBAE40"/>
          </p15:clr>
        </p15:guide>
        <p15:guide id="4" orient="horz" pos="2720" userDrawn="1">
          <p15:clr>
            <a:srgbClr val="FBAE40"/>
          </p15:clr>
        </p15:guide>
        <p15:guide id="5" pos="2715" userDrawn="1">
          <p15:clr>
            <a:srgbClr val="FBAE40"/>
          </p15:clr>
        </p15:guide>
        <p15:guide id="7" pos="5640" userDrawn="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285750" y="1333500"/>
            <a:ext cx="8239125" cy="479425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476919106"/>
      </p:ext>
    </p:extLst>
  </p:cSld>
  <p:clrMapOvr>
    <a:masterClrMapping/>
  </p:clrMapOvr>
  <p:extLst>
    <p:ext uri="{DCECCB84-F9BA-43D5-87BE-67443E8EF086}">
      <p15:sldGuideLst xmlns:p15="http://schemas.microsoft.com/office/powerpoint/2012/main">
        <p15:guide id="1" orient="horz" pos="1220" userDrawn="1">
          <p15:clr>
            <a:srgbClr val="FBAE40"/>
          </p15:clr>
        </p15:guide>
        <p15:guide id="2" orient="horz" pos="840" userDrawn="1">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23250" y="1905000"/>
            <a:ext cx="8572500" cy="384175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8504610" y="6343898"/>
            <a:ext cx="326703" cy="133102"/>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5515549"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513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3336223822"/>
      </p:ext>
    </p:extLst>
  </p:cSld>
  <p:clrMapOvr>
    <a:masterClrMapping/>
  </p:clrMapOvr>
  <p:extLst>
    <p:ext uri="{DCECCB84-F9BA-43D5-87BE-67443E8EF086}">
      <p15:sldGuideLst xmlns:p15="http://schemas.microsoft.com/office/powerpoint/2012/main">
        <p15:guide id="1" pos="5730" userDrawn="1">
          <p15:clr>
            <a:srgbClr val="FBAE40"/>
          </p15:clr>
        </p15:guide>
        <p15:guide id="2" orient="horz" pos="1200" userDrawn="1">
          <p15:clr>
            <a:srgbClr val="FBAE40"/>
          </p15:clr>
        </p15:guide>
        <p15:guide id="3" orient="horz" pos="3620" userDrawn="1">
          <p15:clr>
            <a:srgbClr val="FBAE40"/>
          </p15:clr>
        </p15:guide>
        <p15:guide id="4" pos="568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5" y="1905000"/>
            <a:ext cx="2283714" cy="4191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2280309" y="1904998"/>
            <a:ext cx="2283714" cy="41910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4560611" y="1904998"/>
            <a:ext cx="2283714" cy="41910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6848012" y="1904998"/>
            <a:ext cx="2298334" cy="41910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2280303" y="1838882"/>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4554562" y="1818288"/>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6844320" y="1828585"/>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8490392" y="6358795"/>
            <a:ext cx="325185" cy="21396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5431230"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228041" y="333737"/>
            <a:ext cx="3629586"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04573" y="3058636"/>
            <a:ext cx="194188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287401"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2526773" y="3048053"/>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4812773" y="3048053"/>
            <a:ext cx="1847926" cy="727080"/>
          </a:xfrm>
          <a:prstGeom prst="rect">
            <a:avLst/>
          </a:prstGeom>
        </p:spPr>
        <p:txBody>
          <a:bodyPr/>
          <a:lstStyle>
            <a:lvl1pPr marL="0" indent="0">
              <a:lnSpc>
                <a:spcPts val="750"/>
              </a:lnSpc>
              <a:buNone/>
              <a:defRPr sz="1125" b="1" i="0">
                <a:solidFill>
                  <a:srgbClr val="0025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7098773" y="3048053"/>
            <a:ext cx="1847926" cy="727080"/>
          </a:xfrm>
          <a:prstGeom prst="rect">
            <a:avLst/>
          </a:prstGeom>
        </p:spPr>
        <p:txBody>
          <a:bodyPr/>
          <a:lstStyle>
            <a:lvl1pPr marL="0" indent="0">
              <a:lnSpc>
                <a:spcPts val="750"/>
              </a:lnSpc>
              <a:buNone/>
              <a:defRPr sz="1125" b="1" i="0">
                <a:solidFill>
                  <a:srgbClr val="0025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2494861" y="2059218"/>
            <a:ext cx="825624" cy="825498"/>
          </a:xfrm>
          <a:prstGeom prst="rect">
            <a:avLst/>
          </a:prstGeom>
        </p:spPr>
        <p:txBody>
          <a:bodyPr/>
          <a:lstStyle>
            <a:lvl1pPr marL="0" indent="0" algn="l">
              <a:buNone/>
              <a:defRPr sz="4688"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4780861" y="2059218"/>
            <a:ext cx="825624" cy="825498"/>
          </a:xfrm>
          <a:prstGeom prst="rect">
            <a:avLst/>
          </a:prstGeom>
        </p:spPr>
        <p:txBody>
          <a:bodyPr/>
          <a:lstStyle>
            <a:lvl1pPr marL="0" indent="0" algn="l">
              <a:buNone/>
              <a:defRPr sz="4688"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7066861" y="2059218"/>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23450689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076271" y="1291167"/>
            <a:ext cx="6939279" cy="520446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845013" y="3186404"/>
            <a:ext cx="1111178" cy="365125"/>
          </a:xfrm>
          <a:prstGeom prst="rect">
            <a:avLst/>
          </a:prstGeom>
        </p:spPr>
        <p:txBody>
          <a:bodyPr anchor="ctr">
            <a:normAutofit/>
          </a:bodyPr>
          <a:lstStyle>
            <a:lvl1pPr marL="0" indent="0" algn="l">
              <a:buNone/>
              <a:defRPr sz="1125"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630836" y="3186404"/>
            <a:ext cx="279287" cy="365125"/>
          </a:xfrm>
          <a:prstGeom prst="rect">
            <a:avLst/>
          </a:prstGeom>
        </p:spPr>
        <p:txBody>
          <a:bodyPr anchor="ctr">
            <a:normAutofit/>
          </a:bodyPr>
          <a:lstStyle>
            <a:lvl1pPr marL="0" indent="0" algn="r">
              <a:buNone/>
              <a:defRPr sz="1125"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820165" y="4935881"/>
            <a:ext cx="1111178" cy="365125"/>
          </a:xfrm>
          <a:prstGeom prst="rect">
            <a:avLst/>
          </a:prstGeom>
        </p:spPr>
        <p:txBody>
          <a:bodyPr anchor="ctr">
            <a:normAutofit/>
          </a:bodyPr>
          <a:lstStyle>
            <a:lvl1pPr marL="0" indent="0" algn="l">
              <a:buNone/>
              <a:defRPr sz="1125"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605988" y="4935881"/>
            <a:ext cx="279287" cy="365125"/>
          </a:xfrm>
          <a:prstGeom prst="rect">
            <a:avLst/>
          </a:prstGeom>
        </p:spPr>
        <p:txBody>
          <a:bodyPr anchor="ctr">
            <a:normAutofit/>
          </a:bodyPr>
          <a:lstStyle>
            <a:lvl1pPr marL="0" indent="0" algn="r">
              <a:buNone/>
              <a:defRPr sz="1125"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7819320" y="3552667"/>
            <a:ext cx="1111178" cy="365125"/>
          </a:xfrm>
          <a:prstGeom prst="rect">
            <a:avLst/>
          </a:prstGeom>
        </p:spPr>
        <p:txBody>
          <a:bodyPr anchor="ctr">
            <a:normAutofit/>
          </a:bodyPr>
          <a:lstStyle>
            <a:lvl1pPr marL="0" indent="0" algn="l">
              <a:buNone/>
              <a:defRPr sz="1125"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7605143" y="3552667"/>
            <a:ext cx="279287" cy="365125"/>
          </a:xfrm>
          <a:prstGeom prst="rect">
            <a:avLst/>
          </a:prstGeom>
        </p:spPr>
        <p:txBody>
          <a:bodyPr anchor="ctr">
            <a:normAutofit/>
          </a:bodyPr>
          <a:lstStyle>
            <a:lvl1pPr marL="0" indent="0" algn="r">
              <a:buNone/>
              <a:defRPr sz="1125"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7822745" y="4921207"/>
            <a:ext cx="1111178" cy="365125"/>
          </a:xfrm>
          <a:prstGeom prst="rect">
            <a:avLst/>
          </a:prstGeom>
        </p:spPr>
        <p:txBody>
          <a:bodyPr anchor="ctr">
            <a:normAutofit/>
          </a:bodyPr>
          <a:lstStyle>
            <a:lvl1pPr marL="0" indent="0" algn="l">
              <a:buNone/>
              <a:defRPr sz="1125"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7608568" y="4921207"/>
            <a:ext cx="279287" cy="365125"/>
          </a:xfrm>
          <a:prstGeom prst="rect">
            <a:avLst/>
          </a:prstGeom>
        </p:spPr>
        <p:txBody>
          <a:bodyPr anchor="ctr">
            <a:normAutofit/>
          </a:bodyPr>
          <a:lstStyle>
            <a:lvl1pPr marL="0" indent="0" algn="r">
              <a:buNone/>
              <a:defRPr sz="1125"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46811371"/>
      </p:ext>
    </p:extLst>
  </p:cSld>
  <p:clrMapOvr>
    <a:masterClrMapping/>
  </p:clrMapOvr>
  <p:extLst>
    <p:ext uri="{DCECCB84-F9BA-43D5-87BE-67443E8EF086}">
      <p15:sldGuideLst xmlns:p15="http://schemas.microsoft.com/office/powerpoint/2012/main">
        <p15:guide id="3" orient="horz" pos="2243" userDrawn="1">
          <p15:clr>
            <a:srgbClr val="FBAE40"/>
          </p15:clr>
        </p15:guide>
        <p15:guide id="5" pos="1350" userDrawn="1">
          <p15:clr>
            <a:srgbClr val="FBAE40"/>
          </p15:clr>
        </p15:guide>
        <p15:guide id="6" orient="horz" pos="860" userDrawn="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805816" y="1208536"/>
            <a:ext cx="7298055" cy="547354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8682909" y="6343906"/>
            <a:ext cx="231295" cy="145566"/>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5591566" y="6346332"/>
            <a:ext cx="3086100" cy="182432"/>
          </a:xfrm>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422425" y="3214688"/>
            <a:ext cx="1111178" cy="365125"/>
          </a:xfrm>
          <a:prstGeom prst="rect">
            <a:avLst/>
          </a:prstGeom>
        </p:spPr>
        <p:txBody>
          <a:bodyPr anchor="ctr">
            <a:normAutofit/>
          </a:bodyPr>
          <a:lstStyle>
            <a:lvl1pPr>
              <a:defRPr lang="en-US" sz="1125"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47011" y="3214688"/>
            <a:ext cx="446117" cy="365125"/>
          </a:xfrm>
          <a:prstGeom prst="rect">
            <a:avLst/>
          </a:prstGeom>
        </p:spPr>
        <p:txBody>
          <a:bodyPr anchor="ctr">
            <a:normAutofit/>
          </a:bodyPr>
          <a:lstStyle>
            <a:lvl1pPr marL="0" indent="0" algn="r">
              <a:buNone/>
              <a:defRPr sz="1125"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009800" y="5045604"/>
            <a:ext cx="1111178" cy="365125"/>
          </a:xfrm>
          <a:prstGeom prst="rect">
            <a:avLst/>
          </a:prstGeom>
        </p:spPr>
        <p:txBody>
          <a:bodyPr anchor="ctr">
            <a:normAutofit/>
          </a:bodyPr>
          <a:lstStyle>
            <a:lvl1pPr marL="0" indent="0" algn="l">
              <a:buNone/>
              <a:defRPr sz="1125"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634386" y="5045604"/>
            <a:ext cx="446117" cy="365125"/>
          </a:xfrm>
          <a:prstGeom prst="rect">
            <a:avLst/>
          </a:prstGeom>
        </p:spPr>
        <p:txBody>
          <a:bodyPr anchor="ctr">
            <a:normAutofit/>
          </a:bodyPr>
          <a:lstStyle>
            <a:lvl1pPr marL="0" indent="0" algn="r">
              <a:buNone/>
              <a:defRPr sz="1125"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7779117" y="4960938"/>
            <a:ext cx="1111178" cy="365125"/>
          </a:xfrm>
          <a:prstGeom prst="rect">
            <a:avLst/>
          </a:prstGeom>
        </p:spPr>
        <p:txBody>
          <a:bodyPr anchor="ctr">
            <a:normAutofit/>
          </a:bodyPr>
          <a:lstStyle>
            <a:lvl1pPr marL="0" indent="0" algn="l">
              <a:buNone/>
              <a:defRPr sz="1125"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7403703" y="4960938"/>
            <a:ext cx="446117" cy="365125"/>
          </a:xfrm>
          <a:prstGeom prst="rect">
            <a:avLst/>
          </a:prstGeom>
        </p:spPr>
        <p:txBody>
          <a:bodyPr anchor="ctr">
            <a:normAutofit/>
          </a:bodyPr>
          <a:lstStyle>
            <a:lvl1pPr marL="0" indent="0" algn="r">
              <a:buNone/>
              <a:defRPr sz="1125"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7625482" y="3574521"/>
            <a:ext cx="1111178" cy="365125"/>
          </a:xfrm>
          <a:prstGeom prst="rect">
            <a:avLst/>
          </a:prstGeom>
        </p:spPr>
        <p:txBody>
          <a:bodyPr anchor="ctr">
            <a:normAutofit/>
          </a:bodyPr>
          <a:lstStyle>
            <a:lvl1pPr marL="0" indent="0" algn="l">
              <a:buNone/>
              <a:defRPr sz="1125"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7250068" y="3574521"/>
            <a:ext cx="446117" cy="365125"/>
          </a:xfrm>
          <a:prstGeom prst="rect">
            <a:avLst/>
          </a:prstGeom>
        </p:spPr>
        <p:txBody>
          <a:bodyPr anchor="ctr">
            <a:normAutofit/>
          </a:bodyPr>
          <a:lstStyle>
            <a:lvl1pPr marL="0" indent="0" algn="r">
              <a:buNone/>
              <a:defRPr sz="1125"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1173059427"/>
      </p:ext>
    </p:extLst>
  </p:cSld>
  <p:clrMapOvr>
    <a:masterClrMapping/>
  </p:clrMapOvr>
  <p:extLst>
    <p:ext uri="{DCECCB84-F9BA-43D5-87BE-67443E8EF086}">
      <p15:sldGuideLst xmlns:p15="http://schemas.microsoft.com/office/powerpoint/2012/main">
        <p15:guide id="2" orient="horz" pos="1060" userDrawn="1">
          <p15:clr>
            <a:srgbClr val="FBAE40"/>
          </p15:clr>
        </p15:guide>
        <p15:guide id="3" orient="horz" pos="2160" userDrawn="1">
          <p15:clr>
            <a:srgbClr val="FBAE40"/>
          </p15:clr>
        </p15:guide>
        <p15:guide id="4" orient="horz" pos="3240" userDrawn="1">
          <p15:clr>
            <a:srgbClr val="FBAE40"/>
          </p15:clr>
        </p15:guide>
        <p15:guide id="5" pos="705" userDrawn="1">
          <p15:clr>
            <a:srgbClr val="FBAE40"/>
          </p15:clr>
        </p15:guide>
        <p15:guide id="6" pos="4815" userDrawn="1">
          <p15:clr>
            <a:srgbClr val="FBAE40"/>
          </p15:clr>
        </p15:guide>
        <p15:guide id="7" orient="horz" pos="2360"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433024" y="419100"/>
            <a:ext cx="1978683" cy="254382"/>
          </a:xfrm>
          <a:prstGeom prst="rect">
            <a:avLst/>
          </a:prstGeom>
        </p:spPr>
        <p:txBody>
          <a:bodyPr anchor="b">
            <a:noAutofit/>
          </a:bodyPr>
          <a:lstStyle>
            <a:lvl1pPr algn="l">
              <a:defRPr sz="10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419100" y="1062708"/>
            <a:ext cx="3503900" cy="589400"/>
          </a:xfrm>
          <a:prstGeom prst="rect">
            <a:avLst/>
          </a:prstGeom>
        </p:spPr>
        <p:txBody>
          <a:bodyPr anchor="ctr" anchorCtr="0">
            <a:noAutofit/>
          </a:bodyPr>
          <a:lstStyle>
            <a:lvl1pPr marL="0" indent="0" algn="l">
              <a:buNone/>
              <a:defRPr sz="3438" b="1" i="0">
                <a:solidFill>
                  <a:srgbClr val="FFFFFF"/>
                </a:solidFill>
                <a:latin typeface="IBM Eliot Sans Medium" panose="020B07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419102" y="1755246"/>
            <a:ext cx="3503899" cy="1673756"/>
          </a:xfrm>
          <a:prstGeom prst="rect">
            <a:avLst/>
          </a:prstGeom>
        </p:spPr>
        <p:txBody>
          <a:bodyPr/>
          <a:lstStyle>
            <a:lvl1pPr marL="0" indent="0">
              <a:buNone/>
              <a:defRPr sz="3438"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175428411"/>
      </p:ext>
    </p:extLst>
  </p:cSld>
  <p:clrMapOvr>
    <a:masterClrMapping/>
  </p:clrMapOvr>
  <p:extLst>
    <p:ext uri="{DCECCB84-F9BA-43D5-87BE-67443E8EF086}">
      <p15:sldGuideLst xmlns:p15="http://schemas.microsoft.com/office/powerpoint/2012/main">
        <p15:guide id="1" orient="horz" pos="294"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8575432" y="6364523"/>
            <a:ext cx="338382"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5591174" y="6360082"/>
            <a:ext cx="2954949"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285750" y="2452466"/>
            <a:ext cx="8522494" cy="1898069"/>
          </a:xfrm>
          <a:prstGeom prst="rect">
            <a:avLst/>
          </a:prstGeom>
        </p:spPr>
        <p:txBody>
          <a:bodyPr anchor="ctr" anchorCtr="0"/>
          <a:lstStyle>
            <a:lvl1pPr>
              <a:defRPr lang="en-US" sz="5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2218892967"/>
      </p:ext>
    </p:extLst>
  </p:cSld>
  <p:clrMapOvr>
    <a:masterClrMapping/>
  </p:clrMapOvr>
  <p:extLst>
    <p:ext uri="{DCECCB84-F9BA-43D5-87BE-67443E8EF086}">
      <p15:sldGuideLst xmlns:p15="http://schemas.microsoft.com/office/powerpoint/2012/main">
        <p15:guide id="1" orient="horz" pos="1980" userDrawn="1">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8597289" y="6357648"/>
            <a:ext cx="342260"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5527534" y="6360082"/>
            <a:ext cx="2980379"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pic>
        <p:nvPicPr>
          <p:cNvPr id="8" name="Picture 7">
            <a:extLst>
              <a:ext uri="{FF2B5EF4-FFF2-40B4-BE49-F238E27FC236}">
                <a16:creationId xmlns:a16="http://schemas.microsoft.com/office/drawing/2014/main" id="{EE1680EB-987A-074E-81D3-A936A2DC49A0}"/>
              </a:ext>
            </a:extLst>
          </p:cNvPr>
          <p:cNvPicPr>
            <a:picLocks noChangeAspect="1"/>
          </p:cNvPicPr>
          <p:nvPr userDrawn="1"/>
        </p:nvPicPr>
        <p:blipFill>
          <a:blip r:embed="rId2"/>
          <a:stretch>
            <a:fillRect/>
          </a:stretch>
        </p:blipFill>
        <p:spPr>
          <a:xfrm>
            <a:off x="3150572" y="2487123"/>
            <a:ext cx="2818428" cy="1636254"/>
          </a:xfrm>
          <a:prstGeom prst="rect">
            <a:avLst/>
          </a:prstGeom>
        </p:spPr>
      </p:pic>
    </p:spTree>
    <p:extLst>
      <p:ext uri="{BB962C8B-B14F-4D97-AF65-F5344CB8AC3E}">
        <p14:creationId xmlns:p14="http://schemas.microsoft.com/office/powerpoint/2010/main" val="412576360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285751" y="4939220"/>
            <a:ext cx="8572499" cy="1291040"/>
          </a:xfrm>
          <a:prstGeom prst="rect">
            <a:avLst/>
          </a:prstGeom>
        </p:spPr>
        <p:txBody>
          <a:bodyPr anchor="ctr" anchorCtr="0"/>
          <a:lstStyle>
            <a:lvl1pPr>
              <a:defRPr lang="en-US" sz="3375"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2603285501"/>
      </p:ext>
    </p:extLst>
  </p:cSld>
  <p:clrMapOvr>
    <a:masterClrMapping/>
  </p:clrMapOvr>
  <p:extLst>
    <p:ext uri="{DCECCB84-F9BA-43D5-87BE-67443E8EF086}">
      <p15:sldGuideLst xmlns:p15="http://schemas.microsoft.com/office/powerpoint/2012/main">
        <p15:guide id="1" orient="horz" pos="4320" userDrawn="1">
          <p15:clr>
            <a:srgbClr val="FBAE40"/>
          </p15:clr>
        </p15:guide>
        <p15:guide id="2" orient="horz" userDrawn="1">
          <p15:clr>
            <a:srgbClr val="FBAE40"/>
          </p15:clr>
        </p15:guide>
        <p15:guide id="3" userDrawn="1">
          <p15:clr>
            <a:srgbClr val="FBAE40"/>
          </p15:clr>
        </p15:guide>
        <p15:guide id="4" pos="5760"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348524" y="380213"/>
            <a:ext cx="1978683" cy="254382"/>
          </a:xfrm>
          <a:prstGeom prst="rect">
            <a:avLst/>
          </a:prstGeom>
        </p:spPr>
        <p:txBody>
          <a:bodyPr anchor="b">
            <a:noAutofit/>
          </a:bodyPr>
          <a:lstStyle>
            <a:lvl1pPr algn="l">
              <a:defRPr sz="10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334600" y="1042083"/>
            <a:ext cx="3503900" cy="589400"/>
          </a:xfrm>
          <a:prstGeom prst="rect">
            <a:avLst/>
          </a:prstGeom>
        </p:spPr>
        <p:txBody>
          <a:bodyPr anchor="ctr" anchorCtr="0">
            <a:noAutofit/>
          </a:bodyPr>
          <a:lstStyle>
            <a:lvl1pPr marL="0" indent="0" algn="l">
              <a:buNone/>
              <a:defRPr sz="3438" b="1" i="0">
                <a:solidFill>
                  <a:srgbClr val="002677"/>
                </a:solidFill>
                <a:latin typeface="IBM Eliot Sans" panose="020B05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334602" y="1734621"/>
            <a:ext cx="3503899" cy="1673756"/>
          </a:xfrm>
          <a:prstGeom prst="rect">
            <a:avLst/>
          </a:prstGeom>
        </p:spPr>
        <p:txBody>
          <a:bodyPr/>
          <a:lstStyle>
            <a:lvl1pPr marL="0" indent="0">
              <a:buNone/>
              <a:defRPr sz="3438"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8573359" y="6352673"/>
            <a:ext cx="361079" cy="226881"/>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5577424" y="6365159"/>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686185271"/>
      </p:ext>
    </p:extLst>
  </p:cSld>
  <p:clrMapOvr>
    <a:masterClrMapping/>
  </p:clrMapOvr>
  <p:extLst>
    <p:ext uri="{DCECCB84-F9BA-43D5-87BE-67443E8EF086}">
      <p15:sldGuideLst xmlns:p15="http://schemas.microsoft.com/office/powerpoint/2012/main">
        <p15:guide id="1" orient="horz" pos="294" userDrawn="1">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Section Title_WT_02">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217725" y="230810"/>
            <a:ext cx="4856163" cy="589400"/>
          </a:xfrm>
          <a:prstGeom prst="rect">
            <a:avLst/>
          </a:prstGeom>
        </p:spPr>
        <p:txBody>
          <a:bodyPr anchor="ctr" anchorCtr="0">
            <a:noAutofit/>
          </a:bodyPr>
          <a:lstStyle>
            <a:lvl1pPr marL="115888" indent="0" algn="l">
              <a:buNone/>
              <a:tabLst/>
              <a:defRPr sz="2400" b="1" i="0">
                <a:solidFill>
                  <a:srgbClr val="002677"/>
                </a:solidFill>
                <a:latin typeface="IBM Eliot Sans" panose="020B05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Title of Slide goes here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217726" y="813344"/>
            <a:ext cx="3503899" cy="1673756"/>
          </a:xfrm>
          <a:prstGeom prst="rect">
            <a:avLst/>
          </a:prstGeom>
        </p:spPr>
        <p:txBody>
          <a:bodyPr/>
          <a:lstStyle>
            <a:lvl1pPr marL="115888" indent="0">
              <a:buNone/>
              <a:tabLst/>
              <a:defRPr sz="1600" b="0" i="0">
                <a:solidFill>
                  <a:srgbClr val="3369FF"/>
                </a:solidFill>
                <a:latin typeface="IBM Eliot Sans Medium" panose="020B0703050000000000" pitchFamily="34" charset="0"/>
              </a:defRPr>
            </a:lvl1pPr>
          </a:lstStyle>
          <a:p>
            <a:pPr lvl="0"/>
            <a:r>
              <a:rPr lang="en-US" dirty="0"/>
              <a:t>Subtitle goes in this area</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8573359" y="6352673"/>
            <a:ext cx="361079" cy="226881"/>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5577424" y="6365159"/>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445725775"/>
      </p:ext>
    </p:extLst>
  </p:cSld>
  <p:clrMapOvr>
    <a:masterClrMapping/>
  </p:clrMapOvr>
  <p:extLst>
    <p:ext uri="{DCECCB84-F9BA-43D5-87BE-67443E8EF086}">
      <p15:sldGuideLst xmlns:p15="http://schemas.microsoft.com/office/powerpoint/2012/main">
        <p15:guide id="1" orient="horz" pos="288" userDrawn="1">
          <p15:clr>
            <a:srgbClr val="FBAE40"/>
          </p15:clr>
        </p15:guide>
        <p15:guide id="2" orient="horz" pos="648" userDrawn="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401006" y="65048"/>
            <a:ext cx="1527372" cy="1905000"/>
          </a:xfrm>
          <a:prstGeom prst="rect">
            <a:avLst/>
          </a:prstGeom>
        </p:spPr>
        <p:txBody>
          <a:bodyPr anchor="b">
            <a:normAutofit/>
          </a:bodyPr>
          <a:lstStyle>
            <a:lvl1pPr algn="l">
              <a:defRPr sz="9375"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66158" y="2211660"/>
            <a:ext cx="3506718" cy="2233341"/>
          </a:xfrm>
          <a:prstGeom prst="rect">
            <a:avLst/>
          </a:prstGeom>
        </p:spPr>
        <p:txBody>
          <a:bodyPr>
            <a:noAutofit/>
          </a:bodyPr>
          <a:lstStyle>
            <a:lvl1pPr marL="0" indent="0" algn="l">
              <a:buNone/>
              <a:defRPr sz="3438" b="1" i="0">
                <a:solidFill>
                  <a:srgbClr val="002677"/>
                </a:solidFill>
                <a:latin typeface="IBM Eliot Sans" panose="020B05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8532109" y="6343898"/>
            <a:ext cx="338690" cy="133102"/>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548628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580088684"/>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4572000" y="0"/>
            <a:ext cx="4572000" cy="68580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224775" y="417849"/>
            <a:ext cx="3489976" cy="422711"/>
          </a:xfrm>
          <a:prstGeom prst="rect">
            <a:avLst/>
          </a:prstGeom>
        </p:spPr>
        <p:txBody>
          <a:bodyPr anchor="t">
            <a:noAutofit/>
          </a:bodyPr>
          <a:lstStyle>
            <a:lvl1pPr algn="l">
              <a:defRPr sz="10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210850" y="1062708"/>
            <a:ext cx="3503900" cy="589400"/>
          </a:xfrm>
          <a:prstGeom prst="rect">
            <a:avLst/>
          </a:prstGeom>
        </p:spPr>
        <p:txBody>
          <a:bodyPr>
            <a:noAutofit/>
          </a:bodyPr>
          <a:lstStyle>
            <a:lvl1pPr marL="0" indent="0" algn="l">
              <a:buNone/>
              <a:defRPr sz="3438" b="1" i="0">
                <a:solidFill>
                  <a:srgbClr val="002677"/>
                </a:solidFill>
                <a:latin typeface="IBM Eliot Sans Medium" panose="020B07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210853" y="1755246"/>
            <a:ext cx="3503898" cy="1673756"/>
          </a:xfrm>
          <a:prstGeom prst="rect">
            <a:avLst/>
          </a:prstGeom>
        </p:spPr>
        <p:txBody>
          <a:bodyPr/>
          <a:lstStyle>
            <a:lvl1pPr marL="0" indent="0">
              <a:buNone/>
              <a:defRPr sz="3438"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2295021549"/>
      </p:ext>
    </p:extLst>
  </p:cSld>
  <p:clrMapOvr>
    <a:masterClrMapping/>
  </p:clrMapOvr>
  <p:extLst>
    <p:ext uri="{DCECCB84-F9BA-43D5-87BE-67443E8EF086}">
      <p15:sldGuideLst xmlns:p15="http://schemas.microsoft.com/office/powerpoint/2012/main">
        <p15:guide id="1" orient="horz" pos="29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3108097" y="365044"/>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3447180" y="359195"/>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3447517" y="649557"/>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8527850" y="6360735"/>
            <a:ext cx="302746" cy="20274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5451856"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340241" y="333737"/>
            <a:ext cx="2730739"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3108097" y="1150670"/>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3447180" y="1144822"/>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3447517" y="1435184"/>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3108097" y="1912670"/>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3447180" y="1906821"/>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3447517" y="2197183"/>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3108097" y="2674670"/>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3447180" y="2668821"/>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3447517" y="2959183"/>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6018756" y="365044"/>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6357838" y="359195"/>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6358176" y="649557"/>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6018756" y="1150670"/>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6357838" y="1144822"/>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6358176" y="1435184"/>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6018756" y="1912670"/>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6357838" y="1906821"/>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6358176" y="2197183"/>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6018756" y="2674670"/>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6357838" y="2668821"/>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6358176" y="2959183"/>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Tree>
    <p:extLst>
      <p:ext uri="{BB962C8B-B14F-4D97-AF65-F5344CB8AC3E}">
        <p14:creationId xmlns:p14="http://schemas.microsoft.com/office/powerpoint/2010/main" val="2865760056"/>
      </p:ext>
    </p:extLst>
  </p:cSld>
  <p:clrMapOvr>
    <a:masterClrMapping/>
  </p:clrMapOvr>
  <p:extLst>
    <p:ext uri="{DCECCB84-F9BA-43D5-87BE-67443E8EF086}">
      <p15:sldGuideLst xmlns:p15="http://schemas.microsoft.com/office/powerpoint/2012/main">
        <p15:guide id="1" pos="2147"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60773" y="1840515"/>
            <a:ext cx="3945431" cy="1295173"/>
          </a:xfrm>
          <a:prstGeom prst="rect">
            <a:avLst/>
          </a:prstGeom>
        </p:spPr>
        <p:txBody>
          <a:bodyPr/>
          <a:lstStyle>
            <a:lvl1pPr marL="0" indent="0">
              <a:buNone/>
              <a:defRPr sz="2813"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8573360" y="6343906"/>
            <a:ext cx="340454" cy="133094"/>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5543049"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73845" y="3365500"/>
            <a:ext cx="3930702" cy="2349500"/>
          </a:xfrm>
          <a:prstGeom prst="rect">
            <a:avLst/>
          </a:prstGeom>
        </p:spPr>
        <p:txBody>
          <a:bodyPr/>
          <a:lstStyle>
            <a:lvl1pPr marL="0" indent="0">
              <a:lnSpc>
                <a:spcPts val="1250"/>
              </a:lnSpc>
              <a:spcBef>
                <a:spcPts val="0"/>
              </a:spcBef>
              <a:buNone/>
              <a:defRPr sz="1000" b="0" i="0" spc="7"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968733473"/>
      </p:ext>
    </p:extLst>
  </p:cSld>
  <p:clrMapOvr>
    <a:masterClrMapping/>
  </p:clrMapOvr>
  <p:extLst>
    <p:ext uri="{DCECCB84-F9BA-43D5-87BE-67443E8EF086}">
      <p15:sldGuideLst xmlns:p15="http://schemas.microsoft.com/office/powerpoint/2012/main">
        <p15:guide id="1" orient="horz" pos="2120" userDrawn="1">
          <p15:clr>
            <a:srgbClr val="FBAE40"/>
          </p15:clr>
        </p15:guide>
        <p15:guide id="2" orient="horz" pos="3600" userDrawn="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8689262" y="6346402"/>
            <a:ext cx="280210" cy="291340"/>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4572000" y="0"/>
            <a:ext cx="4572000" cy="6858000"/>
          </a:xfrm>
          <a:prstGeom prst="rect">
            <a:avLst/>
          </a:prstGeom>
          <a:solidFill>
            <a:schemeClr val="bg1">
              <a:lumMod val="95000"/>
            </a:schemeClr>
          </a:solidFill>
        </p:spPr>
        <p:txBody>
          <a:bodyPr anchor="ctr"/>
          <a:lstStyle>
            <a:lvl1pPr marL="0" indent="0" algn="ctr">
              <a:buNone/>
              <a:defRPr sz="10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280601455"/>
      </p:ext>
    </p:extLst>
  </p:cSld>
  <p:clrMapOvr>
    <a:masterClrMapping/>
  </p:clrMapOvr>
  <p:extLst>
    <p:ext uri="{DCECCB84-F9BA-43D5-87BE-67443E8EF086}">
      <p15:sldGuideLst xmlns:p15="http://schemas.microsoft.com/office/powerpoint/2012/main">
        <p15:guide id="1" pos="2616"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3856120"/>
            <a:ext cx="9144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226033" y="3058636"/>
            <a:ext cx="194188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3713663" y="1684420"/>
            <a:ext cx="0" cy="43434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6692429" y="1684420"/>
            <a:ext cx="0" cy="43434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228041" y="333737"/>
            <a:ext cx="3629586"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208861" y="2059218"/>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2526773" y="3048053"/>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4812773" y="3048053"/>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7098773" y="3048053"/>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2494861" y="2059218"/>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4780861" y="2059218"/>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7066861" y="2059218"/>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226033" y="5132969"/>
            <a:ext cx="194188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208861" y="4133551"/>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2526773" y="5122386"/>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4812773" y="5122386"/>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7098773" y="5122386"/>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2494861" y="4133551"/>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4780861" y="4133551"/>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7066861" y="4133551"/>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2728676467"/>
      </p:ext>
    </p:extLst>
  </p:cSld>
  <p:clrMapOvr>
    <a:masterClrMapping/>
  </p:clrMapOvr>
  <p:extLst>
    <p:ext uri="{DCECCB84-F9BA-43D5-87BE-67443E8EF086}">
      <p15:sldGuideLst xmlns:p15="http://schemas.microsoft.com/office/powerpoint/2012/main">
        <p15:guide id="1" pos="1635" userDrawn="1">
          <p15:clr>
            <a:srgbClr val="FBAE40"/>
          </p15:clr>
        </p15:guide>
        <p15:guide id="2" pos="3075" userDrawn="1">
          <p15:clr>
            <a:srgbClr val="FBAE40"/>
          </p15:clr>
        </p15:guide>
        <p15:guide id="3" pos="4515" userDrawn="1">
          <p15:clr>
            <a:srgbClr val="FBAE40"/>
          </p15:clr>
        </p15:guide>
        <p15:guide id="4" orient="horz" pos="2600" userDrawn="1">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1905000"/>
            <a:ext cx="9144000" cy="4191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000500"/>
            <a:ext cx="914732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2281807" y="1822962"/>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343663" y="3930319"/>
            <a:ext cx="415188" cy="777145"/>
          </a:xfrm>
          <a:prstGeom prst="rect">
            <a:avLst/>
          </a:prstGeom>
        </p:spPr>
        <p:txBody>
          <a:bodyPr vert="horz" lIns="68580" tIns="34290" rIns="68580" bIns="34290"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4876"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4570913" y="1808472"/>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6854615" y="1773483"/>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228040" y="333737"/>
            <a:ext cx="3629585"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226033" y="3058636"/>
            <a:ext cx="194188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208861"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2526773" y="3048053"/>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4812773" y="3048053"/>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7098773" y="3048053"/>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2494861"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4780861"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7066861"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226033" y="5132969"/>
            <a:ext cx="194188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208861" y="4133551"/>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2526773" y="5122386"/>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4812773" y="5122386"/>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7098773" y="5122386"/>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2494861" y="4133551"/>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4780861" y="4133551"/>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7066861" y="4133551"/>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6047349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6103619" y="1904998"/>
            <a:ext cx="3051810" cy="41910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3051809" y="1904998"/>
            <a:ext cx="3051810" cy="41910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1905000"/>
            <a:ext cx="3051810" cy="4191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3050068" y="1752600"/>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6103619" y="1829103"/>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8607735" y="6343906"/>
            <a:ext cx="340454" cy="133094"/>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5536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331166" y="333737"/>
            <a:ext cx="3629586"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318861"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3332224" y="2059218"/>
            <a:ext cx="825624" cy="825498"/>
          </a:xfrm>
          <a:prstGeom prst="rect">
            <a:avLst/>
          </a:prstGeom>
        </p:spPr>
        <p:txBody>
          <a:bodyPr/>
          <a:lstStyle>
            <a:lvl1pPr marL="0" indent="0" algn="l">
              <a:buNone/>
              <a:defRPr sz="4688"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6380224" y="2059218"/>
            <a:ext cx="825624" cy="825498"/>
          </a:xfrm>
          <a:prstGeom prst="rect">
            <a:avLst/>
          </a:prstGeom>
        </p:spPr>
        <p:txBody>
          <a:bodyPr/>
          <a:lstStyle>
            <a:lvl1pPr marL="0" indent="0" algn="l">
              <a:buNone/>
              <a:defRPr sz="4688"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336031" y="3058636"/>
            <a:ext cx="2612522"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3336406" y="3058636"/>
            <a:ext cx="2612522"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6375748" y="3058636"/>
            <a:ext cx="2612522" cy="727080"/>
          </a:xfrm>
          <a:prstGeom prst="rect">
            <a:avLst/>
          </a:prstGeom>
        </p:spPr>
        <p:txBody>
          <a:bodyPr/>
          <a:lstStyle>
            <a:lvl1pPr marL="0" indent="0">
              <a:lnSpc>
                <a:spcPts val="750"/>
              </a:lnSpc>
              <a:buNone/>
              <a:defRPr sz="1125" b="1" i="0">
                <a:solidFill>
                  <a:srgbClr val="0025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2689757963"/>
      </p:ext>
    </p:extLst>
  </p:cSld>
  <p:clrMapOvr>
    <a:masterClrMapping/>
  </p:clrMapOvr>
  <p:extLst>
    <p:ext uri="{DCECCB84-F9BA-43D5-87BE-67443E8EF086}">
      <p15:sldGuideLst xmlns:p15="http://schemas.microsoft.com/office/powerpoint/2012/main">
        <p15:guide id="1" orient="horz" pos="3835" userDrawn="1">
          <p15:clr>
            <a:srgbClr val="FBAE40"/>
          </p15:clr>
        </p15:guide>
        <p15:guide id="2" orient="horz" pos="1200" userDrawn="1">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5" y="1905000"/>
            <a:ext cx="2283714" cy="4191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2280309" y="1904998"/>
            <a:ext cx="2283714" cy="41910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4560611" y="1904998"/>
            <a:ext cx="2283714" cy="41910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6848012" y="1904998"/>
            <a:ext cx="2298334" cy="41910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2280303" y="1838882"/>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4554562" y="1818288"/>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6844320" y="1828585"/>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8587110" y="6343906"/>
            <a:ext cx="326703" cy="133094"/>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554992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31166" y="333737"/>
            <a:ext cx="3629586"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29158" y="3058636"/>
            <a:ext cx="194188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11986"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2629898" y="3048053"/>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4915898" y="3048053"/>
            <a:ext cx="1847926" cy="727080"/>
          </a:xfrm>
          <a:prstGeom prst="rect">
            <a:avLst/>
          </a:prstGeom>
        </p:spPr>
        <p:txBody>
          <a:bodyPr/>
          <a:lstStyle>
            <a:lvl1pPr marL="0" indent="0">
              <a:lnSpc>
                <a:spcPts val="750"/>
              </a:lnSpc>
              <a:buNone/>
              <a:defRPr sz="1125" b="1" i="0">
                <a:solidFill>
                  <a:srgbClr val="0025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7201898" y="3048053"/>
            <a:ext cx="1847926" cy="727080"/>
          </a:xfrm>
          <a:prstGeom prst="rect">
            <a:avLst/>
          </a:prstGeom>
        </p:spPr>
        <p:txBody>
          <a:bodyPr/>
          <a:lstStyle>
            <a:lvl1pPr marL="0" indent="0">
              <a:lnSpc>
                <a:spcPts val="750"/>
              </a:lnSpc>
              <a:buNone/>
              <a:defRPr sz="1125" b="1" i="0">
                <a:solidFill>
                  <a:srgbClr val="0025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2597986" y="2059218"/>
            <a:ext cx="825624" cy="825498"/>
          </a:xfrm>
          <a:prstGeom prst="rect">
            <a:avLst/>
          </a:prstGeom>
        </p:spPr>
        <p:txBody>
          <a:bodyPr/>
          <a:lstStyle>
            <a:lvl1pPr marL="0" indent="0" algn="l">
              <a:buNone/>
              <a:defRPr sz="4688"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4883986" y="2059218"/>
            <a:ext cx="825624" cy="825498"/>
          </a:xfrm>
          <a:prstGeom prst="rect">
            <a:avLst/>
          </a:prstGeom>
        </p:spPr>
        <p:txBody>
          <a:bodyPr/>
          <a:lstStyle>
            <a:lvl1pPr marL="0" indent="0" algn="l">
              <a:buNone/>
              <a:defRPr sz="4688"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7169986" y="2059218"/>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280732030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3108097" y="365044"/>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3447180" y="359195"/>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3447517" y="649557"/>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8614612" y="6343906"/>
            <a:ext cx="299202" cy="208148"/>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554992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338041" y="333737"/>
            <a:ext cx="2730739"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3108097" y="1150670"/>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3447180" y="1144822"/>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3447517" y="1435184"/>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3108097" y="1912670"/>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3447180" y="1906821"/>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3447517" y="2197183"/>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3108097" y="2674670"/>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3447180" y="2668821"/>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3447517" y="2959183"/>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6018756" y="365044"/>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6357838" y="359195"/>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6358176" y="649557"/>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6018756" y="1150670"/>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6357838" y="1144822"/>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6358176" y="1435184"/>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6018756" y="1912670"/>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6357838" y="1906821"/>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6358176" y="2197183"/>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6018756" y="2674670"/>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6357838" y="2668821"/>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6358176" y="2959183"/>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Tree>
    <p:extLst>
      <p:ext uri="{BB962C8B-B14F-4D97-AF65-F5344CB8AC3E}">
        <p14:creationId xmlns:p14="http://schemas.microsoft.com/office/powerpoint/2010/main" val="1852688958"/>
      </p:ext>
    </p:extLst>
  </p:cSld>
  <p:clrMapOvr>
    <a:masterClrMapping/>
  </p:clrMapOvr>
  <p:extLst>
    <p:ext uri="{DCECCB84-F9BA-43D5-87BE-67443E8EF086}">
      <p15:sldGuideLst xmlns:p15="http://schemas.microsoft.com/office/powerpoint/2012/main">
        <p15:guide id="1" pos="2147" userDrawn="1">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6157913" y="714534"/>
            <a:ext cx="2433965" cy="544883"/>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8655862" y="6343906"/>
            <a:ext cx="257951" cy="208148"/>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554992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38044" y="319987"/>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6157913" y="1857534"/>
            <a:ext cx="2433965" cy="544883"/>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6157913" y="3000534"/>
            <a:ext cx="2433965" cy="544883"/>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6157913" y="4143534"/>
            <a:ext cx="2433965" cy="544883"/>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6157913" y="5286534"/>
            <a:ext cx="2433965" cy="544883"/>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5235489" y="552331"/>
            <a:ext cx="831504" cy="766497"/>
          </a:xfrm>
          <a:prstGeom prst="rect">
            <a:avLst/>
          </a:prstGeom>
        </p:spPr>
        <p:txBody>
          <a:bodyPr/>
          <a:lstStyle>
            <a:lvl1pPr marL="0" indent="0">
              <a:buNone/>
              <a:defRPr sz="4688"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5235489" y="1703991"/>
            <a:ext cx="831504" cy="766497"/>
          </a:xfrm>
          <a:prstGeom prst="rect">
            <a:avLst/>
          </a:prstGeom>
        </p:spPr>
        <p:txBody>
          <a:bodyPr/>
          <a:lstStyle>
            <a:lvl1pPr marL="0" indent="0">
              <a:buNone/>
              <a:defRPr sz="4688"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5235489" y="2855650"/>
            <a:ext cx="831504" cy="766497"/>
          </a:xfrm>
          <a:prstGeom prst="rect">
            <a:avLst/>
          </a:prstGeom>
        </p:spPr>
        <p:txBody>
          <a:bodyPr/>
          <a:lstStyle>
            <a:lvl1pPr marL="0" indent="0">
              <a:buNone/>
              <a:defRPr sz="4688"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5235489" y="3989991"/>
            <a:ext cx="831504" cy="766497"/>
          </a:xfrm>
          <a:prstGeom prst="rect">
            <a:avLst/>
          </a:prstGeom>
        </p:spPr>
        <p:txBody>
          <a:bodyPr/>
          <a:lstStyle>
            <a:lvl1pPr marL="0" indent="0">
              <a:buNone/>
              <a:defRPr sz="4688"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5235489" y="5132991"/>
            <a:ext cx="831504" cy="766497"/>
          </a:xfrm>
          <a:prstGeom prst="rect">
            <a:avLst/>
          </a:prstGeom>
        </p:spPr>
        <p:txBody>
          <a:bodyPr/>
          <a:lstStyle>
            <a:lvl1pPr marL="0" indent="0">
              <a:buNone/>
              <a:defRPr sz="4688"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4110870723"/>
      </p:ext>
    </p:extLst>
  </p:cSld>
  <p:clrMapOvr>
    <a:masterClrMapping/>
  </p:clrMapOvr>
  <p:extLst>
    <p:ext uri="{DCECCB84-F9BA-43D5-87BE-67443E8EF086}">
      <p15:sldGuideLst xmlns:p15="http://schemas.microsoft.com/office/powerpoint/2012/main">
        <p15:guide id="1" pos="3360" userDrawn="1">
          <p15:clr>
            <a:srgbClr val="FBAE40"/>
          </p15:clr>
        </p15:guide>
        <p15:guide id="2" pos="3915" userDrawn="1">
          <p15:clr>
            <a:srgbClr val="FBAE40"/>
          </p15:clr>
        </p15:guide>
        <p15:guide id="3" orient="horz" pos="440" userDrawn="1">
          <p15:clr>
            <a:srgbClr val="FBAE40"/>
          </p15:clr>
        </p15:guide>
        <p15:guide id="10" orient="horz" pos="800" userDrawn="1">
          <p15:clr>
            <a:srgbClr val="FBAE40"/>
          </p15:clr>
        </p15:guide>
        <p15:guide id="11" orient="horz" pos="1520" userDrawn="1">
          <p15:clr>
            <a:srgbClr val="FBAE40"/>
          </p15:clr>
        </p15:guide>
        <p15:guide id="12" orient="horz" pos="1160" userDrawn="1">
          <p15:clr>
            <a:srgbClr val="FBAE40"/>
          </p15:clr>
        </p15:guide>
        <p15:guide id="13" orient="horz" pos="1880" userDrawn="1">
          <p15:clr>
            <a:srgbClr val="FBAE40"/>
          </p15:clr>
        </p15:guide>
        <p15:guide id="14" orient="horz" pos="2240" userDrawn="1">
          <p15:clr>
            <a:srgbClr val="FBAE40"/>
          </p15:clr>
        </p15:guide>
        <p15:guide id="15" orient="horz" pos="2600" userDrawn="1">
          <p15:clr>
            <a:srgbClr val="FBAE40"/>
          </p15:clr>
        </p15:guide>
        <p15:guide id="16" orient="horz" pos="2960" userDrawn="1">
          <p15:clr>
            <a:srgbClr val="FBAE40"/>
          </p15:clr>
        </p15:guide>
        <p15:guide id="17" orient="horz" pos="3320" userDrawn="1">
          <p15:clr>
            <a:srgbClr val="FBAE40"/>
          </p15:clr>
        </p15:guide>
        <p15:guide id="18" orient="horz" pos="3680"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5058544" y="676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8593986" y="6343906"/>
            <a:ext cx="319828" cy="133094"/>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5556799"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24293" y="326862"/>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5058544" y="1819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5058544" y="299329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5058544" y="4105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5058544" y="5248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7213099" y="676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7213099" y="1819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7213099" y="299329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7213099" y="4105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7213099" y="5248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4585260" y="590603"/>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4585260" y="1750922"/>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4585260" y="2919898"/>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4585260" y="4028262"/>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4585260" y="5171262"/>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6774584" y="590603"/>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6774584" y="1750922"/>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6774584" y="2919898"/>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6774584" y="4028262"/>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6774584" y="5171262"/>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552871855"/>
      </p:ext>
    </p:extLst>
  </p:cSld>
  <p:clrMapOvr>
    <a:masterClrMapping/>
  </p:clrMapOvr>
  <p:extLst>
    <p:ext uri="{DCECCB84-F9BA-43D5-87BE-67443E8EF086}">
      <p15:sldGuideLst xmlns:p15="http://schemas.microsoft.com/office/powerpoint/2012/main">
        <p15:guide id="12" orient="horz" pos="420" userDrawn="1">
          <p15:clr>
            <a:srgbClr val="FBAE40"/>
          </p15:clr>
        </p15:guide>
        <p15:guide id="14" orient="horz" pos="1140" userDrawn="1">
          <p15:clr>
            <a:srgbClr val="FBAE40"/>
          </p15:clr>
        </p15:guide>
        <p15:guide id="16" orient="horz" pos="2500" userDrawn="1">
          <p15:clr>
            <a:srgbClr val="FBAE40"/>
          </p15:clr>
        </p15:guide>
        <p15:guide id="17" orient="horz" pos="3220" userDrawn="1">
          <p15:clr>
            <a:srgbClr val="FBAE40"/>
          </p15:clr>
        </p15:guide>
        <p15:guide id="19" orient="horz" pos="1800" userDrawn="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3312677" y="2236763"/>
            <a:ext cx="2468879" cy="278416"/>
          </a:xfrm>
          <a:prstGeom prst="rect">
            <a:avLst/>
          </a:prstGeom>
        </p:spPr>
        <p:txBody>
          <a:bodyPr/>
          <a:lstStyle>
            <a:lvl1pPr marL="0" indent="0">
              <a:buNone/>
              <a:defRPr sz="1563"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3313012" y="2560346"/>
            <a:ext cx="2468879" cy="376739"/>
          </a:xfrm>
          <a:prstGeom prst="rect">
            <a:avLst/>
          </a:prstGeom>
        </p:spPr>
        <p:txBody>
          <a:bodyPr/>
          <a:lstStyle>
            <a:lvl1pPr marL="0" indent="0">
              <a:buNone/>
              <a:defRPr sz="1563"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8635236" y="6350781"/>
            <a:ext cx="292327" cy="194398"/>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554992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17419" y="326861"/>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3127376" y="2236763"/>
            <a:ext cx="199354" cy="278416"/>
          </a:xfrm>
          <a:prstGeom prst="rect">
            <a:avLst/>
          </a:prstGeom>
        </p:spPr>
        <p:txBody>
          <a:bodyPr/>
          <a:lstStyle>
            <a:lvl1pPr marL="0" indent="0">
              <a:buNone/>
              <a:defRPr sz="1563"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6217802" y="2236763"/>
            <a:ext cx="2468879" cy="278416"/>
          </a:xfrm>
          <a:prstGeom prst="rect">
            <a:avLst/>
          </a:prstGeom>
        </p:spPr>
        <p:txBody>
          <a:bodyPr/>
          <a:lstStyle>
            <a:lvl1pPr marL="0" indent="0">
              <a:buNone/>
              <a:defRPr sz="1563"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6218137" y="2560346"/>
            <a:ext cx="2468879" cy="376739"/>
          </a:xfrm>
          <a:prstGeom prst="rect">
            <a:avLst/>
          </a:prstGeom>
        </p:spPr>
        <p:txBody>
          <a:bodyPr/>
          <a:lstStyle>
            <a:lvl1pPr marL="0" indent="0">
              <a:buNone/>
              <a:defRPr sz="1563"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6032501" y="2236763"/>
            <a:ext cx="199354" cy="278416"/>
          </a:xfrm>
          <a:prstGeom prst="rect">
            <a:avLst/>
          </a:prstGeom>
        </p:spPr>
        <p:txBody>
          <a:bodyPr/>
          <a:lstStyle>
            <a:lvl1pPr marL="0" indent="0">
              <a:buNone/>
              <a:defRPr sz="1563"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3312677" y="3760763"/>
            <a:ext cx="2468879" cy="278416"/>
          </a:xfrm>
          <a:prstGeom prst="rect">
            <a:avLst/>
          </a:prstGeom>
        </p:spPr>
        <p:txBody>
          <a:bodyPr/>
          <a:lstStyle>
            <a:lvl1pPr marL="0" indent="0">
              <a:buNone/>
              <a:defRPr sz="1563"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3313012" y="4084346"/>
            <a:ext cx="2468879" cy="376739"/>
          </a:xfrm>
          <a:prstGeom prst="rect">
            <a:avLst/>
          </a:prstGeom>
        </p:spPr>
        <p:txBody>
          <a:bodyPr/>
          <a:lstStyle>
            <a:lvl1pPr marL="0" indent="0">
              <a:buNone/>
              <a:defRPr sz="1563"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3127376" y="3760763"/>
            <a:ext cx="199354" cy="278416"/>
          </a:xfrm>
          <a:prstGeom prst="rect">
            <a:avLst/>
          </a:prstGeom>
        </p:spPr>
        <p:txBody>
          <a:bodyPr/>
          <a:lstStyle>
            <a:lvl1pPr marL="0" indent="0">
              <a:buNone/>
              <a:defRPr sz="1563"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6241224" y="3760763"/>
            <a:ext cx="2468879" cy="278416"/>
          </a:xfrm>
          <a:prstGeom prst="rect">
            <a:avLst/>
          </a:prstGeom>
        </p:spPr>
        <p:txBody>
          <a:bodyPr/>
          <a:lstStyle>
            <a:lvl1pPr marL="0" indent="0">
              <a:buNone/>
              <a:defRPr sz="1563"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6241559" y="4084346"/>
            <a:ext cx="2468879" cy="376739"/>
          </a:xfrm>
          <a:prstGeom prst="rect">
            <a:avLst/>
          </a:prstGeom>
        </p:spPr>
        <p:txBody>
          <a:bodyPr/>
          <a:lstStyle>
            <a:lvl1pPr marL="0" indent="0">
              <a:buNone/>
              <a:defRPr sz="1563"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6032501" y="3760763"/>
            <a:ext cx="199354" cy="278416"/>
          </a:xfrm>
          <a:prstGeom prst="rect">
            <a:avLst/>
          </a:prstGeom>
        </p:spPr>
        <p:txBody>
          <a:bodyPr/>
          <a:lstStyle>
            <a:lvl1pPr marL="0" indent="0">
              <a:buNone/>
              <a:defRPr sz="1563"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3312677" y="5284763"/>
            <a:ext cx="2468879" cy="278416"/>
          </a:xfrm>
          <a:prstGeom prst="rect">
            <a:avLst/>
          </a:prstGeom>
        </p:spPr>
        <p:txBody>
          <a:bodyPr/>
          <a:lstStyle>
            <a:lvl1pPr marL="0" indent="0">
              <a:buNone/>
              <a:defRPr sz="1563"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3313012" y="5608346"/>
            <a:ext cx="2468879" cy="376739"/>
          </a:xfrm>
          <a:prstGeom prst="rect">
            <a:avLst/>
          </a:prstGeom>
        </p:spPr>
        <p:txBody>
          <a:bodyPr/>
          <a:lstStyle>
            <a:lvl1pPr marL="0" indent="0">
              <a:buNone/>
              <a:defRPr sz="1563"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3127376" y="5284763"/>
            <a:ext cx="199354" cy="278416"/>
          </a:xfrm>
          <a:prstGeom prst="rect">
            <a:avLst/>
          </a:prstGeom>
        </p:spPr>
        <p:txBody>
          <a:bodyPr/>
          <a:lstStyle>
            <a:lvl1pPr marL="0" indent="0">
              <a:buNone/>
              <a:defRPr sz="1563"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6217802" y="5284763"/>
            <a:ext cx="2468879" cy="278416"/>
          </a:xfrm>
          <a:prstGeom prst="rect">
            <a:avLst/>
          </a:prstGeom>
        </p:spPr>
        <p:txBody>
          <a:bodyPr/>
          <a:lstStyle>
            <a:lvl1pPr marL="0" indent="0">
              <a:buNone/>
              <a:defRPr sz="1563"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6218137" y="5608346"/>
            <a:ext cx="2468879" cy="376739"/>
          </a:xfrm>
          <a:prstGeom prst="rect">
            <a:avLst/>
          </a:prstGeom>
        </p:spPr>
        <p:txBody>
          <a:bodyPr/>
          <a:lstStyle>
            <a:lvl1pPr marL="0" indent="0">
              <a:buNone/>
              <a:defRPr sz="1563"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6032501" y="5284763"/>
            <a:ext cx="199354" cy="278416"/>
          </a:xfrm>
          <a:prstGeom prst="rect">
            <a:avLst/>
          </a:prstGeom>
        </p:spPr>
        <p:txBody>
          <a:bodyPr/>
          <a:lstStyle>
            <a:lvl1pPr marL="0" indent="0">
              <a:buNone/>
              <a:defRPr sz="1563"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6</a:t>
            </a:r>
          </a:p>
        </p:txBody>
      </p:sp>
    </p:spTree>
    <p:extLst>
      <p:ext uri="{BB962C8B-B14F-4D97-AF65-F5344CB8AC3E}">
        <p14:creationId xmlns:p14="http://schemas.microsoft.com/office/powerpoint/2010/main" val="1607604056"/>
      </p:ext>
    </p:extLst>
  </p:cSld>
  <p:clrMapOvr>
    <a:masterClrMapping/>
  </p:clrMapOvr>
  <p:extLst>
    <p:ext uri="{DCECCB84-F9BA-43D5-87BE-67443E8EF086}">
      <p15:sldGuideLst xmlns:p15="http://schemas.microsoft.com/office/powerpoint/2012/main">
        <p15:guide id="1" orient="horz" pos="1340" userDrawn="1">
          <p15:clr>
            <a:srgbClr val="FBAE40"/>
          </p15:clr>
        </p15:guide>
        <p15:guide id="2" orient="horz" pos="2300" userDrawn="1">
          <p15:clr>
            <a:srgbClr val="FBAE40"/>
          </p15:clr>
        </p15:guide>
        <p15:guide id="3" orient="horz" pos="326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6157913" y="714534"/>
            <a:ext cx="2433965" cy="544883"/>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8515364" y="6360736"/>
            <a:ext cx="313965" cy="19713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5450591"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17801" y="333737"/>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6157913" y="1857534"/>
            <a:ext cx="2433965" cy="544883"/>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6157913" y="3000534"/>
            <a:ext cx="2433965" cy="544883"/>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6157913" y="4143534"/>
            <a:ext cx="2433965" cy="544883"/>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6157913" y="5286534"/>
            <a:ext cx="2433965" cy="544883"/>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5235489" y="552331"/>
            <a:ext cx="831504" cy="766497"/>
          </a:xfrm>
          <a:prstGeom prst="rect">
            <a:avLst/>
          </a:prstGeom>
        </p:spPr>
        <p:txBody>
          <a:bodyPr/>
          <a:lstStyle>
            <a:lvl1pPr marL="0" indent="0">
              <a:buNone/>
              <a:defRPr sz="4688"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5235489" y="1703991"/>
            <a:ext cx="831504" cy="766497"/>
          </a:xfrm>
          <a:prstGeom prst="rect">
            <a:avLst/>
          </a:prstGeom>
        </p:spPr>
        <p:txBody>
          <a:bodyPr/>
          <a:lstStyle>
            <a:lvl1pPr marL="0" indent="0">
              <a:buNone/>
              <a:defRPr sz="4688"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5235489" y="2855650"/>
            <a:ext cx="831504" cy="766497"/>
          </a:xfrm>
          <a:prstGeom prst="rect">
            <a:avLst/>
          </a:prstGeom>
        </p:spPr>
        <p:txBody>
          <a:bodyPr/>
          <a:lstStyle>
            <a:lvl1pPr marL="0" indent="0">
              <a:buNone/>
              <a:defRPr sz="4688"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5235489" y="3989991"/>
            <a:ext cx="831504" cy="766497"/>
          </a:xfrm>
          <a:prstGeom prst="rect">
            <a:avLst/>
          </a:prstGeom>
        </p:spPr>
        <p:txBody>
          <a:bodyPr/>
          <a:lstStyle>
            <a:lvl1pPr marL="0" indent="0">
              <a:buNone/>
              <a:defRPr sz="4688"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5235489" y="5132991"/>
            <a:ext cx="831504" cy="766497"/>
          </a:xfrm>
          <a:prstGeom prst="rect">
            <a:avLst/>
          </a:prstGeom>
        </p:spPr>
        <p:txBody>
          <a:bodyPr/>
          <a:lstStyle>
            <a:lvl1pPr marL="0" indent="0">
              <a:buNone/>
              <a:defRPr sz="4688"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1803117044"/>
      </p:ext>
    </p:extLst>
  </p:cSld>
  <p:clrMapOvr>
    <a:masterClrMapping/>
  </p:clrMapOvr>
  <p:extLst>
    <p:ext uri="{DCECCB84-F9BA-43D5-87BE-67443E8EF086}">
      <p15:sldGuideLst xmlns:p15="http://schemas.microsoft.com/office/powerpoint/2012/main">
        <p15:guide id="1" pos="3360" userDrawn="1">
          <p15:clr>
            <a:srgbClr val="FBAE40"/>
          </p15:clr>
        </p15:guide>
        <p15:guide id="2" pos="3915" userDrawn="1">
          <p15:clr>
            <a:srgbClr val="FBAE40"/>
          </p15:clr>
        </p15:guide>
        <p15:guide id="3" orient="horz" pos="440" userDrawn="1">
          <p15:clr>
            <a:srgbClr val="FBAE40"/>
          </p15:clr>
        </p15:guide>
        <p15:guide id="10" orient="horz" pos="800" userDrawn="1">
          <p15:clr>
            <a:srgbClr val="FBAE40"/>
          </p15:clr>
        </p15:guide>
        <p15:guide id="11" orient="horz" pos="1520" userDrawn="1">
          <p15:clr>
            <a:srgbClr val="FBAE40"/>
          </p15:clr>
        </p15:guide>
        <p15:guide id="12" orient="horz" pos="1160" userDrawn="1">
          <p15:clr>
            <a:srgbClr val="FBAE40"/>
          </p15:clr>
        </p15:guide>
        <p15:guide id="13" orient="horz" pos="1880" userDrawn="1">
          <p15:clr>
            <a:srgbClr val="FBAE40"/>
          </p15:clr>
        </p15:guide>
        <p15:guide id="14" orient="horz" pos="2240" userDrawn="1">
          <p15:clr>
            <a:srgbClr val="FBAE40"/>
          </p15:clr>
        </p15:guide>
        <p15:guide id="15" orient="horz" pos="2600" userDrawn="1">
          <p15:clr>
            <a:srgbClr val="FBAE40"/>
          </p15:clr>
        </p15:guide>
        <p15:guide id="16" orient="horz" pos="2960" userDrawn="1">
          <p15:clr>
            <a:srgbClr val="FBAE40"/>
          </p15:clr>
        </p15:guide>
        <p15:guide id="17" orient="horz" pos="3320" userDrawn="1">
          <p15:clr>
            <a:srgbClr val="FBAE40"/>
          </p15:clr>
        </p15:guide>
        <p15:guide id="18" orient="horz" pos="3680"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59564" y="2996234"/>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472156" y="3000203"/>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472491" y="3238602"/>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54953" y="2394429"/>
            <a:ext cx="812257" cy="263058"/>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8635236" y="6343906"/>
            <a:ext cx="278577" cy="133094"/>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5543049"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44916" y="333737"/>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59564" y="3643525"/>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472156" y="3647494"/>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472491" y="3885893"/>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59564" y="4274427"/>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472156" y="4278396"/>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472491" y="4516795"/>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3149927" y="2996234"/>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3354236" y="3000203"/>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3354571" y="3238602"/>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3237033" y="2394429"/>
            <a:ext cx="812257" cy="263058"/>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3149927" y="3643525"/>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3354236" y="3647494"/>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3354571" y="3885893"/>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3149927" y="4274427"/>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3354236" y="4278396"/>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3354571" y="4516795"/>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6054450" y="2996234"/>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6267042" y="3000203"/>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6267378" y="3238602"/>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6149840" y="2394429"/>
            <a:ext cx="812257" cy="263058"/>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6054450" y="3643525"/>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6267042" y="3647494"/>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6267378" y="3885893"/>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6054450" y="4274427"/>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6267042" y="4278396"/>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6267378" y="4516795"/>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Tree>
    <p:extLst>
      <p:ext uri="{BB962C8B-B14F-4D97-AF65-F5344CB8AC3E}">
        <p14:creationId xmlns:p14="http://schemas.microsoft.com/office/powerpoint/2010/main" val="2758463131"/>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1600" userDrawn="1">
          <p15:clr>
            <a:srgbClr val="FBAE40"/>
          </p15:clr>
        </p15:guide>
        <p15:guide id="3" orient="horz" pos="1920" userDrawn="1">
          <p15:clr>
            <a:srgbClr val="FBAE40"/>
          </p15:clr>
        </p15:guide>
        <p15:guide id="4" orient="horz" pos="2320" userDrawn="1">
          <p15:clr>
            <a:srgbClr val="FBAE40"/>
          </p15:clr>
        </p15:guide>
        <p15:guide id="5" orient="horz" pos="2720" userDrawn="1">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3959269" y="2571752"/>
            <a:ext cx="0" cy="677088"/>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6186494" y="2571752"/>
            <a:ext cx="0" cy="677088"/>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434990"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204211" y="4106190"/>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285751" y="3142309"/>
            <a:ext cx="8585048" cy="226613"/>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317190"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1602386" y="2571752"/>
            <a:ext cx="0" cy="677088"/>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407150" y="3377313"/>
            <a:ext cx="2629" cy="559687"/>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2757783" y="3377313"/>
            <a:ext cx="2342" cy="559687"/>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5146571" y="3248839"/>
            <a:ext cx="0" cy="688163"/>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7274396" y="3248839"/>
            <a:ext cx="0" cy="688163"/>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419100" y="333737"/>
            <a:ext cx="3295652"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2798105"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2567326" y="4106190"/>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1636951" y="2236275"/>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1406173" y="2236275"/>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3986463" y="2236275"/>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3755685" y="2236275"/>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6203796" y="2236275"/>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5973018" y="2236275"/>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5186543"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4955766" y="4106190"/>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7313490"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7082712" y="4106190"/>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1511112"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2667680"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3867995"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5055298"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6095220"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7183122"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Tree>
    <p:extLst>
      <p:ext uri="{BB962C8B-B14F-4D97-AF65-F5344CB8AC3E}">
        <p14:creationId xmlns:p14="http://schemas.microsoft.com/office/powerpoint/2010/main" val="795793174"/>
      </p:ext>
    </p:extLst>
  </p:cSld>
  <p:clrMapOvr>
    <a:masterClrMapping/>
  </p:clrMapOvr>
  <p:extLst>
    <p:ext uri="{DCECCB84-F9BA-43D5-87BE-67443E8EF086}">
      <p15:sldGuideLst xmlns:p15="http://schemas.microsoft.com/office/powerpoint/2012/main">
        <p15:guide id="4" orient="horz" pos="1440" userDrawn="1">
          <p15:clr>
            <a:srgbClr val="FBAE40"/>
          </p15:clr>
        </p15:guide>
        <p15:guide id="5" orient="horz" pos="2800" userDrawn="1">
          <p15:clr>
            <a:srgbClr val="FBAE40"/>
          </p15:clr>
        </p15:guide>
        <p15:guide id="6" orient="horz" pos="2580" userDrawn="1">
          <p15:clr>
            <a:srgbClr val="FBAE40"/>
          </p15:clr>
        </p15:guide>
        <p15:guide id="7" pos="1005" userDrawn="1">
          <p15:clr>
            <a:srgbClr val="FBAE40"/>
          </p15:clr>
        </p15:guide>
        <p15:guide id="8" pos="1740" userDrawn="1">
          <p15:clr>
            <a:srgbClr val="FBAE40"/>
          </p15:clr>
        </p15:guide>
        <p15:guide id="9" pos="2490" userDrawn="1">
          <p15:clr>
            <a:srgbClr val="FBAE40"/>
          </p15:clr>
        </p15:guide>
        <p15:guide id="10" pos="255" userDrawn="1">
          <p15:clr>
            <a:srgbClr val="FBAE40"/>
          </p15:clr>
        </p15:guide>
        <p15:guide id="11" pos="3240" userDrawn="1">
          <p15:clr>
            <a:srgbClr val="FBAE40"/>
          </p15:clr>
        </p15:guide>
        <p15:guide id="12" pos="3975" userDrawn="1">
          <p15:clr>
            <a:srgbClr val="FBAE40"/>
          </p15:clr>
        </p15:guide>
        <p15:guide id="13" orient="horz" pos="1980" userDrawn="1">
          <p15:clr>
            <a:srgbClr val="FBAE40"/>
          </p15:clr>
        </p15:guide>
        <p15:guide id="14" orient="horz" pos="1600" userDrawn="1">
          <p15:clr>
            <a:srgbClr val="FBAE40"/>
          </p15:clr>
        </p15:guide>
        <p15:guide id="15" orient="horz" pos="2500" userDrawn="1">
          <p15:clr>
            <a:srgbClr val="FBAE40"/>
          </p15:clr>
        </p15:guide>
        <p15:guide id="17" pos="4725" userDrawn="1">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285751" y="3143798"/>
            <a:ext cx="8585048" cy="226613"/>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232956"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IBM Eliot Sans" panose="020B05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232956" y="3674699"/>
            <a:ext cx="1494252" cy="204254"/>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232962"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2451408" y="3118638"/>
            <a:ext cx="107577" cy="276933"/>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228041" y="333737"/>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2391956"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IBM Eliot Sans" panose="020B05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2391956" y="3674699"/>
            <a:ext cx="1494252" cy="204254"/>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2391962"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4566831"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IBM Eliot Sans" panose="020B05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4566831" y="3674699"/>
            <a:ext cx="1494252" cy="204254"/>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4566837"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6686143"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IBM Eliot Sans" panose="020B05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6686143" y="3674699"/>
            <a:ext cx="1494252" cy="204254"/>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6686150"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4621830" y="3118638"/>
            <a:ext cx="107577" cy="276933"/>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6728753" y="3118638"/>
            <a:ext cx="107577" cy="276933"/>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299069"/>
      </p:ext>
    </p:extLst>
  </p:cSld>
  <p:clrMapOvr>
    <a:masterClrMapping/>
  </p:clrMapOvr>
  <p:extLst>
    <p:ext uri="{DCECCB84-F9BA-43D5-87BE-67443E8EF086}">
      <p15:sldGuideLst xmlns:p15="http://schemas.microsoft.com/office/powerpoint/2012/main">
        <p15:guide id="1" orient="horz" pos="2400" userDrawn="1">
          <p15:clr>
            <a:srgbClr val="FBAE40"/>
          </p15:clr>
        </p15:guide>
        <p15:guide id="2" orient="horz" pos="2500" userDrawn="1">
          <p15:clr>
            <a:srgbClr val="FBAE40"/>
          </p15:clr>
        </p15:guide>
        <p15:guide id="3" pos="1545" userDrawn="1">
          <p15:clr>
            <a:srgbClr val="FBAE40"/>
          </p15:clr>
        </p15:guide>
        <p15:guide id="4" pos="2910" userDrawn="1">
          <p15:clr>
            <a:srgbClr val="FBAE40"/>
          </p15:clr>
        </p15:guide>
        <p15:guide id="5" pos="4245" userDrawn="1">
          <p15:clr>
            <a:srgbClr val="FBAE40"/>
          </p15:clr>
        </p15:guide>
        <p15:guide id="6" orient="horz" pos="2160" userDrawn="1">
          <p15:clr>
            <a:srgbClr val="FBAE40"/>
          </p15:clr>
        </p15:guide>
        <p15:guide id="7" orient="horz" pos="2740" userDrawn="1">
          <p15:clr>
            <a:srgbClr val="FBAE40"/>
          </p15:clr>
        </p15:guide>
        <p15:guide id="8" orient="horz" pos="2880" userDrawn="1">
          <p15:clr>
            <a:srgbClr val="FBAE40"/>
          </p15:clr>
        </p15:guide>
        <p15:guide id="9" orient="horz" pos="2040" userDrawn="1">
          <p15:clr>
            <a:srgbClr val="FBAE40"/>
          </p15:clr>
        </p15:guide>
        <p15:guide id="10" orient="horz" pos="2060" userDrawn="1">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2391551" y="1849182"/>
            <a:ext cx="3204082" cy="275242"/>
          </a:xfrm>
          <a:prstGeom prst="rect">
            <a:avLst/>
          </a:prstGeom>
        </p:spPr>
        <p:txBody>
          <a:bodyPr/>
          <a:lstStyle>
            <a:lvl1pPr marL="0" indent="0">
              <a:buNone/>
              <a:defRPr sz="1563"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2391551" y="2166758"/>
            <a:ext cx="3204082" cy="278069"/>
          </a:xfrm>
          <a:prstGeom prst="rect">
            <a:avLst/>
          </a:prstGeom>
        </p:spPr>
        <p:txBody>
          <a:bodyPr/>
          <a:lstStyle>
            <a:lvl1pPr marL="0" indent="0">
              <a:buNone/>
              <a:defRPr sz="1563"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284458" y="1817430"/>
            <a:ext cx="1708740" cy="2278320"/>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228041" y="333737"/>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2391172" y="2825750"/>
            <a:ext cx="4347766" cy="3270250"/>
          </a:xfrm>
          <a:prstGeom prst="rect">
            <a:avLst/>
          </a:prstGeom>
        </p:spPr>
        <p:txBody>
          <a:bodyPr/>
          <a:lstStyle>
            <a:lvl1pPr marL="0" indent="0">
              <a:lnSpc>
                <a:spcPts val="1250"/>
              </a:lnSpc>
              <a:spcBef>
                <a:spcPts val="0"/>
              </a:spcBef>
              <a:buNone/>
              <a:defRPr lang="en-US" sz="10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905762154"/>
      </p:ext>
    </p:extLst>
  </p:cSld>
  <p:clrMapOvr>
    <a:masterClrMapping/>
  </p:clrMapOvr>
  <p:extLst>
    <p:ext uri="{DCECCB84-F9BA-43D5-87BE-67443E8EF086}">
      <p15:sldGuideLst xmlns:p15="http://schemas.microsoft.com/office/powerpoint/2012/main">
        <p15:guide id="1" orient="horz" pos="1200" userDrawn="1">
          <p15:clr>
            <a:srgbClr val="FBAE40"/>
          </p15:clr>
        </p15:guide>
        <p15:guide id="2" orient="horz" pos="1520" userDrawn="1">
          <p15:clr>
            <a:srgbClr val="FBAE40"/>
          </p15:clr>
        </p15:guide>
        <p15:guide id="3" orient="horz" pos="1780" userDrawn="1">
          <p15:clr>
            <a:srgbClr val="FBAE40"/>
          </p15:clr>
        </p15:guide>
        <p15:guide id="6" pos="1260" userDrawn="1">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132746" y="2053001"/>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132746" y="2268544"/>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299563" y="1987791"/>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228041" y="333737"/>
            <a:ext cx="3486711" cy="479861"/>
          </a:xfrm>
          <a:prstGeom prst="rect">
            <a:avLst/>
          </a:prstGeom>
        </p:spPr>
        <p:txBody>
          <a:bodyPr anchor="b">
            <a:noAutofit/>
          </a:bodyPr>
          <a:lstStyle>
            <a:lvl1pPr algn="l">
              <a:defRPr sz="2188"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137176" y="2538948"/>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4012397" y="2053001"/>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4012397" y="2268544"/>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3179214" y="1987791"/>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4016827" y="2538823"/>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6896355" y="2053001"/>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6896355" y="2271273"/>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6063173" y="1987791"/>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6900785" y="2532840"/>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6900785" y="5533584"/>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132746" y="3565541"/>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132746" y="3781085"/>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299563" y="3500332"/>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137176" y="4051489"/>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4012397" y="3565541"/>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4012397" y="3781085"/>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3179214" y="3500332"/>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4016827" y="4051364"/>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6896355" y="3565541"/>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6896355" y="3783814"/>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6063173" y="3500332"/>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6900785" y="4045381"/>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132746" y="5055166"/>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132746" y="5270709"/>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299563" y="4989956"/>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137176" y="5541113"/>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4012397" y="5055166"/>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4012397" y="5270709"/>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3179214" y="4989956"/>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4016827" y="5540988"/>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6896355" y="5055166"/>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6896355" y="5273438"/>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6063173" y="4989956"/>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6900785" y="5535005"/>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462281014"/>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241101" y="1785933"/>
            <a:ext cx="6241852" cy="4310067"/>
          </a:xfrm>
          <a:prstGeom prst="rect">
            <a:avLst/>
          </a:prstGeom>
        </p:spPr>
        <p:txBody>
          <a:bodyPr/>
          <a:lstStyle>
            <a:lvl1pPr marL="0" indent="7938">
              <a:lnSpc>
                <a:spcPts val="3438"/>
              </a:lnSpc>
              <a:buNone/>
              <a:tabLst/>
              <a:defRPr sz="2813"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36917531"/>
      </p:ext>
    </p:extLst>
  </p:cSld>
  <p:clrMapOvr>
    <a:masterClrMapping/>
  </p:clrMapOvr>
  <p:extLst>
    <p:ext uri="{DCECCB84-F9BA-43D5-87BE-67443E8EF086}">
      <p15:sldGuideLst xmlns:p15="http://schemas.microsoft.com/office/powerpoint/2012/main">
        <p15:guide id="1" orient="horz" pos="1200" userDrawn="1">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241101" y="1785933"/>
            <a:ext cx="6241852" cy="4310067"/>
          </a:xfrm>
          <a:prstGeom prst="rect">
            <a:avLst/>
          </a:prstGeom>
        </p:spPr>
        <p:txBody>
          <a:bodyPr/>
          <a:lstStyle>
            <a:lvl1pPr marL="0" indent="0">
              <a:lnSpc>
                <a:spcPts val="3438"/>
              </a:lnSpc>
              <a:buNone/>
              <a:defRPr sz="2813"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99392" y="-115958"/>
            <a:ext cx="1143000" cy="1524000"/>
          </a:xfrm>
          <a:prstGeom prst="rect">
            <a:avLst/>
          </a:prstGeom>
        </p:spPr>
      </p:pic>
    </p:spTree>
    <p:extLst>
      <p:ext uri="{BB962C8B-B14F-4D97-AF65-F5344CB8AC3E}">
        <p14:creationId xmlns:p14="http://schemas.microsoft.com/office/powerpoint/2010/main" val="166112254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213842" y="382885"/>
            <a:ext cx="3500909" cy="1166343"/>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233227" y="3770901"/>
            <a:ext cx="2140148"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3114293" y="3770901"/>
            <a:ext cx="2140148"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6042495" y="3770901"/>
            <a:ext cx="2140148"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23866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3112039" y="2560320"/>
            <a:ext cx="857250" cy="1143000"/>
          </a:xfrm>
          <a:prstGeom prst="rect">
            <a:avLst/>
          </a:prstGeom>
        </p:spPr>
        <p:txBody>
          <a:bodyPr/>
          <a:lstStyle>
            <a:lvl2pPr>
              <a:defRPr sz="5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6040054" y="2560320"/>
            <a:ext cx="857250" cy="1143000"/>
          </a:xfrm>
          <a:prstGeom prst="rect">
            <a:avLst/>
          </a:prstGeom>
        </p:spPr>
        <p:txBody>
          <a:bodyPr/>
          <a:lstStyle>
            <a:lvl2pPr>
              <a:defRPr sz="5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229953"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3105129"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6039222"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7017563"/>
      </p:ext>
    </p:extLst>
  </p:cSld>
  <p:clrMapOvr>
    <a:masterClrMapping/>
  </p:clrMapOvr>
  <p:extLst>
    <p:ext uri="{DCECCB84-F9BA-43D5-87BE-67443E8EF086}">
      <p15:sldGuideLst xmlns:p15="http://schemas.microsoft.com/office/powerpoint/2012/main">
        <p15:guide id="5" orient="horz" pos="1720" userDrawn="1">
          <p15:clr>
            <a:srgbClr val="FBAE40"/>
          </p15:clr>
        </p15:guide>
        <p15:guide id="6" orient="horz" pos="2220" userDrawn="1">
          <p15:clr>
            <a:srgbClr val="FBAE40"/>
          </p15:clr>
        </p15:guide>
        <p15:guide id="9" orient="horz" pos="2400" userDrawn="1">
          <p15:clr>
            <a:srgbClr val="FBAE40"/>
          </p15:clr>
        </p15:guide>
        <p15:guide id="10" orient="horz" pos="2520" userDrawn="1">
          <p15:clr>
            <a:srgbClr val="FBAE40"/>
          </p15:clr>
        </p15:guide>
        <p15:guide id="11" orient="horz" pos="1580" userDrawn="1">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213842" y="382885"/>
            <a:ext cx="3500909" cy="1166343"/>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233227" y="3770901"/>
            <a:ext cx="1892754"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2389609" y="3770901"/>
            <a:ext cx="1892754"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4563665" y="3770901"/>
            <a:ext cx="1892754"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6731830" y="3770901"/>
            <a:ext cx="1892754"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23866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239766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4564602"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6731539"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2398118" y="4016865"/>
            <a:ext cx="1720218" cy="2079136"/>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229954" y="4016866"/>
            <a:ext cx="1720218" cy="2079136"/>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4566284" y="4016863"/>
            <a:ext cx="1720218" cy="2079137"/>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6734449" y="4016863"/>
            <a:ext cx="1720218" cy="2079137"/>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031576339"/>
      </p:ext>
    </p:extLst>
  </p:cSld>
  <p:clrMapOvr>
    <a:masterClrMapping/>
  </p:clrMapOvr>
  <p:extLst>
    <p:ext uri="{DCECCB84-F9BA-43D5-87BE-67443E8EF086}">
      <p15:sldGuideLst xmlns:p15="http://schemas.microsoft.com/office/powerpoint/2012/main">
        <p15:guide id="7" orient="horz" pos="1740" userDrawn="1">
          <p15:clr>
            <a:srgbClr val="FBAE40"/>
          </p15:clr>
        </p15:guide>
        <p15:guide id="8" orient="horz" pos="2220" userDrawn="1">
          <p15:clr>
            <a:srgbClr val="FBAE40"/>
          </p15:clr>
        </p15:guide>
        <p15:guide id="9" orient="horz" pos="2400" userDrawn="1">
          <p15:clr>
            <a:srgbClr val="FBAE40"/>
          </p15:clr>
        </p15:guide>
        <p15:guide id="10" orient="horz" pos="2520"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285749" y="2508250"/>
            <a:ext cx="2851785" cy="358775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6004081" y="2508251"/>
            <a:ext cx="2851785" cy="358774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3151407" y="2508250"/>
            <a:ext cx="2851785" cy="358775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228311" y="1202759"/>
            <a:ext cx="3500909" cy="397498"/>
          </a:xfrm>
          <a:prstGeom prst="rect">
            <a:avLst/>
          </a:prstGeom>
        </p:spPr>
        <p:txBody>
          <a:bodyPr>
            <a:noAutofit/>
          </a:bodyPr>
          <a:lstStyle>
            <a:lvl1pPr marL="0" indent="0">
              <a:lnSpc>
                <a:spcPts val="1875"/>
              </a:lnSpc>
              <a:buNone/>
              <a:defRPr sz="1125"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442679" y="4148417"/>
            <a:ext cx="2140148" cy="227542"/>
          </a:xfrm>
          <a:prstGeom prst="rect">
            <a:avLst/>
          </a:prstGeom>
        </p:spPr>
        <p:txBody>
          <a:bodyPr anchor="t"/>
          <a:lstStyle>
            <a:lvl1pPr marL="0" indent="0">
              <a:buNone/>
              <a:defRPr sz="75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3323745" y="4148417"/>
            <a:ext cx="2140148" cy="227542"/>
          </a:xfrm>
          <a:prstGeom prst="rect">
            <a:avLst/>
          </a:prstGeom>
        </p:spPr>
        <p:txBody>
          <a:bodyPr anchor="t"/>
          <a:lstStyle>
            <a:lvl1pPr marL="0" indent="0">
              <a:buNone/>
              <a:defRPr sz="75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6181245" y="4148417"/>
            <a:ext cx="2140148" cy="227542"/>
          </a:xfrm>
          <a:prstGeom prst="rect">
            <a:avLst/>
          </a:prstGeom>
        </p:spPr>
        <p:txBody>
          <a:bodyPr anchor="t"/>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460375" y="2785918"/>
            <a:ext cx="857250" cy="1143000"/>
          </a:xfrm>
          <a:prstGeom prst="rect">
            <a:avLst/>
          </a:prstGeom>
        </p:spPr>
        <p:txBody>
          <a:bodyPr/>
          <a:lstStyle>
            <a:lvl1pPr marL="0" indent="0" algn="ctr">
              <a:buNone/>
              <a:defRPr sz="5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3309938" y="2785918"/>
            <a:ext cx="857250" cy="1143000"/>
          </a:xfrm>
          <a:prstGeom prst="rect">
            <a:avLst/>
          </a:prstGeom>
        </p:spPr>
        <p:txBody>
          <a:bodyPr/>
          <a:lstStyle>
            <a:lvl1pPr marL="0" indent="0" algn="ctr">
              <a:buNone/>
              <a:defRPr sz="5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6167438" y="2785918"/>
            <a:ext cx="857250" cy="1143000"/>
          </a:xfrm>
          <a:prstGeom prst="rect">
            <a:avLst/>
          </a:prstGeom>
        </p:spPr>
        <p:txBody>
          <a:bodyPr/>
          <a:lstStyle>
            <a:lvl1pPr marL="0" indent="0" algn="ctr">
              <a:buNone/>
              <a:defRPr sz="5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460375" y="4396901"/>
            <a:ext cx="2231390" cy="1343501"/>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3317875" y="4396901"/>
            <a:ext cx="2231390" cy="1343501"/>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6169660" y="4396901"/>
            <a:ext cx="2231390" cy="1343501"/>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46532858"/>
      </p:ext>
    </p:extLst>
  </p:cSld>
  <p:clrMapOvr>
    <a:masterClrMapping/>
  </p:clrMapOvr>
  <p:extLst>
    <p:ext uri="{DCECCB84-F9BA-43D5-87BE-67443E8EF086}">
      <p15:sldGuideLst xmlns:p15="http://schemas.microsoft.com/office/powerpoint/2012/main">
        <p15:guide id="1" orient="horz" pos="1740" userDrawn="1">
          <p15:clr>
            <a:srgbClr val="FBAE40"/>
          </p15:clr>
        </p15:guide>
        <p15:guide id="3" orient="horz" pos="2640" userDrawn="1">
          <p15:clr>
            <a:srgbClr val="FBAE40"/>
          </p15:clr>
        </p15:guide>
        <p15:guide id="9" pos="315" userDrawn="1">
          <p15:clr>
            <a:srgbClr val="FBAE40"/>
          </p15:clr>
        </p15:guide>
        <p15:guide id="11" orient="horz" pos="36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5058544" y="676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8557164" y="6361600"/>
            <a:ext cx="280306" cy="19713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5458731"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24294" y="333737"/>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5058544" y="1819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5058544" y="299329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5058544" y="4105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5058544" y="5248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7213099" y="676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7213099" y="1819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7213099" y="299329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7213099" y="4105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7213099" y="5248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4585260" y="590603"/>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4585260" y="1750922"/>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4585260" y="2919898"/>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4585260" y="4028262"/>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4585260" y="5171262"/>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6774584" y="590603"/>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6774584" y="1750922"/>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6774584" y="2919898"/>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6774584" y="4028262"/>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6774584" y="5171262"/>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524675644"/>
      </p:ext>
    </p:extLst>
  </p:cSld>
  <p:clrMapOvr>
    <a:masterClrMapping/>
  </p:clrMapOvr>
  <p:extLst>
    <p:ext uri="{DCECCB84-F9BA-43D5-87BE-67443E8EF086}">
      <p15:sldGuideLst xmlns:p15="http://schemas.microsoft.com/office/powerpoint/2012/main">
        <p15:guide id="12" orient="horz" pos="420" userDrawn="1">
          <p15:clr>
            <a:srgbClr val="FBAE40"/>
          </p15:clr>
        </p15:guide>
        <p15:guide id="14" orient="horz" pos="1140" userDrawn="1">
          <p15:clr>
            <a:srgbClr val="FBAE40"/>
          </p15:clr>
        </p15:guide>
        <p15:guide id="16" orient="horz" pos="2500" userDrawn="1">
          <p15:clr>
            <a:srgbClr val="FBAE40"/>
          </p15:clr>
        </p15:guide>
        <p15:guide id="17" orient="horz" pos="3220" userDrawn="1">
          <p15:clr>
            <a:srgbClr val="FBAE40"/>
          </p15:clr>
        </p15:guide>
        <p15:guide id="19" orient="horz" pos="1800"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285750" y="2508250"/>
            <a:ext cx="2125980" cy="358902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4584118" y="2508250"/>
            <a:ext cx="2125980" cy="3589020"/>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6733182" y="2508250"/>
            <a:ext cx="2125980" cy="358775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2434746" y="2508250"/>
            <a:ext cx="2125980" cy="358902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398198" y="4147974"/>
            <a:ext cx="1659203" cy="227542"/>
          </a:xfrm>
          <a:prstGeom prst="rect">
            <a:avLst/>
          </a:prstGeom>
        </p:spPr>
        <p:txBody>
          <a:bodyPr/>
          <a:lstStyle>
            <a:lvl1pPr marL="0" indent="0">
              <a:buNone/>
              <a:defRPr sz="75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2536904" y="4147974"/>
            <a:ext cx="1663623" cy="227542"/>
          </a:xfrm>
          <a:prstGeom prst="rect">
            <a:avLst/>
          </a:prstGeom>
        </p:spPr>
        <p:txBody>
          <a:bodyPr/>
          <a:lstStyle>
            <a:lvl1pPr marL="0" indent="0">
              <a:buNone/>
              <a:defRPr sz="75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4675609" y="4147974"/>
            <a:ext cx="1659298"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6826099" y="4147974"/>
            <a:ext cx="1659298"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412750" y="2785918"/>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2540000" y="2785918"/>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4667250" y="2785918"/>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6826250" y="2785918"/>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2540635" y="4396901"/>
            <a:ext cx="1614170" cy="1343501"/>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75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4683760" y="4396901"/>
            <a:ext cx="1614170" cy="1343501"/>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75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6832600" y="4396901"/>
            <a:ext cx="1614170" cy="1343501"/>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75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409094" y="4396901"/>
            <a:ext cx="1614170" cy="1343501"/>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75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56095771"/>
      </p:ext>
    </p:extLst>
  </p:cSld>
  <p:clrMapOvr>
    <a:masterClrMapping/>
  </p:clrMapOvr>
  <p:extLst>
    <p:ext uri="{DCECCB84-F9BA-43D5-87BE-67443E8EF086}">
      <p15:sldGuideLst xmlns:p15="http://schemas.microsoft.com/office/powerpoint/2012/main">
        <p15:guide id="1" orient="horz" pos="1740" userDrawn="1">
          <p15:clr>
            <a:srgbClr val="FBAE40"/>
          </p15:clr>
        </p15:guide>
        <p15:guide id="4" pos="5385" userDrawn="1">
          <p15:clr>
            <a:srgbClr val="FBAE40"/>
          </p15:clr>
        </p15:guide>
        <p15:guide id="8" orient="horz" pos="1900" userDrawn="1">
          <p15:clr>
            <a:srgbClr val="FBAE40"/>
          </p15:clr>
        </p15:guide>
        <p15:guide id="9" orient="horz" pos="2640" userDrawn="1">
          <p15:clr>
            <a:srgbClr val="FBAE40"/>
          </p15:clr>
        </p15:guide>
        <p15:guide id="10" orient="horz" pos="3640" userDrawn="1">
          <p15:clr>
            <a:srgbClr val="FBAE40"/>
          </p15:clr>
        </p15:guide>
        <p15:guide id="11" pos="285" userDrawn="1">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228601" y="2141220"/>
            <a:ext cx="4286251" cy="3954780"/>
          </a:xfrm>
          <a:prstGeom prst="rect">
            <a:avLst/>
          </a:prstGeom>
        </p:spPr>
        <p:txBody>
          <a:bodyPr>
            <a:normAutofit/>
          </a:bodyPr>
          <a:lstStyle>
            <a:lvl1pPr marL="133340" indent="-133340">
              <a:lnSpc>
                <a:spcPct val="90000"/>
              </a:lnSpc>
              <a:buFont typeface="Arial" panose="020B0604020202020204" pitchFamily="34" charset="0"/>
              <a:buChar char="•"/>
              <a:tabLst/>
              <a:defRPr sz="1000" b="0" i="0">
                <a:solidFill>
                  <a:srgbClr val="002677"/>
                </a:solidFill>
                <a:latin typeface="IBM Eliot Sans Medium" panose="020B0703050000000000" pitchFamily="34" charset="0"/>
              </a:defRPr>
            </a:lvl1pPr>
            <a:lvl2pPr marL="128579" marR="0" indent="0" algn="l" defTabSz="685749" rtl="0" eaLnBrk="1" fontAlgn="auto" latinLnBrk="0" hangingPunct="1">
              <a:lnSpc>
                <a:spcPct val="90000"/>
              </a:lnSpc>
              <a:spcBef>
                <a:spcPts val="376"/>
              </a:spcBef>
              <a:spcAft>
                <a:spcPts val="0"/>
              </a:spcAft>
              <a:buClrTx/>
              <a:buSzTx/>
              <a:buFont typeface="Courier New" panose="02070309020205020404" pitchFamily="49" charset="0"/>
              <a:buNone/>
              <a:tabLst/>
              <a:defRPr sz="75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258348" marR="0" lvl="1" indent="-129769" algn="l" defTabSz="685749" rtl="0" eaLnBrk="1" fontAlgn="auto" latinLnBrk="0" hangingPunct="1">
              <a:lnSpc>
                <a:spcPts val="1875"/>
              </a:lnSpc>
              <a:spcBef>
                <a:spcPts val="376"/>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51741217"/>
      </p:ext>
    </p:extLst>
  </p:cSld>
  <p:clrMapOvr>
    <a:masterClrMapping/>
  </p:clrMapOvr>
  <p:extLst>
    <p:ext uri="{DCECCB84-F9BA-43D5-87BE-67443E8EF086}">
      <p15:sldGuideLst xmlns:p15="http://schemas.microsoft.com/office/powerpoint/2012/main">
        <p15:guide id="2" orient="horz" pos="1440" userDrawn="1">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234912" y="3058586"/>
            <a:ext cx="1990609" cy="212936"/>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2395182" y="3058586"/>
            <a:ext cx="1990609" cy="212936"/>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4561167" y="3058586"/>
            <a:ext cx="1990609" cy="212936"/>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6738582" y="3058586"/>
            <a:ext cx="1990609" cy="212936"/>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234263"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2396695"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4559128"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6742155"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771055689"/>
      </p:ext>
    </p:extLst>
  </p:cSld>
  <p:clrMapOvr>
    <a:masterClrMapping/>
  </p:clrMapOvr>
  <p:extLst>
    <p:ext uri="{DCECCB84-F9BA-43D5-87BE-67443E8EF086}">
      <p15:sldGuideLst xmlns:p15="http://schemas.microsoft.com/office/powerpoint/2012/main">
        <p15:guide id="1" orient="horz" pos="1960" userDrawn="1">
          <p15:clr>
            <a:srgbClr val="FBAE40"/>
          </p15:clr>
        </p15:guide>
        <p15:guide id="2" orient="horz" pos="2260" userDrawn="1">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2422104" y="3042200"/>
            <a:ext cx="1832293" cy="3037414"/>
          </a:xfrm>
          <a:prstGeom prst="rect">
            <a:avLst/>
          </a:prstGeom>
        </p:spPr>
        <p:txBody>
          <a:bodyPr>
            <a:normAutofit/>
          </a:bodyPr>
          <a:lstStyle>
            <a:lvl1pPr marL="0" marR="0" indent="0" algn="l" defTabSz="685749" rtl="0" eaLnBrk="1" fontAlgn="auto" latinLnBrk="0" hangingPunct="1">
              <a:lnSpc>
                <a:spcPts val="1000"/>
              </a:lnSpc>
              <a:spcBef>
                <a:spcPts val="500"/>
              </a:spcBef>
              <a:spcAft>
                <a:spcPts val="0"/>
              </a:spcAft>
              <a:buClrTx/>
              <a:buSzTx/>
              <a:buFont typeface="Arial" panose="020B0604020202020204" pitchFamily="34" charset="0"/>
              <a:buNone/>
              <a:tabLst/>
              <a:defRPr sz="75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233099" y="3058586"/>
            <a:ext cx="1832293" cy="3037414"/>
          </a:xfrm>
          <a:prstGeom prst="rect">
            <a:avLst/>
          </a:prstGeom>
        </p:spPr>
        <p:txBody>
          <a:bodyPr>
            <a:normAutofit/>
          </a:bodyPr>
          <a:lstStyle>
            <a:lvl1pPr marL="0" marR="0" indent="0" algn="l" defTabSz="685749" rtl="0" eaLnBrk="1" fontAlgn="auto" latinLnBrk="0" hangingPunct="1">
              <a:lnSpc>
                <a:spcPts val="1000"/>
              </a:lnSpc>
              <a:spcBef>
                <a:spcPts val="500"/>
              </a:spcBef>
              <a:spcAft>
                <a:spcPts val="0"/>
              </a:spcAft>
              <a:buClrTx/>
              <a:buSzTx/>
              <a:buFont typeface="Arial" panose="020B0604020202020204" pitchFamily="34" charset="0"/>
              <a:buNone/>
              <a:tabLst/>
              <a:defRPr sz="75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4563112" y="3042200"/>
            <a:ext cx="1832293" cy="3037414"/>
          </a:xfrm>
          <a:prstGeom prst="rect">
            <a:avLst/>
          </a:prstGeom>
        </p:spPr>
        <p:txBody>
          <a:bodyPr>
            <a:normAutofit/>
          </a:bodyPr>
          <a:lstStyle>
            <a:lvl1pPr marL="0" marR="0" indent="0" algn="l" defTabSz="685749" rtl="0" eaLnBrk="1" fontAlgn="auto" latinLnBrk="0" hangingPunct="1">
              <a:lnSpc>
                <a:spcPts val="1000"/>
              </a:lnSpc>
              <a:spcBef>
                <a:spcPts val="500"/>
              </a:spcBef>
              <a:spcAft>
                <a:spcPts val="0"/>
              </a:spcAft>
              <a:buClrTx/>
              <a:buSzTx/>
              <a:buFont typeface="Arial" panose="020B0604020202020204" pitchFamily="34" charset="0"/>
              <a:buNone/>
              <a:tabLst/>
              <a:defRPr sz="75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6743980" y="3042200"/>
            <a:ext cx="1832293" cy="3037414"/>
          </a:xfrm>
          <a:prstGeom prst="rect">
            <a:avLst/>
          </a:prstGeom>
        </p:spPr>
        <p:txBody>
          <a:bodyPr>
            <a:normAutofit/>
          </a:bodyPr>
          <a:lstStyle>
            <a:lvl1pPr marL="0" marR="0" indent="0" algn="l" defTabSz="685749" rtl="0" eaLnBrk="1" fontAlgn="auto" latinLnBrk="0" hangingPunct="1">
              <a:lnSpc>
                <a:spcPts val="1000"/>
              </a:lnSpc>
              <a:spcBef>
                <a:spcPts val="500"/>
              </a:spcBef>
              <a:spcAft>
                <a:spcPts val="0"/>
              </a:spcAft>
              <a:buClrTx/>
              <a:buSzTx/>
              <a:buFont typeface="Arial" panose="020B0604020202020204" pitchFamily="34" charset="0"/>
              <a:buNone/>
              <a:tabLst/>
              <a:defRPr sz="75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945039001"/>
      </p:ext>
    </p:extLst>
  </p:cSld>
  <p:clrMapOvr>
    <a:masterClrMapping/>
  </p:clrMapOvr>
  <p:extLst>
    <p:ext uri="{DCECCB84-F9BA-43D5-87BE-67443E8EF086}">
      <p15:sldGuideLst xmlns:p15="http://schemas.microsoft.com/office/powerpoint/2012/main">
        <p15:guide id="3" orient="horz" pos="1960" userDrawn="1">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285750" y="2667000"/>
            <a:ext cx="2095500" cy="1524000"/>
          </a:xfrm>
          <a:prstGeom prst="rect">
            <a:avLst/>
          </a:prstGeom>
        </p:spPr>
        <p:txBody>
          <a:bodyPr/>
          <a:lstStyle>
            <a:lvl1pPr>
              <a:defRPr sz="5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29361" y="4303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2450216" y="2667000"/>
            <a:ext cx="2095500" cy="1524000"/>
          </a:xfrm>
          <a:prstGeom prst="rect">
            <a:avLst/>
          </a:prstGeom>
        </p:spPr>
        <p:txBody>
          <a:bodyPr/>
          <a:lstStyle>
            <a:lvl1pPr>
              <a:defRPr sz="5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4609712" y="2667000"/>
            <a:ext cx="2095500" cy="1524000"/>
          </a:xfrm>
          <a:prstGeom prst="rect">
            <a:avLst/>
          </a:prstGeom>
        </p:spPr>
        <p:txBody>
          <a:bodyPr/>
          <a:lstStyle>
            <a:lvl1pPr>
              <a:defRPr sz="5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6766064" y="2667000"/>
            <a:ext cx="2095500" cy="1524000"/>
          </a:xfrm>
          <a:prstGeom prst="rect">
            <a:avLst/>
          </a:prstGeom>
        </p:spPr>
        <p:txBody>
          <a:bodyPr/>
          <a:lstStyle>
            <a:lvl1pPr>
              <a:defRPr sz="5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396091" y="4303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4542943" y="4303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6704704" y="4303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2399613"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IBM Eliot Sans Medium" panose="020B0703050000000000"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4540929"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IBM Eliot Sans Medium" panose="020B0703050000000000"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6703948"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IBM Eliot Sans Medium" panose="020B0703050000000000"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222126"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IBM Eliot Sans Medium" panose="020B0703050000000000"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1339448003"/>
      </p:ext>
    </p:extLst>
  </p:cSld>
  <p:clrMapOvr>
    <a:masterClrMapping/>
  </p:clrMapOvr>
  <p:extLst>
    <p:ext uri="{DCECCB84-F9BA-43D5-87BE-67443E8EF086}">
      <p15:sldGuideLst xmlns:p15="http://schemas.microsoft.com/office/powerpoint/2012/main">
        <p15:guide id="1" orient="horz" pos="1680" userDrawn="1">
          <p15:clr>
            <a:srgbClr val="FBAE40"/>
          </p15:clr>
        </p15:guide>
        <p15:guide id="2" orient="horz" pos="2640" userDrawn="1">
          <p15:clr>
            <a:srgbClr val="FBAE40"/>
          </p15:clr>
        </p15:guide>
        <p15:guide id="7" orient="horz" pos="2740" userDrawn="1">
          <p15:clr>
            <a:srgbClr val="FBAE40"/>
          </p15:clr>
        </p15:guide>
        <p15:guide id="8" orient="horz" pos="2900" userDrawn="1">
          <p15:clr>
            <a:srgbClr val="FBAE40"/>
          </p15:clr>
        </p15:guide>
        <p15:guide id="10" pos="5700" userDrawn="1">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29361" y="3560338"/>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2450216"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396091" y="3541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4542943" y="3541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6704704" y="3541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229361" y="5827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2396091" y="5827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4542943" y="5827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6704704" y="5827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4598767"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6769020"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2450216"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4598767"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6769020"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287197"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2457450" y="2277978"/>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4591533" y="2277978"/>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6761786" y="2277978"/>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2457450" y="4602561"/>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272729" y="4602561"/>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4591533" y="4602561"/>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6761786" y="4602561"/>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292932"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284721" y="2277978"/>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1708042660"/>
      </p:ext>
    </p:extLst>
  </p:cSld>
  <p:clrMapOvr>
    <a:masterClrMapping/>
  </p:clrMapOvr>
  <p:extLst>
    <p:ext uri="{DCECCB84-F9BA-43D5-87BE-67443E8EF086}">
      <p15:sldGuideLst xmlns:p15="http://schemas.microsoft.com/office/powerpoint/2012/main">
        <p15:guide id="1" orient="horz" pos="1200" userDrawn="1">
          <p15:clr>
            <a:srgbClr val="FBAE40"/>
          </p15:clr>
        </p15:guide>
        <p15:guide id="2" orient="horz" pos="2640" userDrawn="1">
          <p15:clr>
            <a:srgbClr val="FBAE40"/>
          </p15:clr>
        </p15:guide>
        <p15:guide id="7" orient="horz" pos="3640" userDrawn="1">
          <p15:clr>
            <a:srgbClr val="FBAE40"/>
          </p15:clr>
        </p15:guide>
        <p15:guide id="8" orient="horz" pos="3600" userDrawn="1">
          <p15:clr>
            <a:srgbClr val="FBAE40"/>
          </p15:clr>
        </p15:guide>
        <p15:guide id="9" pos="5730" userDrawn="1">
          <p15:clr>
            <a:srgbClr val="FBAE40"/>
          </p15:clr>
        </p15:guide>
        <p15:guide id="12" orient="horz" pos="2160" userDrawn="1">
          <p15:clr>
            <a:srgbClr val="FBAE40"/>
          </p15:clr>
        </p15:guide>
        <p15:guide id="13" orient="horz" pos="2220" userDrawn="1">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4572000" y="3429000"/>
            <a:ext cx="4572000" cy="3429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4572000" y="4"/>
            <a:ext cx="4572000" cy="3448446"/>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5026347" y="3949972"/>
            <a:ext cx="3828577" cy="1581702"/>
          </a:xfrm>
          <a:prstGeom prst="rect">
            <a:avLst/>
          </a:prstGeom>
          <a:noFill/>
        </p:spPr>
        <p:txBody>
          <a:bodyPr anchor="ctr">
            <a:norm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438" b="1" i="0">
                <a:solidFill>
                  <a:srgbClr val="FFFFFF"/>
                </a:solidFill>
                <a:latin typeface="IBM Eliot Sans Medium" panose="020B0703050000000000" pitchFamily="34" charset="0"/>
              </a:defRPr>
            </a:lvl1pPr>
          </a:lstStyle>
          <a:p>
            <a:pPr marL="0" marR="0" lvl="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245815" y="2142044"/>
            <a:ext cx="4181503" cy="3048000"/>
          </a:xfrm>
          <a:prstGeom prst="rect">
            <a:avLst/>
          </a:prstGeom>
        </p:spPr>
        <p:txBody>
          <a:bodyPr/>
          <a:lstStyle>
            <a:lvl1pPr marL="178590" marR="0" indent="-178590"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000" b="0" i="0">
                <a:solidFill>
                  <a:srgbClr val="002677"/>
                </a:solidFill>
                <a:latin typeface="IBM Eliot Sans Medium" panose="020B0703050000000000" pitchFamily="34" charset="0"/>
              </a:defRPr>
            </a:lvl1pPr>
            <a:lvl2pPr marL="259538" indent="-126197">
              <a:lnSpc>
                <a:spcPct val="90000"/>
              </a:lnSpc>
              <a:spcBef>
                <a:spcPts val="750"/>
              </a:spcBef>
              <a:spcAft>
                <a:spcPts val="0"/>
              </a:spcAft>
              <a:buFont typeface="Courier New" panose="02070309020205020404" pitchFamily="49" charset="0"/>
              <a:buChar char="o"/>
              <a:tabLst/>
              <a:defRPr sz="750" b="0" i="0">
                <a:solidFill>
                  <a:srgbClr val="002677"/>
                </a:solidFill>
                <a:latin typeface="IBM Eliot Sans Medium" panose="020B0703050000000000" pitchFamily="34" charset="0"/>
              </a:defRPr>
            </a:lvl2pPr>
            <a:lvl3pPr marL="685749" indent="0">
              <a:buNone/>
              <a:defRPr sz="1050">
                <a:latin typeface="GT America" pitchFamily="2" charset="77"/>
              </a:defRPr>
            </a:lvl3pPr>
            <a:lvl4pPr marL="1028624" indent="0">
              <a:buNone/>
              <a:defRPr sz="1050">
                <a:latin typeface="GT America" pitchFamily="2" charset="77"/>
              </a:defRPr>
            </a:lvl4pPr>
            <a:lvl5pPr marL="1371498" indent="0">
              <a:buNone/>
              <a:defRPr sz="105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5020509" y="5549419"/>
            <a:ext cx="2364383" cy="182433"/>
          </a:xfrm>
          <a:prstGeom prst="rect">
            <a:avLst/>
          </a:prstGeom>
        </p:spPr>
        <p:txBody>
          <a:bodyPr/>
          <a:lstStyle>
            <a:lvl1pPr marL="0" indent="0">
              <a:buNone/>
              <a:defRPr sz="75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79486698"/>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2640" userDrawn="1">
          <p15:clr>
            <a:srgbClr val="FBAE40"/>
          </p15:clr>
        </p15:guide>
        <p15:guide id="4" orient="horz" pos="3520" userDrawn="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4572000" y="3428999"/>
            <a:ext cx="4572000" cy="3429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4572000" y="4"/>
            <a:ext cx="4572000" cy="3448446"/>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5026347" y="3949972"/>
            <a:ext cx="3828577" cy="1581702"/>
          </a:xfrm>
          <a:prstGeom prst="rect">
            <a:avLst/>
          </a:prstGeom>
          <a:noFill/>
        </p:spPr>
        <p:txBody>
          <a:bodyPr anchor="ctr">
            <a:norm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438" b="1" i="0">
                <a:solidFill>
                  <a:srgbClr val="FFFFFF"/>
                </a:solidFill>
                <a:latin typeface="IBM Eliot Sans Medium" panose="020B0703050000000000" pitchFamily="34" charset="0"/>
              </a:defRPr>
            </a:lvl1pPr>
          </a:lstStyle>
          <a:p>
            <a:pPr marL="0" marR="0" lvl="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245816" y="2142045"/>
            <a:ext cx="3468936" cy="3953956"/>
          </a:xfrm>
          <a:prstGeom prst="rect">
            <a:avLst/>
          </a:prstGeom>
        </p:spPr>
        <p:txBody>
          <a:bodyPr/>
          <a:lstStyle>
            <a:lvl1pPr marL="178590" marR="0" indent="-178590"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000" b="0" i="0">
                <a:solidFill>
                  <a:srgbClr val="002677"/>
                </a:solidFill>
                <a:latin typeface="IBM Eliot Sans Medium" panose="020B0703050000000000" pitchFamily="34" charset="0"/>
              </a:defRPr>
            </a:lvl1pPr>
            <a:lvl2pPr marL="259538" indent="-126197">
              <a:lnSpc>
                <a:spcPct val="90000"/>
              </a:lnSpc>
              <a:spcBef>
                <a:spcPts val="750"/>
              </a:spcBef>
              <a:spcAft>
                <a:spcPts val="0"/>
              </a:spcAft>
              <a:buFont typeface="Courier New" panose="02070309020205020404" pitchFamily="49" charset="0"/>
              <a:buChar char="o"/>
              <a:tabLst/>
              <a:defRPr sz="750" b="0" i="0">
                <a:solidFill>
                  <a:srgbClr val="002677"/>
                </a:solidFill>
                <a:latin typeface="IBM Eliot Sans Medium" panose="020B0703050000000000" pitchFamily="34" charset="0"/>
              </a:defRPr>
            </a:lvl2pPr>
            <a:lvl3pPr marL="685749" indent="0">
              <a:buNone/>
              <a:defRPr sz="1050">
                <a:latin typeface="GT America" pitchFamily="2" charset="77"/>
              </a:defRPr>
            </a:lvl3pPr>
            <a:lvl4pPr marL="1028624" indent="0">
              <a:buNone/>
              <a:defRPr sz="1050">
                <a:latin typeface="GT America" pitchFamily="2" charset="77"/>
              </a:defRPr>
            </a:lvl4pPr>
            <a:lvl5pPr marL="1371498" indent="0">
              <a:buNone/>
              <a:defRPr sz="105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5020509" y="5549419"/>
            <a:ext cx="2364383" cy="182433"/>
          </a:xfrm>
          <a:prstGeom prst="rect">
            <a:avLst/>
          </a:prstGeom>
        </p:spPr>
        <p:txBody>
          <a:bodyPr/>
          <a:lstStyle>
            <a:lvl1pPr marL="0" indent="0">
              <a:buNone/>
              <a:defRPr sz="75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99948270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285751" y="2286000"/>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6713283" y="4318000"/>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4620236" y="2558437"/>
            <a:ext cx="4257777" cy="1174311"/>
          </a:xfrm>
          <a:prstGeom prst="rect">
            <a:avLst/>
          </a:prstGeom>
        </p:spPr>
        <p:txBody>
          <a:bodyPr>
            <a:noAutofit/>
          </a:bodyPr>
          <a:lstStyle>
            <a:lvl1pPr marL="0" indent="0">
              <a:buNone/>
              <a:defRPr sz="625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4620238" y="2286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6760845" y="4790361"/>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235111"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4559976"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4620238" y="4191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4559976"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6782476"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235148" y="2970392"/>
            <a:ext cx="2195567" cy="3125610"/>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85963638"/>
      </p:ext>
    </p:extLst>
  </p:cSld>
  <p:clrMapOvr>
    <a:masterClrMapping/>
  </p:clrMapOvr>
  <p:extLst>
    <p:ext uri="{DCECCB84-F9BA-43D5-87BE-67443E8EF086}">
      <p15:sldGuideLst xmlns:p15="http://schemas.microsoft.com/office/powerpoint/2012/main">
        <p15:guide id="3" orient="horz" pos="1920" userDrawn="1">
          <p15:clr>
            <a:srgbClr val="FBAE40"/>
          </p15:clr>
        </p15:guide>
        <p15:guide id="4" orient="horz" pos="2720" userDrawn="1">
          <p15:clr>
            <a:srgbClr val="FBAE40"/>
          </p15:clr>
        </p15:guide>
        <p15:guide id="5" orient="horz" pos="3780" userDrawn="1">
          <p15:clr>
            <a:srgbClr val="FBAE40"/>
          </p15:clr>
        </p15:guide>
        <p15:guide id="8" orient="horz" pos="2160" userDrawn="1">
          <p15:clr>
            <a:srgbClr val="FBAE40"/>
          </p15:clr>
        </p15:guide>
        <p15:guide id="9" orient="horz" pos="1580" userDrawn="1">
          <p15:clr>
            <a:srgbClr val="FBAE40"/>
          </p15:clr>
        </p15:guide>
        <p15:guide id="10" orient="horz" pos="1440" userDrawn="1">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285751" y="2286000"/>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4620238" y="2286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235111"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6762951" y="4790361"/>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4620238" y="4191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4559976"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6782476"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6713283" y="4318000"/>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6760845" y="2895944"/>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4559976" y="23622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4543425" y="2895944"/>
            <a:ext cx="2045606" cy="886594"/>
          </a:xfrm>
          <a:prstGeom prst="rect">
            <a:avLst/>
          </a:prstGeom>
        </p:spPr>
        <p:txBody>
          <a:bodyPr>
            <a:noAutofit/>
          </a:bodyPr>
          <a:lstStyle>
            <a:lvl1pPr marL="0" indent="0">
              <a:buNone/>
              <a:defRPr sz="435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6782476" y="23622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6713283" y="2423583"/>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235148" y="2971802"/>
            <a:ext cx="2195567" cy="3108960"/>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215100059"/>
      </p:ext>
    </p:extLst>
  </p:cSld>
  <p:clrMapOvr>
    <a:masterClrMapping/>
  </p:clrMapOvr>
  <p:extLst>
    <p:ext uri="{DCECCB84-F9BA-43D5-87BE-67443E8EF086}">
      <p15:sldGuideLst xmlns:p15="http://schemas.microsoft.com/office/powerpoint/2012/main">
        <p15:guide id="1" orient="horz" pos="1920" userDrawn="1">
          <p15:clr>
            <a:srgbClr val="FBAE40"/>
          </p15:clr>
        </p15:guide>
        <p15:guide id="2" orient="horz" pos="2720" userDrawn="1">
          <p15:clr>
            <a:srgbClr val="FBAE40"/>
          </p15:clr>
        </p15:guide>
        <p15:guide id="3" orient="horz" pos="378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3312677" y="2236763"/>
            <a:ext cx="2468879" cy="278416"/>
          </a:xfrm>
          <a:prstGeom prst="rect">
            <a:avLst/>
          </a:prstGeom>
        </p:spPr>
        <p:txBody>
          <a:bodyPr/>
          <a:lstStyle>
            <a:lvl1pPr marL="0" indent="0">
              <a:buNone/>
              <a:defRPr sz="1563"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3313012" y="2560346"/>
            <a:ext cx="2468879" cy="376739"/>
          </a:xfrm>
          <a:prstGeom prst="rect">
            <a:avLst/>
          </a:prstGeom>
        </p:spPr>
        <p:txBody>
          <a:bodyPr/>
          <a:lstStyle>
            <a:lvl1pPr marL="0" indent="0">
              <a:buNone/>
              <a:defRPr sz="1563"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8462350" y="6360736"/>
            <a:ext cx="342014" cy="230798"/>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5436844"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31169" y="333737"/>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3127376" y="2236763"/>
            <a:ext cx="199354" cy="278416"/>
          </a:xfrm>
          <a:prstGeom prst="rect">
            <a:avLst/>
          </a:prstGeom>
        </p:spPr>
        <p:txBody>
          <a:bodyPr/>
          <a:lstStyle>
            <a:lvl1pPr marL="0" indent="0">
              <a:buNone/>
              <a:defRPr sz="1563"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6217802" y="2236763"/>
            <a:ext cx="2468879" cy="278416"/>
          </a:xfrm>
          <a:prstGeom prst="rect">
            <a:avLst/>
          </a:prstGeom>
        </p:spPr>
        <p:txBody>
          <a:bodyPr/>
          <a:lstStyle>
            <a:lvl1pPr marL="0" indent="0">
              <a:buNone/>
              <a:defRPr sz="1563"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6218137" y="2560346"/>
            <a:ext cx="2468879" cy="376739"/>
          </a:xfrm>
          <a:prstGeom prst="rect">
            <a:avLst/>
          </a:prstGeom>
        </p:spPr>
        <p:txBody>
          <a:bodyPr/>
          <a:lstStyle>
            <a:lvl1pPr marL="0" indent="0">
              <a:buNone/>
              <a:defRPr sz="1563"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6032501" y="2236763"/>
            <a:ext cx="199354" cy="278416"/>
          </a:xfrm>
          <a:prstGeom prst="rect">
            <a:avLst/>
          </a:prstGeom>
        </p:spPr>
        <p:txBody>
          <a:bodyPr/>
          <a:lstStyle>
            <a:lvl1pPr marL="0" indent="0">
              <a:buNone/>
              <a:defRPr sz="1563"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3312677" y="3760763"/>
            <a:ext cx="2468879" cy="278416"/>
          </a:xfrm>
          <a:prstGeom prst="rect">
            <a:avLst/>
          </a:prstGeom>
        </p:spPr>
        <p:txBody>
          <a:bodyPr/>
          <a:lstStyle>
            <a:lvl1pPr marL="0" indent="0">
              <a:buNone/>
              <a:defRPr sz="1563"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3313012" y="4084346"/>
            <a:ext cx="2468879" cy="376739"/>
          </a:xfrm>
          <a:prstGeom prst="rect">
            <a:avLst/>
          </a:prstGeom>
        </p:spPr>
        <p:txBody>
          <a:bodyPr/>
          <a:lstStyle>
            <a:lvl1pPr marL="0" indent="0">
              <a:buNone/>
              <a:defRPr sz="1563"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3127376" y="3760763"/>
            <a:ext cx="199354" cy="278416"/>
          </a:xfrm>
          <a:prstGeom prst="rect">
            <a:avLst/>
          </a:prstGeom>
        </p:spPr>
        <p:txBody>
          <a:bodyPr/>
          <a:lstStyle>
            <a:lvl1pPr marL="0" indent="0">
              <a:buNone/>
              <a:defRPr sz="1563"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6241224" y="3760763"/>
            <a:ext cx="2468879" cy="278416"/>
          </a:xfrm>
          <a:prstGeom prst="rect">
            <a:avLst/>
          </a:prstGeom>
        </p:spPr>
        <p:txBody>
          <a:bodyPr/>
          <a:lstStyle>
            <a:lvl1pPr marL="0" indent="0">
              <a:buNone/>
              <a:defRPr sz="1563"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6241559" y="4084346"/>
            <a:ext cx="2468879" cy="376739"/>
          </a:xfrm>
          <a:prstGeom prst="rect">
            <a:avLst/>
          </a:prstGeom>
        </p:spPr>
        <p:txBody>
          <a:bodyPr/>
          <a:lstStyle>
            <a:lvl1pPr marL="0" indent="0">
              <a:buNone/>
              <a:defRPr sz="1563"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6032501" y="3760763"/>
            <a:ext cx="199354" cy="278416"/>
          </a:xfrm>
          <a:prstGeom prst="rect">
            <a:avLst/>
          </a:prstGeom>
        </p:spPr>
        <p:txBody>
          <a:bodyPr/>
          <a:lstStyle>
            <a:lvl1pPr marL="0" indent="0">
              <a:buNone/>
              <a:defRPr sz="1563"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3312677" y="5284763"/>
            <a:ext cx="2468879" cy="278416"/>
          </a:xfrm>
          <a:prstGeom prst="rect">
            <a:avLst/>
          </a:prstGeom>
        </p:spPr>
        <p:txBody>
          <a:bodyPr/>
          <a:lstStyle>
            <a:lvl1pPr marL="0" indent="0">
              <a:buNone/>
              <a:defRPr sz="1563"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3313012" y="5608346"/>
            <a:ext cx="2468879" cy="376739"/>
          </a:xfrm>
          <a:prstGeom prst="rect">
            <a:avLst/>
          </a:prstGeom>
        </p:spPr>
        <p:txBody>
          <a:bodyPr/>
          <a:lstStyle>
            <a:lvl1pPr marL="0" indent="0">
              <a:buNone/>
              <a:defRPr sz="1563"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3127376" y="5284763"/>
            <a:ext cx="199354" cy="278416"/>
          </a:xfrm>
          <a:prstGeom prst="rect">
            <a:avLst/>
          </a:prstGeom>
        </p:spPr>
        <p:txBody>
          <a:bodyPr/>
          <a:lstStyle>
            <a:lvl1pPr marL="0" indent="0">
              <a:buNone/>
              <a:defRPr sz="1563"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6217802" y="5284763"/>
            <a:ext cx="2468879" cy="278416"/>
          </a:xfrm>
          <a:prstGeom prst="rect">
            <a:avLst/>
          </a:prstGeom>
        </p:spPr>
        <p:txBody>
          <a:bodyPr/>
          <a:lstStyle>
            <a:lvl1pPr marL="0" indent="0">
              <a:buNone/>
              <a:defRPr sz="1563"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6218137" y="5608346"/>
            <a:ext cx="2468879" cy="376739"/>
          </a:xfrm>
          <a:prstGeom prst="rect">
            <a:avLst/>
          </a:prstGeom>
        </p:spPr>
        <p:txBody>
          <a:bodyPr/>
          <a:lstStyle>
            <a:lvl1pPr marL="0" indent="0">
              <a:buNone/>
              <a:defRPr sz="1563"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6032501" y="5284763"/>
            <a:ext cx="199354" cy="278416"/>
          </a:xfrm>
          <a:prstGeom prst="rect">
            <a:avLst/>
          </a:prstGeom>
        </p:spPr>
        <p:txBody>
          <a:bodyPr/>
          <a:lstStyle>
            <a:lvl1pPr marL="0" indent="0">
              <a:buNone/>
              <a:defRPr sz="1563"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6</a:t>
            </a:r>
          </a:p>
        </p:txBody>
      </p:sp>
    </p:spTree>
    <p:extLst>
      <p:ext uri="{BB962C8B-B14F-4D97-AF65-F5344CB8AC3E}">
        <p14:creationId xmlns:p14="http://schemas.microsoft.com/office/powerpoint/2010/main" val="588353534"/>
      </p:ext>
    </p:extLst>
  </p:cSld>
  <p:clrMapOvr>
    <a:masterClrMapping/>
  </p:clrMapOvr>
  <p:extLst>
    <p:ext uri="{DCECCB84-F9BA-43D5-87BE-67443E8EF086}">
      <p15:sldGuideLst xmlns:p15="http://schemas.microsoft.com/office/powerpoint/2012/main">
        <p15:guide id="1" orient="horz" pos="1340" userDrawn="1">
          <p15:clr>
            <a:srgbClr val="FBAE40"/>
          </p15:clr>
        </p15:guide>
        <p15:guide id="2" orient="horz" pos="2300" userDrawn="1">
          <p15:clr>
            <a:srgbClr val="FBAE40"/>
          </p15:clr>
        </p15:guide>
        <p15:guide id="3" orient="horz" pos="3260"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3109864" y="2413000"/>
            <a:ext cx="0" cy="36830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248341" y="2760432"/>
            <a:ext cx="2805544" cy="886594"/>
          </a:xfrm>
          <a:prstGeom prst="rect">
            <a:avLst/>
          </a:prstGeom>
        </p:spPr>
        <p:txBody>
          <a:bodyPr>
            <a:noAutofit/>
          </a:bodyPr>
          <a:lstStyle>
            <a:lvl1pPr marL="0" indent="0">
              <a:buNone/>
              <a:defRPr sz="435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3154460" y="2759351"/>
            <a:ext cx="2805544"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5985420" y="2759351"/>
            <a:ext cx="2805544"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285750" y="2286000"/>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235111"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3179924"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6069174"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235111"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3179924"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6069174"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238665" y="4572000"/>
            <a:ext cx="2140372" cy="1524000"/>
          </a:xfrm>
          <a:prstGeom prst="rect">
            <a:avLst/>
          </a:prstGeom>
        </p:spPr>
        <p:txBody>
          <a:bodyPr>
            <a:normAutofit/>
          </a:bodyPr>
          <a:lstStyle>
            <a:lvl1pPr marL="107154" marR="0" indent="-107154"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75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3187538" y="4572000"/>
            <a:ext cx="2140372" cy="1524000"/>
          </a:xfrm>
          <a:prstGeom prst="rect">
            <a:avLst/>
          </a:prstGeom>
        </p:spPr>
        <p:txBody>
          <a:bodyPr>
            <a:normAutofit/>
          </a:bodyPr>
          <a:lstStyle>
            <a:lvl1pPr marL="107154" marR="0" indent="-107154"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75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6071803" y="4572000"/>
            <a:ext cx="2140372" cy="1524000"/>
          </a:xfrm>
          <a:prstGeom prst="rect">
            <a:avLst/>
          </a:prstGeom>
        </p:spPr>
        <p:txBody>
          <a:bodyPr>
            <a:normAutofit/>
          </a:bodyPr>
          <a:lstStyle>
            <a:lvl1pPr marL="107154" marR="0" indent="-107154"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75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6022927" y="2413000"/>
            <a:ext cx="0" cy="36830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5651036"/>
      </p:ext>
    </p:extLst>
  </p:cSld>
  <p:clrMapOvr>
    <a:masterClrMapping/>
  </p:clrMapOvr>
  <p:extLst>
    <p:ext uri="{DCECCB84-F9BA-43D5-87BE-67443E8EF086}">
      <p15:sldGuideLst xmlns:p15="http://schemas.microsoft.com/office/powerpoint/2012/main">
        <p15:guide id="5" pos="1440" userDrawn="1">
          <p15:clr>
            <a:srgbClr val="FBAE40"/>
          </p15:clr>
        </p15:guide>
        <p15:guide id="6" orient="horz" pos="1840" userDrawn="1">
          <p15:clr>
            <a:srgbClr val="FBAE40"/>
          </p15:clr>
        </p15:guide>
        <p15:guide id="7" orient="horz" pos="2720" userDrawn="1">
          <p15:clr>
            <a:srgbClr val="FBAE40"/>
          </p15:clr>
        </p15:guide>
        <p15:guide id="8" orient="horz" pos="2880" userDrawn="1">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9144000" cy="68580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236595" y="2587021"/>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235110" y="2831375"/>
            <a:ext cx="2867027" cy="194336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132835638"/>
      </p:ext>
    </p:extLst>
  </p:cSld>
  <p:clrMapOvr>
    <a:masterClrMapping/>
  </p:clrMapOvr>
  <p:extLst>
    <p:ext uri="{DCECCB84-F9BA-43D5-87BE-67443E8EF086}">
      <p15:sldGuideLst xmlns:p15="http://schemas.microsoft.com/office/powerpoint/2012/main">
        <p15:guide id="1" orient="horz" pos="1660" userDrawn="1">
          <p15:clr>
            <a:srgbClr val="FBAE40"/>
          </p15:clr>
        </p15:guide>
        <p15:guide id="2" orient="horz" pos="1820" userDrawn="1">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4572001" y="1514475"/>
            <a:ext cx="4372070" cy="4581525"/>
          </a:xfrm>
          <a:prstGeom prst="rect">
            <a:avLst/>
          </a:prstGeom>
        </p:spPr>
        <p:txBody>
          <a:bodyPr/>
          <a:lstStyle>
            <a:lvl1pPr>
              <a:defRPr sz="5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235111" y="3323833"/>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235149" y="3547959"/>
            <a:ext cx="2072418" cy="2548043"/>
          </a:xfrm>
          <a:prstGeom prst="rect">
            <a:avLst/>
          </a:prstGeom>
        </p:spPr>
        <p:txBody>
          <a:bodyPr/>
          <a:lstStyle>
            <a:lvl1pPr marL="0" indent="0">
              <a:lnSpc>
                <a:spcPts val="1000"/>
              </a:lnSpc>
              <a:spcBef>
                <a:spcPts val="0"/>
              </a:spcBef>
              <a:buNone/>
              <a:defRPr lang="en-US" sz="75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2398129" y="3323833"/>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2398168" y="3547959"/>
            <a:ext cx="2072418" cy="2548043"/>
          </a:xfrm>
          <a:prstGeom prst="rect">
            <a:avLst/>
          </a:prstGeom>
        </p:spPr>
        <p:txBody>
          <a:bodyPr/>
          <a:lstStyle>
            <a:lvl1pPr marL="0" indent="0">
              <a:lnSpc>
                <a:spcPts val="1000"/>
              </a:lnSpc>
              <a:spcBef>
                <a:spcPts val="0"/>
              </a:spcBef>
              <a:buNone/>
              <a:defRPr lang="en-US" sz="75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2295394837"/>
      </p:ext>
    </p:extLst>
  </p:cSld>
  <p:clrMapOvr>
    <a:masterClrMapping/>
  </p:clrMapOvr>
  <p:extLst>
    <p:ext uri="{DCECCB84-F9BA-43D5-87BE-67443E8EF086}">
      <p15:sldGuideLst xmlns:p15="http://schemas.microsoft.com/office/powerpoint/2012/main">
        <p15:guide id="1" orient="horz" pos="2320" userDrawn="1">
          <p15:clr>
            <a:srgbClr val="FBAE40"/>
          </p15:clr>
        </p15:guide>
        <p15:guide id="2" pos="5055" userDrawn="1">
          <p15:clr>
            <a:srgbClr val="FBAE40"/>
          </p15:clr>
        </p15:guide>
        <p15:guide id="3" orient="horz" pos="960" userDrawn="1">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02415" y="2413004"/>
            <a:ext cx="5107773" cy="3682993"/>
          </a:xfrm>
          <a:prstGeom prst="rect">
            <a:avLst/>
          </a:prstGeom>
        </p:spPr>
        <p:txBody>
          <a:bodyPr/>
          <a:lstStyle>
            <a:lvl1pPr>
              <a:defRPr sz="75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5933902" y="4960581"/>
            <a:ext cx="1387926" cy="439021"/>
          </a:xfrm>
          <a:prstGeom prst="rect">
            <a:avLst/>
          </a:prstGeom>
        </p:spPr>
        <p:txBody>
          <a:bodyPr>
            <a:noAutofit/>
          </a:bodyPr>
          <a:lstStyle>
            <a:lvl1pPr marL="0" indent="0">
              <a:buNone/>
              <a:defRPr sz="2188"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5946323" y="4337850"/>
            <a:ext cx="1173616" cy="250076"/>
          </a:xfrm>
          <a:prstGeom prst="rect">
            <a:avLst/>
          </a:prstGeom>
        </p:spPr>
        <p:txBody>
          <a:bodyPr>
            <a:normAutofit/>
          </a:bodyPr>
          <a:lstStyle>
            <a:lvl1pPr marL="0" indent="0">
              <a:buNone/>
              <a:defRPr sz="75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5946323" y="5437295"/>
            <a:ext cx="1173616" cy="250068"/>
          </a:xfrm>
          <a:prstGeom prst="rect">
            <a:avLst/>
          </a:prstGeom>
        </p:spPr>
        <p:txBody>
          <a:bodyPr>
            <a:normAutofit/>
          </a:bodyPr>
          <a:lstStyle>
            <a:lvl1pPr marL="0" indent="0">
              <a:buNone/>
              <a:defRPr sz="75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5946323" y="3057424"/>
            <a:ext cx="1173616" cy="232498"/>
          </a:xfrm>
          <a:prstGeom prst="rect">
            <a:avLst/>
          </a:prstGeom>
        </p:spPr>
        <p:txBody>
          <a:bodyPr>
            <a:normAutofit/>
          </a:bodyPr>
          <a:lstStyle>
            <a:lvl1pPr marL="0" indent="0">
              <a:buNone/>
              <a:defRPr sz="75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5933902" y="3864001"/>
            <a:ext cx="1387926" cy="439021"/>
          </a:xfrm>
          <a:prstGeom prst="rect">
            <a:avLst/>
          </a:prstGeom>
        </p:spPr>
        <p:txBody>
          <a:bodyPr>
            <a:noAutofit/>
          </a:bodyPr>
          <a:lstStyle>
            <a:lvl1pPr marL="0" indent="0">
              <a:buNone/>
              <a:defRPr sz="2188"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5921473" y="2287750"/>
            <a:ext cx="2812053" cy="706271"/>
          </a:xfrm>
          <a:prstGeom prst="rect">
            <a:avLst/>
          </a:prstGeom>
        </p:spPr>
        <p:txBody>
          <a:bodyPr>
            <a:noAutofit/>
          </a:bodyPr>
          <a:lstStyle>
            <a:lvl1pPr marL="0" indent="0">
              <a:buNone/>
              <a:defRPr sz="405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5946323" y="1857875"/>
            <a:ext cx="3232208" cy="279676"/>
          </a:xfrm>
          <a:prstGeom prst="rect">
            <a:avLst/>
          </a:prstGeom>
        </p:spPr>
        <p:txBody>
          <a:bodyPr>
            <a:noAutofit/>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285750" y="1747779"/>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31323" y="1857875"/>
            <a:ext cx="3232208" cy="279676"/>
          </a:xfrm>
          <a:prstGeom prst="rect">
            <a:avLst/>
          </a:prstGeom>
        </p:spPr>
        <p:txBody>
          <a:bodyPr>
            <a:noAutofit/>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7381876" y="4826001"/>
            <a:ext cx="738188" cy="603250"/>
          </a:xfrm>
          <a:prstGeom prst="rect">
            <a:avLst/>
          </a:prstGeom>
        </p:spPr>
        <p:txBody>
          <a:bodyPr/>
          <a:lstStyle>
            <a:lvl1pPr marL="0" indent="0">
              <a:buNone/>
              <a:defRPr sz="75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7381876" y="3725334"/>
            <a:ext cx="738188" cy="603250"/>
          </a:xfrm>
          <a:prstGeom prst="rect">
            <a:avLst/>
          </a:prstGeom>
        </p:spPr>
        <p:txBody>
          <a:bodyPr/>
          <a:lstStyle>
            <a:lvl1pPr marL="0" indent="0">
              <a:buNone/>
              <a:defRPr sz="75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1472595063"/>
      </p:ext>
    </p:extLst>
  </p:cSld>
  <p:clrMapOvr>
    <a:masterClrMapping/>
  </p:clrMapOvr>
  <p:extLst>
    <p:ext uri="{DCECCB84-F9BA-43D5-87BE-67443E8EF086}">
      <p15:sldGuideLst xmlns:p15="http://schemas.microsoft.com/office/powerpoint/2012/main">
        <p15:guide id="1" orient="horz" pos="1100" userDrawn="1">
          <p15:clr>
            <a:srgbClr val="FBAE40"/>
          </p15:clr>
        </p15:guide>
        <p15:guide id="2" orient="horz" pos="1200" userDrawn="1">
          <p15:clr>
            <a:srgbClr val="FBAE40"/>
          </p15:clr>
        </p15:guide>
        <p15:guide id="6" orient="horz" pos="1880" userDrawn="1">
          <p15:clr>
            <a:srgbClr val="FBAE40"/>
          </p15:clr>
        </p15:guide>
        <p15:guide id="7" orient="horz" pos="2360" userDrawn="1">
          <p15:clr>
            <a:srgbClr val="FBAE40"/>
          </p15:clr>
        </p15:guide>
        <p15:guide id="8" orient="horz" pos="2680" userDrawn="1">
          <p15:clr>
            <a:srgbClr val="FBAE40"/>
          </p15:clr>
        </p15:guide>
        <p15:guide id="9" orient="horz" pos="3040" userDrawn="1">
          <p15:clr>
            <a:srgbClr val="FBAE40"/>
          </p15:clr>
        </p15:guide>
        <p15:guide id="10" orient="horz" pos="3860" userDrawn="1">
          <p15:clr>
            <a:srgbClr val="FBAE40"/>
          </p15:clr>
        </p15:guide>
        <p15:guide id="11" pos="3345" userDrawn="1">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02415" y="2413004"/>
            <a:ext cx="510777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5946321" y="2287751"/>
            <a:ext cx="2173743" cy="3808244"/>
          </a:xfrm>
          <a:prstGeom prst="rect">
            <a:avLst/>
          </a:prstGeom>
        </p:spPr>
        <p:txBody>
          <a:bodyPr>
            <a:noAutofit/>
          </a:bodyPr>
          <a:lstStyle>
            <a:lvl1pPr marL="107154" indent="-107154">
              <a:buFont typeface="Courier New" panose="02070309020205020404" pitchFamily="49" charset="0"/>
              <a:buChar char="o"/>
              <a:defRPr sz="75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5946323" y="1857875"/>
            <a:ext cx="3232208" cy="279676"/>
          </a:xfrm>
          <a:prstGeom prst="rect">
            <a:avLst/>
          </a:prstGeom>
        </p:spPr>
        <p:txBody>
          <a:bodyPr>
            <a:noAutofit/>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285750" y="1747779"/>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31323" y="1857875"/>
            <a:ext cx="3232208" cy="279676"/>
          </a:xfrm>
          <a:prstGeom prst="rect">
            <a:avLst/>
          </a:prstGeom>
        </p:spPr>
        <p:txBody>
          <a:bodyPr>
            <a:noAutofit/>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285623218"/>
      </p:ext>
    </p:extLst>
  </p:cSld>
  <p:clrMapOvr>
    <a:masterClrMapping/>
  </p:clrMapOvr>
  <p:extLst>
    <p:ext uri="{DCECCB84-F9BA-43D5-87BE-67443E8EF086}">
      <p15:sldGuideLst xmlns:p15="http://schemas.microsoft.com/office/powerpoint/2012/main">
        <p15:guide id="1" orient="horz" pos="1100" userDrawn="1">
          <p15:clr>
            <a:srgbClr val="FBAE40"/>
          </p15:clr>
        </p15:guide>
        <p15:guide id="2" orient="horz" pos="1200" userDrawn="1">
          <p15:clr>
            <a:srgbClr val="FBAE40"/>
          </p15:clr>
        </p15:guide>
        <p15:guide id="6" orient="horz" pos="1880" userDrawn="1">
          <p15:clr>
            <a:srgbClr val="FBAE40"/>
          </p15:clr>
        </p15:guide>
        <p15:guide id="7" orient="horz" pos="2360" userDrawn="1">
          <p15:clr>
            <a:srgbClr val="FBAE40"/>
          </p15:clr>
        </p15:guide>
        <p15:guide id="8" orient="horz" pos="2680" userDrawn="1">
          <p15:clr>
            <a:srgbClr val="FBAE40"/>
          </p15:clr>
        </p15:guide>
        <p15:guide id="9" orient="horz" pos="3040" userDrawn="1">
          <p15:clr>
            <a:srgbClr val="FBAE40"/>
          </p15:clr>
        </p15:guide>
        <p15:guide id="11" pos="3345" userDrawn="1">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6548438" y="4000500"/>
            <a:ext cx="0" cy="20002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4514634" y="2283270"/>
            <a:ext cx="4257777" cy="1174311"/>
          </a:xfrm>
          <a:prstGeom prst="rect">
            <a:avLst/>
          </a:prstGeom>
        </p:spPr>
        <p:txBody>
          <a:bodyPr>
            <a:noAutofit/>
          </a:bodyPr>
          <a:lstStyle>
            <a:lvl1pPr marL="0" indent="0">
              <a:buNone/>
              <a:defRPr sz="625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6750527" y="4631611"/>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4620238" y="3810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4559976" y="39532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4543425" y="4631611"/>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202416" y="2413004"/>
            <a:ext cx="4311106"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4564063" y="1857875"/>
            <a:ext cx="3232208" cy="279676"/>
          </a:xfrm>
          <a:prstGeom prst="rect">
            <a:avLst/>
          </a:prstGeom>
        </p:spPr>
        <p:txBody>
          <a:bodyPr>
            <a:noAutofit/>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285750" y="1747779"/>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231323" y="1857875"/>
            <a:ext cx="3232208" cy="279676"/>
          </a:xfrm>
          <a:prstGeom prst="rect">
            <a:avLst/>
          </a:prstGeom>
        </p:spPr>
        <p:txBody>
          <a:bodyPr>
            <a:noAutofit/>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6782476" y="39532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3232769245"/>
      </p:ext>
    </p:extLst>
  </p:cSld>
  <p:clrMapOvr>
    <a:masterClrMapping/>
  </p:clrMapOvr>
  <p:extLst>
    <p:ext uri="{DCECCB84-F9BA-43D5-87BE-67443E8EF086}">
      <p15:sldGuideLst xmlns:p15="http://schemas.microsoft.com/office/powerpoint/2012/main">
        <p15:guide id="3" orient="horz" pos="2400" userDrawn="1">
          <p15:clr>
            <a:srgbClr val="FBAE40"/>
          </p15:clr>
        </p15:guide>
        <p15:guide id="4" orient="horz" pos="2520" userDrawn="1">
          <p15:clr>
            <a:srgbClr val="FBAE40"/>
          </p15:clr>
        </p15:guide>
        <p15:guide id="5" orient="horz" pos="3780" userDrawn="1">
          <p15:clr>
            <a:srgbClr val="FBAE40"/>
          </p15:clr>
        </p15:guide>
        <p15:guide id="8" orient="horz" pos="1200" userDrawn="1">
          <p15:clr>
            <a:srgbClr val="FBAE40"/>
          </p15:clr>
        </p15:guide>
        <p15:guide id="9" orient="horz" pos="1560" userDrawn="1">
          <p15:clr>
            <a:srgbClr val="FBAE40"/>
          </p15:clr>
        </p15:guide>
        <p15:guide id="11" orient="horz" pos="3000" userDrawn="1">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285750" y="1778000"/>
            <a:ext cx="392906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4905375" y="1778000"/>
            <a:ext cx="395287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235111" y="1857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4848667" y="1857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285750" y="2413004"/>
            <a:ext cx="392906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4921250" y="2413004"/>
            <a:ext cx="392906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1876356085"/>
      </p:ext>
    </p:extLst>
  </p:cSld>
  <p:clrMapOvr>
    <a:masterClrMapping/>
  </p:clrMapOvr>
  <p:extLst>
    <p:ext uri="{DCECCB84-F9BA-43D5-87BE-67443E8EF086}">
      <p15:sldGuideLst xmlns:p15="http://schemas.microsoft.com/office/powerpoint/2012/main">
        <p15:guide id="1" pos="2655" userDrawn="1">
          <p15:clr>
            <a:srgbClr val="FBAE40"/>
          </p15:clr>
        </p15:guide>
        <p15:guide id="3" orient="horz" pos="1120" userDrawn="1">
          <p15:clr>
            <a:srgbClr val="FBAE40"/>
          </p15:clr>
        </p15:guide>
        <p15:guide id="4" orient="horz" pos="1200" userDrawn="1">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285750" y="2103834"/>
            <a:ext cx="4033938" cy="176784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4614520" y="2103836"/>
            <a:ext cx="4332882" cy="3992166"/>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285750" y="4000524"/>
            <a:ext cx="4167188"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285751" y="1778000"/>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4620238" y="1778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4615539" y="18542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234039" y="18542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285750" y="4326334"/>
            <a:ext cx="4033938" cy="176784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234039" y="40767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3430225"/>
      </p:ext>
    </p:extLst>
  </p:cSld>
  <p:clrMapOvr>
    <a:masterClrMapping/>
  </p:clrMapOvr>
  <p:extLst>
    <p:ext uri="{DCECCB84-F9BA-43D5-87BE-67443E8EF086}">
      <p15:sldGuideLst xmlns:p15="http://schemas.microsoft.com/office/powerpoint/2012/main">
        <p15:guide id="1" orient="horz" pos="1120" userDrawn="1">
          <p15:clr>
            <a:srgbClr val="FBAE40"/>
          </p15:clr>
        </p15:guide>
        <p15:guide id="2" orient="horz" pos="2460" userDrawn="1">
          <p15:clr>
            <a:srgbClr val="FBAE40"/>
          </p15:clr>
        </p15:guide>
        <p15:guide id="3" orient="horz" pos="1320" userDrawn="1">
          <p15:clr>
            <a:srgbClr val="FBAE40"/>
          </p15:clr>
        </p15:guide>
        <p15:guide id="4" orient="horz" pos="2720" userDrawn="1">
          <p15:clr>
            <a:srgbClr val="FBAE40"/>
          </p15:clr>
        </p15:guide>
        <p15:guide id="5" pos="2715" userDrawn="1">
          <p15:clr>
            <a:srgbClr val="FBAE40"/>
          </p15:clr>
        </p15:guide>
        <p15:guide id="7" pos="5640" userDrawn="1">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285750" y="1333500"/>
            <a:ext cx="8239125" cy="479425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11676781"/>
      </p:ext>
    </p:extLst>
  </p:cSld>
  <p:clrMapOvr>
    <a:masterClrMapping/>
  </p:clrMapOvr>
  <p:extLst>
    <p:ext uri="{DCECCB84-F9BA-43D5-87BE-67443E8EF086}">
      <p15:sldGuideLst xmlns:p15="http://schemas.microsoft.com/office/powerpoint/2012/main">
        <p15:guide id="1" orient="horz" pos="1220" userDrawn="1">
          <p15:clr>
            <a:srgbClr val="FBAE40"/>
          </p15:clr>
        </p15:guide>
        <p15:guide id="2" orient="horz" pos="840" userDrawn="1">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285750" y="1905000"/>
            <a:ext cx="8572500" cy="384175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754244798"/>
      </p:ext>
    </p:extLst>
  </p:cSld>
  <p:clrMapOvr>
    <a:masterClrMapping/>
  </p:clrMapOvr>
  <p:extLst>
    <p:ext uri="{DCECCB84-F9BA-43D5-87BE-67443E8EF086}">
      <p15:sldGuideLst xmlns:p15="http://schemas.microsoft.com/office/powerpoint/2012/main">
        <p15:guide id="1" pos="5730" userDrawn="1">
          <p15:clr>
            <a:srgbClr val="FBAE40"/>
          </p15:clr>
        </p15:guide>
        <p15:guide id="2" orient="horz" pos="1200" userDrawn="1">
          <p15:clr>
            <a:srgbClr val="FBAE40"/>
          </p15:clr>
        </p15:guide>
        <p15:guide id="3" orient="horz" pos="3620" userDrawn="1">
          <p15:clr>
            <a:srgbClr val="FBAE40"/>
          </p15:clr>
        </p15:guide>
        <p15:guide id="4" pos="568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328314" y="2996234"/>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40906" y="3000203"/>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41241" y="3238602"/>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423703" y="2394429"/>
            <a:ext cx="812257" cy="263058"/>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8504148" y="6360735"/>
            <a:ext cx="319576" cy="22518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5450594"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24293" y="333737"/>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328314" y="3643525"/>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40906" y="3647494"/>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41241" y="3885893"/>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328314" y="4274427"/>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40906" y="4278396"/>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41241" y="4516795"/>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3218677" y="2996234"/>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3422986" y="3000203"/>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3423321" y="3238602"/>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3305783" y="2394429"/>
            <a:ext cx="812257" cy="263058"/>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3218677" y="3643525"/>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3422986" y="3647494"/>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3423321" y="3885893"/>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3218677" y="4274427"/>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3422986" y="4278396"/>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3423321" y="4516795"/>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6123200" y="2996234"/>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6150167" y="3000203"/>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6150503" y="3238602"/>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6218590" y="2394429"/>
            <a:ext cx="812257" cy="263058"/>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6123200" y="3643525"/>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6150167" y="3647494"/>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6150503" y="3885893"/>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6123200" y="4274427"/>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6150167" y="4278396"/>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6150503" y="4516795"/>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Tree>
    <p:extLst>
      <p:ext uri="{BB962C8B-B14F-4D97-AF65-F5344CB8AC3E}">
        <p14:creationId xmlns:p14="http://schemas.microsoft.com/office/powerpoint/2010/main" val="106884214"/>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1600" userDrawn="1">
          <p15:clr>
            <a:srgbClr val="FBAE40"/>
          </p15:clr>
        </p15:guide>
        <p15:guide id="3" orient="horz" pos="1920" userDrawn="1">
          <p15:clr>
            <a:srgbClr val="FBAE40"/>
          </p15:clr>
        </p15:guide>
        <p15:guide id="4" orient="horz" pos="2320" userDrawn="1">
          <p15:clr>
            <a:srgbClr val="FBAE40"/>
          </p15:clr>
        </p15:guide>
        <p15:guide id="5" orient="horz" pos="2720"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076271" y="1291167"/>
            <a:ext cx="6939279" cy="520446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845013" y="3186404"/>
            <a:ext cx="1111178" cy="365125"/>
          </a:xfrm>
          <a:prstGeom prst="rect">
            <a:avLst/>
          </a:prstGeom>
        </p:spPr>
        <p:txBody>
          <a:bodyPr anchor="ctr">
            <a:normAutofit/>
          </a:bodyPr>
          <a:lstStyle>
            <a:lvl1pPr marL="0" indent="0" algn="l">
              <a:buNone/>
              <a:defRPr sz="1125"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630836" y="3186404"/>
            <a:ext cx="279287" cy="365125"/>
          </a:xfrm>
          <a:prstGeom prst="rect">
            <a:avLst/>
          </a:prstGeom>
        </p:spPr>
        <p:txBody>
          <a:bodyPr anchor="ctr">
            <a:normAutofit/>
          </a:bodyPr>
          <a:lstStyle>
            <a:lvl1pPr marL="0" indent="0" algn="r">
              <a:buNone/>
              <a:defRPr sz="1125"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820165" y="4935881"/>
            <a:ext cx="1111178" cy="365125"/>
          </a:xfrm>
          <a:prstGeom prst="rect">
            <a:avLst/>
          </a:prstGeom>
        </p:spPr>
        <p:txBody>
          <a:bodyPr anchor="ctr">
            <a:normAutofit/>
          </a:bodyPr>
          <a:lstStyle>
            <a:lvl1pPr marL="0" indent="0" algn="l">
              <a:buNone/>
              <a:defRPr sz="1125"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605988" y="4935881"/>
            <a:ext cx="279287" cy="365125"/>
          </a:xfrm>
          <a:prstGeom prst="rect">
            <a:avLst/>
          </a:prstGeom>
        </p:spPr>
        <p:txBody>
          <a:bodyPr anchor="ctr">
            <a:normAutofit/>
          </a:bodyPr>
          <a:lstStyle>
            <a:lvl1pPr marL="0" indent="0" algn="r">
              <a:buNone/>
              <a:defRPr sz="1125"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7819320" y="3552667"/>
            <a:ext cx="1111178" cy="365125"/>
          </a:xfrm>
          <a:prstGeom prst="rect">
            <a:avLst/>
          </a:prstGeom>
        </p:spPr>
        <p:txBody>
          <a:bodyPr anchor="ctr">
            <a:normAutofit/>
          </a:bodyPr>
          <a:lstStyle>
            <a:lvl1pPr marL="0" indent="0" algn="l">
              <a:buNone/>
              <a:defRPr sz="1125"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7605143" y="3552667"/>
            <a:ext cx="279287" cy="365125"/>
          </a:xfrm>
          <a:prstGeom prst="rect">
            <a:avLst/>
          </a:prstGeom>
        </p:spPr>
        <p:txBody>
          <a:bodyPr anchor="ctr">
            <a:normAutofit/>
          </a:bodyPr>
          <a:lstStyle>
            <a:lvl1pPr marL="0" indent="0" algn="r">
              <a:buNone/>
              <a:defRPr sz="1125"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7822745" y="4921207"/>
            <a:ext cx="1111178" cy="365125"/>
          </a:xfrm>
          <a:prstGeom prst="rect">
            <a:avLst/>
          </a:prstGeom>
        </p:spPr>
        <p:txBody>
          <a:bodyPr anchor="ctr">
            <a:normAutofit/>
          </a:bodyPr>
          <a:lstStyle>
            <a:lvl1pPr marL="0" indent="0" algn="l">
              <a:buNone/>
              <a:defRPr sz="1125"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7608568" y="4921207"/>
            <a:ext cx="279287" cy="365125"/>
          </a:xfrm>
          <a:prstGeom prst="rect">
            <a:avLst/>
          </a:prstGeom>
        </p:spPr>
        <p:txBody>
          <a:bodyPr anchor="ctr">
            <a:normAutofit/>
          </a:bodyPr>
          <a:lstStyle>
            <a:lvl1pPr marL="0" indent="0" algn="r">
              <a:buNone/>
              <a:defRPr sz="1125"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317502063"/>
      </p:ext>
    </p:extLst>
  </p:cSld>
  <p:clrMapOvr>
    <a:masterClrMapping/>
  </p:clrMapOvr>
  <p:extLst>
    <p:ext uri="{DCECCB84-F9BA-43D5-87BE-67443E8EF086}">
      <p15:sldGuideLst xmlns:p15="http://schemas.microsoft.com/office/powerpoint/2012/main">
        <p15:guide id="3" orient="horz" pos="2243" userDrawn="1">
          <p15:clr>
            <a:srgbClr val="FBAE40"/>
          </p15:clr>
        </p15:guide>
        <p15:guide id="5" pos="1350" userDrawn="1">
          <p15:clr>
            <a:srgbClr val="FBAE40"/>
          </p15:clr>
        </p15:guide>
        <p15:guide id="6" orient="horz" pos="860" userDrawn="1">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805816" y="1208536"/>
            <a:ext cx="7298055" cy="547354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8682909" y="6343906"/>
            <a:ext cx="231295" cy="145566"/>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5591566" y="6346332"/>
            <a:ext cx="3086100" cy="182432"/>
          </a:xfrm>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422425" y="3214688"/>
            <a:ext cx="1111178" cy="365125"/>
          </a:xfrm>
          <a:prstGeom prst="rect">
            <a:avLst/>
          </a:prstGeom>
        </p:spPr>
        <p:txBody>
          <a:bodyPr anchor="ctr">
            <a:normAutofit/>
          </a:bodyPr>
          <a:lstStyle>
            <a:lvl1pPr>
              <a:defRPr lang="en-US" sz="1125"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47011" y="3214688"/>
            <a:ext cx="446117" cy="365125"/>
          </a:xfrm>
          <a:prstGeom prst="rect">
            <a:avLst/>
          </a:prstGeom>
        </p:spPr>
        <p:txBody>
          <a:bodyPr anchor="ctr">
            <a:normAutofit/>
          </a:bodyPr>
          <a:lstStyle>
            <a:lvl1pPr marL="0" indent="0" algn="r">
              <a:buNone/>
              <a:defRPr sz="1125"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009800" y="5045604"/>
            <a:ext cx="1111178" cy="365125"/>
          </a:xfrm>
          <a:prstGeom prst="rect">
            <a:avLst/>
          </a:prstGeom>
        </p:spPr>
        <p:txBody>
          <a:bodyPr anchor="ctr">
            <a:normAutofit/>
          </a:bodyPr>
          <a:lstStyle>
            <a:lvl1pPr marL="0" indent="0" algn="l">
              <a:buNone/>
              <a:defRPr sz="1125"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634386" y="5045604"/>
            <a:ext cx="446117" cy="365125"/>
          </a:xfrm>
          <a:prstGeom prst="rect">
            <a:avLst/>
          </a:prstGeom>
        </p:spPr>
        <p:txBody>
          <a:bodyPr anchor="ctr">
            <a:normAutofit/>
          </a:bodyPr>
          <a:lstStyle>
            <a:lvl1pPr marL="0" indent="0" algn="r">
              <a:buNone/>
              <a:defRPr sz="1125"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7779117" y="4960938"/>
            <a:ext cx="1111178" cy="365125"/>
          </a:xfrm>
          <a:prstGeom prst="rect">
            <a:avLst/>
          </a:prstGeom>
        </p:spPr>
        <p:txBody>
          <a:bodyPr anchor="ctr">
            <a:normAutofit/>
          </a:bodyPr>
          <a:lstStyle>
            <a:lvl1pPr marL="0" indent="0" algn="l">
              <a:buNone/>
              <a:defRPr sz="1125"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7403703" y="4960938"/>
            <a:ext cx="446117" cy="365125"/>
          </a:xfrm>
          <a:prstGeom prst="rect">
            <a:avLst/>
          </a:prstGeom>
        </p:spPr>
        <p:txBody>
          <a:bodyPr anchor="ctr">
            <a:normAutofit/>
          </a:bodyPr>
          <a:lstStyle>
            <a:lvl1pPr marL="0" indent="0" algn="r">
              <a:buNone/>
              <a:defRPr sz="1125"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7625482" y="3574521"/>
            <a:ext cx="1111178" cy="365125"/>
          </a:xfrm>
          <a:prstGeom prst="rect">
            <a:avLst/>
          </a:prstGeom>
        </p:spPr>
        <p:txBody>
          <a:bodyPr anchor="ctr">
            <a:normAutofit/>
          </a:bodyPr>
          <a:lstStyle>
            <a:lvl1pPr marL="0" indent="0" algn="l">
              <a:buNone/>
              <a:defRPr sz="1125"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7250068" y="3574521"/>
            <a:ext cx="446117" cy="365125"/>
          </a:xfrm>
          <a:prstGeom prst="rect">
            <a:avLst/>
          </a:prstGeom>
        </p:spPr>
        <p:txBody>
          <a:bodyPr anchor="ctr">
            <a:normAutofit/>
          </a:bodyPr>
          <a:lstStyle>
            <a:lvl1pPr marL="0" indent="0" algn="r">
              <a:buNone/>
              <a:defRPr sz="1125"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3023706122"/>
      </p:ext>
    </p:extLst>
  </p:cSld>
  <p:clrMapOvr>
    <a:masterClrMapping/>
  </p:clrMapOvr>
  <p:extLst>
    <p:ext uri="{DCECCB84-F9BA-43D5-87BE-67443E8EF086}">
      <p15:sldGuideLst xmlns:p15="http://schemas.microsoft.com/office/powerpoint/2012/main">
        <p15:guide id="2" orient="horz" pos="1060" userDrawn="1">
          <p15:clr>
            <a:srgbClr val="FBAE40"/>
          </p15:clr>
        </p15:guide>
        <p15:guide id="3" orient="horz" pos="2160" userDrawn="1">
          <p15:clr>
            <a:srgbClr val="FBAE40"/>
          </p15:clr>
        </p15:guide>
        <p15:guide id="4" orient="horz" pos="3240" userDrawn="1">
          <p15:clr>
            <a:srgbClr val="FBAE40"/>
          </p15:clr>
        </p15:guide>
        <p15:guide id="5" pos="705" userDrawn="1">
          <p15:clr>
            <a:srgbClr val="FBAE40"/>
          </p15:clr>
        </p15:guide>
        <p15:guide id="6" pos="4815" userDrawn="1">
          <p15:clr>
            <a:srgbClr val="FBAE40"/>
          </p15:clr>
        </p15:guide>
        <p15:guide id="7" orient="horz" pos="2360" userDrawn="1">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273202" y="2431839"/>
            <a:ext cx="8585048" cy="1898069"/>
          </a:xfrm>
          <a:prstGeom prst="rect">
            <a:avLst/>
          </a:prstGeom>
        </p:spPr>
        <p:txBody>
          <a:bodyPr anchor="ctr" anchorCtr="0"/>
          <a:lstStyle>
            <a:lvl1pPr marL="0" indent="0" algn="ctr">
              <a:buNone/>
              <a:defRPr sz="5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8666946" y="6355734"/>
            <a:ext cx="276813" cy="201281"/>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5493159" y="6353207"/>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23656" y="6346332"/>
            <a:ext cx="1416244" cy="182432"/>
          </a:xfrm>
          <a:prstGeom prst="rect">
            <a:avLst/>
          </a:prstGeom>
        </p:spPr>
        <p:txBody>
          <a:bodyPr vert="horz" lIns="57150" tIns="28575" rIns="57150" bIns="28575"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60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18780926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285750" y="2479972"/>
            <a:ext cx="8572500" cy="1898069"/>
          </a:xfrm>
          <a:prstGeom prst="rect">
            <a:avLst/>
          </a:prstGeom>
        </p:spPr>
        <p:txBody>
          <a:bodyPr anchor="ctr" anchorCtr="0"/>
          <a:lstStyle>
            <a:lvl1pPr marL="0" indent="0" algn="ctr">
              <a:lnSpc>
                <a:spcPct val="85000"/>
              </a:lnSpc>
              <a:buNone/>
              <a:defRPr sz="5000" b="1" i="0">
                <a:solidFill>
                  <a:srgbClr val="FFFFFF"/>
                </a:solidFill>
                <a:latin typeface="IBM Eliot Sans" panose="020B0503050000000000"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3137080" y="5661378"/>
            <a:ext cx="2879581" cy="261460"/>
          </a:xfrm>
          <a:prstGeom prst="rect">
            <a:avLst/>
          </a:prstGeom>
        </p:spPr>
        <p:txBody>
          <a:bodyPr/>
          <a:lstStyle>
            <a:lvl1pPr marL="0" indent="0" algn="ctr">
              <a:buNone/>
              <a:defRPr sz="1125" b="1" i="0">
                <a:solidFill>
                  <a:srgbClr val="FFFFFF"/>
                </a:solidFill>
                <a:latin typeface="IBM Eliot Sans Medium" panose="020B0703050000000000"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3401674" y="5881430"/>
            <a:ext cx="2353388" cy="261460"/>
          </a:xfrm>
          <a:prstGeom prst="rect">
            <a:avLst/>
          </a:prstGeom>
        </p:spPr>
        <p:txBody>
          <a:bodyPr/>
          <a:lstStyle>
            <a:lvl1pPr marL="0" indent="0" algn="ctr">
              <a:buNone/>
              <a:defRPr sz="1125" b="0" i="0">
                <a:solidFill>
                  <a:srgbClr val="FFFFFF"/>
                </a:solidFill>
                <a:latin typeface="IBM Eliot Sans Medium" panose="020B0703050000000000"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1342E068-E1BA-1E48-9684-3623C6CC8006}"/>
              </a:ext>
            </a:extLst>
          </p:cNvPr>
          <p:cNvPicPr>
            <a:picLocks noChangeAspect="1"/>
          </p:cNvPicPr>
          <p:nvPr userDrawn="1"/>
        </p:nvPicPr>
        <p:blipFill>
          <a:blip r:embed="rId2"/>
          <a:stretch>
            <a:fillRect/>
          </a:stretch>
        </p:blipFill>
        <p:spPr>
          <a:xfrm>
            <a:off x="3753144" y="381000"/>
            <a:ext cx="1637711" cy="950782"/>
          </a:xfrm>
          <a:prstGeom prst="rect">
            <a:avLst/>
          </a:prstGeom>
        </p:spPr>
      </p:pic>
      <p:sp>
        <p:nvSpPr>
          <p:cNvPr id="7" name="Footer Placeholder 3">
            <a:extLst>
              <a:ext uri="{FF2B5EF4-FFF2-40B4-BE49-F238E27FC236}">
                <a16:creationId xmlns:a16="http://schemas.microsoft.com/office/drawing/2014/main" id="{D07508AA-6540-C641-8C63-2E8E69851B65}"/>
              </a:ext>
            </a:extLst>
          </p:cNvPr>
          <p:cNvSpPr txBox="1">
            <a:spLocks/>
          </p:cNvSpPr>
          <p:nvPr userDrawn="1"/>
        </p:nvSpPr>
        <p:spPr>
          <a:xfrm>
            <a:off x="1550033" y="6333894"/>
            <a:ext cx="4197340" cy="225402"/>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Segoe UI" panose="020B0502040204020203" pitchFamily="34" charset="0"/>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dirty="0">
                <a:solidFill>
                  <a:srgbClr val="FFFFFF"/>
                </a:solidFill>
              </a:rPr>
              <a:t>For Financial Professional Use Only</a:t>
            </a:r>
          </a:p>
        </p:txBody>
      </p:sp>
    </p:spTree>
    <p:extLst>
      <p:ext uri="{BB962C8B-B14F-4D97-AF65-F5344CB8AC3E}">
        <p14:creationId xmlns:p14="http://schemas.microsoft.com/office/powerpoint/2010/main" val="3965813069"/>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285751" y="4939220"/>
            <a:ext cx="8572499" cy="1291040"/>
          </a:xfrm>
          <a:prstGeom prst="rect">
            <a:avLst/>
          </a:prstGeom>
        </p:spPr>
        <p:txBody>
          <a:bodyPr/>
          <a:lstStyle>
            <a:lvl1pPr marL="0" indent="0" algn="ctr">
              <a:buNone/>
              <a:defRPr sz="3376" b="1" i="0">
                <a:solidFill>
                  <a:srgbClr val="FFFFFF"/>
                </a:solidFill>
                <a:latin typeface="IBM Eliot Sans" panose="020B0503050000000000" pitchFamily="34" charset="0"/>
              </a:defRPr>
            </a:lvl1pPr>
          </a:lstStyle>
          <a:p>
            <a:pPr lvl="0"/>
            <a:r>
              <a:rPr lang="en-US" dirty="0"/>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0439566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355399" y="419100"/>
            <a:ext cx="1978683" cy="254382"/>
          </a:xfrm>
          <a:prstGeom prst="rect">
            <a:avLst/>
          </a:prstGeom>
        </p:spPr>
        <p:txBody>
          <a:bodyPr anchor="b">
            <a:noAutofit/>
          </a:bodyPr>
          <a:lstStyle>
            <a:lvl1pPr algn="l">
              <a:defRPr sz="10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341475" y="1062708"/>
            <a:ext cx="3503900" cy="589400"/>
          </a:xfrm>
          <a:prstGeom prst="rect">
            <a:avLst/>
          </a:prstGeom>
        </p:spPr>
        <p:txBody>
          <a:bodyPr anchor="ctr" anchorCtr="0">
            <a:noAutofit/>
          </a:bodyPr>
          <a:lstStyle>
            <a:lvl1pPr marL="0" indent="0" algn="l">
              <a:buNone/>
              <a:defRPr sz="3438" b="1" i="0">
                <a:solidFill>
                  <a:srgbClr val="FFFFFF"/>
                </a:solidFill>
                <a:latin typeface="IBM Eliot Sans Medium" panose="020B07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341477" y="1755246"/>
            <a:ext cx="3503899" cy="1673756"/>
          </a:xfrm>
          <a:prstGeom prst="rect">
            <a:avLst/>
          </a:prstGeom>
        </p:spPr>
        <p:txBody>
          <a:bodyPr/>
          <a:lstStyle>
            <a:lvl1pPr marL="0" indent="0">
              <a:buNone/>
              <a:defRPr sz="3438"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8628361" y="6343905"/>
            <a:ext cx="285843" cy="201273"/>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555031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261825273"/>
      </p:ext>
    </p:extLst>
  </p:cSld>
  <p:clrMapOvr>
    <a:masterClrMapping/>
  </p:clrMapOvr>
  <p:extLst>
    <p:ext uri="{DCECCB84-F9BA-43D5-87BE-67443E8EF086}">
      <p15:sldGuideLst xmlns:p15="http://schemas.microsoft.com/office/powerpoint/2012/main">
        <p15:guide id="1" orient="horz" pos="294" userDrawn="1">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0381" y="65048"/>
            <a:ext cx="1527372" cy="1905000"/>
          </a:xfrm>
          <a:prstGeom prst="rect">
            <a:avLst/>
          </a:prstGeom>
        </p:spPr>
        <p:txBody>
          <a:bodyPr anchor="b">
            <a:normAutofit/>
          </a:bodyPr>
          <a:lstStyle>
            <a:lvl1pPr algn="l">
              <a:defRPr sz="9375" b="1" i="0">
                <a:solidFill>
                  <a:srgbClr val="73C0FF"/>
                </a:solidFill>
                <a:latin typeface="IBM Eliot Sans" panose="020B0503050000000000"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45533" y="2211660"/>
            <a:ext cx="3506718" cy="2233341"/>
          </a:xfrm>
          <a:prstGeom prst="rect">
            <a:avLst/>
          </a:prstGeom>
        </p:spPr>
        <p:txBody>
          <a:bodyPr>
            <a:noAutofit/>
          </a:bodyPr>
          <a:lstStyle>
            <a:lvl1pPr marL="0" indent="0" algn="l">
              <a:buNone/>
              <a:defRPr sz="3438" b="1" i="0">
                <a:solidFill>
                  <a:srgbClr val="FFFFFF"/>
                </a:solidFill>
                <a:latin typeface="IBM Eliot Sans Medium" panose="020B07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8621487" y="6343906"/>
            <a:ext cx="292718" cy="133094"/>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555031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06142835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_EQB_04">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BD66A3-0EDE-C940-9AFE-0C44154DCBEC}"/>
              </a:ext>
            </a:extLst>
          </p:cNvPr>
          <p:cNvSpPr>
            <a:spLocks noGrp="1"/>
          </p:cNvSpPr>
          <p:nvPr>
            <p:ph type="pic" sz="quarter" idx="14"/>
          </p:nvPr>
        </p:nvSpPr>
        <p:spPr>
          <a:xfrm>
            <a:off x="4572000" y="0"/>
            <a:ext cx="4572000" cy="68580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3" name="Slide Number Placeholder 2">
            <a:extLst>
              <a:ext uri="{FF2B5EF4-FFF2-40B4-BE49-F238E27FC236}">
                <a16:creationId xmlns:a16="http://schemas.microsoft.com/office/drawing/2014/main" id="{A6D8B1B1-53FF-7846-B33B-C48FA774DAB4}"/>
              </a:ext>
            </a:extLst>
          </p:cNvPr>
          <p:cNvSpPr>
            <a:spLocks noGrp="1"/>
          </p:cNvSpPr>
          <p:nvPr>
            <p:ph type="sldNum" sz="quarter" idx="10"/>
          </p:nvPr>
        </p:nvSpPr>
        <p:spPr>
          <a:xfrm>
            <a:off x="8566484" y="6350416"/>
            <a:ext cx="365019" cy="304765"/>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34B305FC-CE85-9C4D-9496-9E13F5A46672}"/>
              </a:ext>
            </a:extLst>
          </p:cNvPr>
          <p:cNvSpPr>
            <a:spLocks noGrp="1"/>
          </p:cNvSpPr>
          <p:nvPr>
            <p:ph type="ftr" sz="quarter" idx="11"/>
          </p:nvPr>
        </p:nvSpPr>
        <p:spPr>
          <a:xfrm>
            <a:off x="5544140" y="6264639"/>
            <a:ext cx="3086100" cy="365125"/>
          </a:xfrm>
          <a:prstGeom prst="rect">
            <a:avLst/>
          </a:prstGeom>
        </p:spPr>
        <p:txBody>
          <a:bodyPr/>
          <a:lstStyle/>
          <a:p>
            <a:r>
              <a:rPr lang="en-US"/>
              <a:t>Presentation Title Here – Month 00, 000</a:t>
            </a:r>
            <a:endParaRPr lang="en-US" dirty="0"/>
          </a:p>
        </p:txBody>
      </p:sp>
      <p:sp>
        <p:nvSpPr>
          <p:cNvPr id="9" name="Title 1">
            <a:extLst>
              <a:ext uri="{FF2B5EF4-FFF2-40B4-BE49-F238E27FC236}">
                <a16:creationId xmlns:a16="http://schemas.microsoft.com/office/drawing/2014/main" id="{953A63EE-7B5E-AC41-AF30-A8329D900CE3}"/>
              </a:ext>
            </a:extLst>
          </p:cNvPr>
          <p:cNvSpPr>
            <a:spLocks noGrp="1"/>
          </p:cNvSpPr>
          <p:nvPr>
            <p:ph type="ctrTitle" hasCustomPrompt="1"/>
          </p:nvPr>
        </p:nvSpPr>
        <p:spPr>
          <a:xfrm>
            <a:off x="348524" y="416078"/>
            <a:ext cx="1978683" cy="254382"/>
          </a:xfrm>
          <a:prstGeom prst="rect">
            <a:avLst/>
          </a:prstGeom>
        </p:spPr>
        <p:txBody>
          <a:bodyPr anchor="b">
            <a:noAutofit/>
          </a:bodyPr>
          <a:lstStyle>
            <a:lvl1pPr algn="l">
              <a:defRPr sz="10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2" name="Subtitle 2">
            <a:extLst>
              <a:ext uri="{FF2B5EF4-FFF2-40B4-BE49-F238E27FC236}">
                <a16:creationId xmlns:a16="http://schemas.microsoft.com/office/drawing/2014/main" id="{02809DAA-26DF-5B49-97D5-55F4E679A385}"/>
              </a:ext>
            </a:extLst>
          </p:cNvPr>
          <p:cNvSpPr>
            <a:spLocks noGrp="1"/>
          </p:cNvSpPr>
          <p:nvPr>
            <p:ph type="subTitle" idx="1" hasCustomPrompt="1"/>
          </p:nvPr>
        </p:nvSpPr>
        <p:spPr>
          <a:xfrm>
            <a:off x="334600" y="1062708"/>
            <a:ext cx="3503900" cy="589400"/>
          </a:xfrm>
          <a:prstGeom prst="rect">
            <a:avLst/>
          </a:prstGeom>
        </p:spPr>
        <p:txBody>
          <a:bodyPr anchor="ctr" anchorCtr="0">
            <a:noAutofit/>
          </a:bodyPr>
          <a:lstStyle>
            <a:lvl1pPr marL="0" indent="0" algn="l">
              <a:buNone/>
              <a:defRPr sz="3438" b="1" i="0">
                <a:solidFill>
                  <a:srgbClr val="FFFFFF"/>
                </a:solidFill>
                <a:latin typeface="IBM Eliot Sans" panose="020B05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13" name="Text Placeholder 14">
            <a:extLst>
              <a:ext uri="{FF2B5EF4-FFF2-40B4-BE49-F238E27FC236}">
                <a16:creationId xmlns:a16="http://schemas.microsoft.com/office/drawing/2014/main" id="{78F75C61-183D-EF4C-9121-F45C77D48F17}"/>
              </a:ext>
            </a:extLst>
          </p:cNvPr>
          <p:cNvSpPr>
            <a:spLocks noGrp="1"/>
          </p:cNvSpPr>
          <p:nvPr>
            <p:ph type="body" sz="quarter" idx="13" hasCustomPrompt="1"/>
          </p:nvPr>
        </p:nvSpPr>
        <p:spPr>
          <a:xfrm>
            <a:off x="334602" y="1755246"/>
            <a:ext cx="3503899" cy="1673756"/>
          </a:xfrm>
          <a:prstGeom prst="rect">
            <a:avLst/>
          </a:prstGeom>
        </p:spPr>
        <p:txBody>
          <a:bodyPr/>
          <a:lstStyle>
            <a:lvl1pPr marL="0" indent="0">
              <a:buNone/>
              <a:defRPr sz="3438" b="1" i="0">
                <a:solidFill>
                  <a:srgbClr val="73C0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1000963372"/>
      </p:ext>
    </p:extLst>
  </p:cSld>
  <p:clrMapOvr>
    <a:masterClrMapping/>
  </p:clrMapOvr>
  <p:extLst>
    <p:ext uri="{DCECCB84-F9BA-43D5-87BE-67443E8EF086}">
      <p15:sldGuideLst xmlns:p15="http://schemas.microsoft.com/office/powerpoint/2012/main">
        <p15:guide id="1" orient="horz" pos="294" userDrawn="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40148" y="1840515"/>
            <a:ext cx="3945431" cy="1295173"/>
          </a:xfrm>
          <a:prstGeom prst="rect">
            <a:avLst/>
          </a:prstGeom>
        </p:spPr>
        <p:txBody>
          <a:bodyPr anchor="t" anchorCtr="0"/>
          <a:lstStyle>
            <a:lvl1pPr marL="0" indent="0">
              <a:lnSpc>
                <a:spcPct val="85000"/>
              </a:lnSpc>
              <a:buNone/>
              <a:defRPr sz="2813"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3220" y="3365500"/>
            <a:ext cx="3945431" cy="2349500"/>
          </a:xfrm>
          <a:prstGeom prst="rect">
            <a:avLst/>
          </a:prstGeom>
        </p:spPr>
        <p:txBody>
          <a:bodyPr/>
          <a:lstStyle>
            <a:lvl1pPr marL="0" indent="0">
              <a:lnSpc>
                <a:spcPts val="1250"/>
              </a:lnSpc>
              <a:spcBef>
                <a:spcPts val="0"/>
              </a:spcBef>
              <a:buNone/>
              <a:defRPr sz="1000" b="0" i="0" spc="7"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8614611" y="6343906"/>
            <a:ext cx="299593" cy="133094"/>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5529691"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8377312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8683524" y="6350417"/>
            <a:ext cx="247979" cy="291340"/>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5592265" y="6264639"/>
            <a:ext cx="3086100" cy="365125"/>
          </a:xfrm>
          <a:prstGeom prst="rect">
            <a:avLst/>
          </a:prstGeom>
        </p:spPr>
        <p:txBody>
          <a:bodyPr/>
          <a:lstStyle/>
          <a:p>
            <a:r>
              <a:rPr lang="en-US"/>
              <a:t>Presentation Title Here – Month 00, 000</a:t>
            </a:r>
            <a:endParaRPr lang="en-US" dirty="0"/>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4568428" y="0"/>
            <a:ext cx="4575572" cy="6858000"/>
          </a:xfrm>
          <a:prstGeom prst="rect">
            <a:avLst/>
          </a:prstGeom>
          <a:solidFill>
            <a:schemeClr val="bg1">
              <a:lumMod val="95000"/>
            </a:schemeClr>
          </a:solidFill>
          <a:ln>
            <a:noFill/>
          </a:ln>
        </p:spPr>
        <p:txBody>
          <a:bodyPr anchor="ctr"/>
          <a:lstStyle>
            <a:lvl1pPr marL="0" marR="0" indent="0" algn="ctr" defTabSz="685783" rtl="0" eaLnBrk="1" fontAlgn="auto" latinLnBrk="0" hangingPunct="1">
              <a:lnSpc>
                <a:spcPct val="90000"/>
              </a:lnSpc>
              <a:spcBef>
                <a:spcPts val="750"/>
              </a:spcBef>
              <a:spcAft>
                <a:spcPts val="0"/>
              </a:spcAft>
              <a:buClrTx/>
              <a:buSzTx/>
              <a:buFont typeface="Arial" panose="020B0604020202020204" pitchFamily="34" charset="0"/>
              <a:buNone/>
              <a:tabLst/>
              <a:defRPr sz="10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222595" y="3365500"/>
            <a:ext cx="3945431" cy="2349500"/>
          </a:xfrm>
          <a:prstGeom prst="rect">
            <a:avLst/>
          </a:prstGeom>
        </p:spPr>
        <p:txBody>
          <a:bodyPr/>
          <a:lstStyle>
            <a:lvl1pPr marL="0" indent="0">
              <a:lnSpc>
                <a:spcPts val="1250"/>
              </a:lnSpc>
              <a:spcBef>
                <a:spcPts val="0"/>
              </a:spcBef>
              <a:buNone/>
              <a:defRPr sz="1000" b="0" i="0" spc="7"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4087732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3959269" y="2571752"/>
            <a:ext cx="0" cy="677088"/>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6186494" y="2571752"/>
            <a:ext cx="0" cy="677088"/>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513530"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282751" y="4106190"/>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330979" y="3142309"/>
            <a:ext cx="8539820" cy="226613"/>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395730"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1602386" y="2571752"/>
            <a:ext cx="0" cy="677088"/>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485690" y="3377313"/>
            <a:ext cx="2629" cy="559687"/>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2757783" y="3377313"/>
            <a:ext cx="2342" cy="559687"/>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5146571" y="3248839"/>
            <a:ext cx="0" cy="688163"/>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7274396" y="3248839"/>
            <a:ext cx="0" cy="688163"/>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8530383" y="6367610"/>
            <a:ext cx="308355" cy="20274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5471219" y="6370037"/>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29018" y="294467"/>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2798105"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2567326" y="4106190"/>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1636951" y="2236275"/>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1406173" y="2236275"/>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3986463" y="2236275"/>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3755685" y="2236275"/>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6203796" y="2236275"/>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5973018" y="2236275"/>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5186543"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4955766" y="4106190"/>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7313490"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7082712" y="4106190"/>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1511112"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2667680"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3867995"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5055298"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6095220"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7183122"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Tree>
    <p:extLst>
      <p:ext uri="{BB962C8B-B14F-4D97-AF65-F5344CB8AC3E}">
        <p14:creationId xmlns:p14="http://schemas.microsoft.com/office/powerpoint/2010/main" val="1715775544"/>
      </p:ext>
    </p:extLst>
  </p:cSld>
  <p:clrMapOvr>
    <a:masterClrMapping/>
  </p:clrMapOvr>
  <p:extLst>
    <p:ext uri="{DCECCB84-F9BA-43D5-87BE-67443E8EF086}">
      <p15:sldGuideLst xmlns:p15="http://schemas.microsoft.com/office/powerpoint/2012/main">
        <p15:guide id="4" orient="horz" pos="1440" userDrawn="1">
          <p15:clr>
            <a:srgbClr val="FBAE40"/>
          </p15:clr>
        </p15:guide>
        <p15:guide id="5" orient="horz" pos="2800" userDrawn="1">
          <p15:clr>
            <a:srgbClr val="FBAE40"/>
          </p15:clr>
        </p15:guide>
        <p15:guide id="6" orient="horz" pos="2580" userDrawn="1">
          <p15:clr>
            <a:srgbClr val="FBAE40"/>
          </p15:clr>
        </p15:guide>
        <p15:guide id="7" pos="1005" userDrawn="1">
          <p15:clr>
            <a:srgbClr val="FBAE40"/>
          </p15:clr>
        </p15:guide>
        <p15:guide id="8" pos="1740" userDrawn="1">
          <p15:clr>
            <a:srgbClr val="FBAE40"/>
          </p15:clr>
        </p15:guide>
        <p15:guide id="9" pos="2490" userDrawn="1">
          <p15:clr>
            <a:srgbClr val="FBAE40"/>
          </p15:clr>
        </p15:guide>
        <p15:guide id="10" pos="255" userDrawn="1">
          <p15:clr>
            <a:srgbClr val="FBAE40"/>
          </p15:clr>
        </p15:guide>
        <p15:guide id="11" pos="3240" userDrawn="1">
          <p15:clr>
            <a:srgbClr val="FBAE40"/>
          </p15:clr>
        </p15:guide>
        <p15:guide id="12" pos="3975" userDrawn="1">
          <p15:clr>
            <a:srgbClr val="FBAE40"/>
          </p15:clr>
        </p15:guide>
        <p15:guide id="13" orient="horz" pos="1980" userDrawn="1">
          <p15:clr>
            <a:srgbClr val="FBAE40"/>
          </p15:clr>
        </p15:guide>
        <p15:guide id="14" orient="horz" pos="1600" userDrawn="1">
          <p15:clr>
            <a:srgbClr val="FBAE40"/>
          </p15:clr>
        </p15:guide>
        <p15:guide id="15" orient="horz" pos="2500" userDrawn="1">
          <p15:clr>
            <a:srgbClr val="FBAE40"/>
          </p15:clr>
        </p15:guide>
        <p15:guide id="17" pos="4725"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23603" y="1792808"/>
            <a:ext cx="6241852" cy="4310067"/>
          </a:xfrm>
          <a:prstGeom prst="rect">
            <a:avLst/>
          </a:prstGeom>
        </p:spPr>
        <p:txBody>
          <a:bodyPr/>
          <a:lstStyle>
            <a:lvl1pPr marL="0" indent="0">
              <a:lnSpc>
                <a:spcPts val="3438"/>
              </a:lnSpc>
              <a:buNone/>
              <a:defRPr sz="2813"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64080970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78601" y="1785933"/>
            <a:ext cx="6241852" cy="4310067"/>
          </a:xfrm>
          <a:prstGeom prst="rect">
            <a:avLst/>
          </a:prstGeom>
        </p:spPr>
        <p:txBody>
          <a:bodyPr/>
          <a:lstStyle>
            <a:lvl1pPr marL="0" indent="0">
              <a:lnSpc>
                <a:spcPts val="3438"/>
              </a:lnSpc>
              <a:buNone/>
              <a:defRPr sz="2813"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2"/>
          <a:stretch>
            <a:fillRect/>
          </a:stretch>
        </p:blipFill>
        <p:spPr>
          <a:xfrm>
            <a:off x="236892" y="-123242"/>
            <a:ext cx="1143000" cy="15240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8587111" y="6343906"/>
            <a:ext cx="327094" cy="208148"/>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5564065" y="6358284"/>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2139905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285751" y="2286000"/>
            <a:ext cx="4227772"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6713283" y="4318000"/>
            <a:ext cx="0" cy="16827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4517802" y="2558437"/>
            <a:ext cx="4257777" cy="1174311"/>
          </a:xfrm>
          <a:prstGeom prst="rect">
            <a:avLst/>
          </a:prstGeom>
        </p:spPr>
        <p:txBody>
          <a:bodyPr>
            <a:noAutofit/>
          </a:bodyPr>
          <a:lstStyle>
            <a:lvl1pPr marL="0" indent="0">
              <a:buNone/>
              <a:defRPr sz="6250" b="1" i="0">
                <a:solidFill>
                  <a:srgbClr val="73C0FF"/>
                </a:solidFill>
                <a:latin typeface="IBM Eliot Sans" panose="020B0503050000000000"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4620238" y="2286000"/>
            <a:ext cx="4238013"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6760845" y="4790361"/>
            <a:ext cx="2045606" cy="886594"/>
          </a:xfrm>
          <a:prstGeom prst="rect">
            <a:avLst/>
          </a:prstGeom>
        </p:spPr>
        <p:txBody>
          <a:bodyPr>
            <a:noAutofit/>
          </a:bodyPr>
          <a:lstStyle>
            <a:lvl1pPr marL="0" indent="0">
              <a:buNone/>
              <a:defRPr sz="4350" b="1" i="0">
                <a:solidFill>
                  <a:srgbClr val="FFFFFF"/>
                </a:solidFill>
                <a:latin typeface="IBM Eliot Sans" panose="020B0503050000000000"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235111" y="2365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4559976" y="2365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4620238" y="4191000"/>
            <a:ext cx="4238013"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4559976" y="4270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FFFFFF"/>
                </a:solidFill>
                <a:latin typeface="IBM Eliot Sans" panose="020B0503050000000000"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6782476" y="4270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235148" y="2971810"/>
            <a:ext cx="2195567" cy="3101332"/>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smtClean="0">
                <a:solidFill>
                  <a:srgbClr val="FFFFFF"/>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87657634"/>
      </p:ext>
    </p:extLst>
  </p:cSld>
  <p:clrMapOvr>
    <a:masterClrMapping/>
  </p:clrMapOvr>
  <p:extLst>
    <p:ext uri="{DCECCB84-F9BA-43D5-87BE-67443E8EF086}">
      <p15:sldGuideLst xmlns:p15="http://schemas.microsoft.com/office/powerpoint/2012/main">
        <p15:guide id="1" orient="horz" pos="1920" userDrawn="1">
          <p15:clr>
            <a:srgbClr val="FBAE40"/>
          </p15:clr>
        </p15:guide>
        <p15:guide id="2" pos="2910" userDrawn="1">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285751" y="2286000"/>
            <a:ext cx="4227772"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4620238" y="2286000"/>
            <a:ext cx="4238013"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235111" y="2365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6760845" y="4790361"/>
            <a:ext cx="2045606" cy="886594"/>
          </a:xfrm>
          <a:prstGeom prst="rect">
            <a:avLst/>
          </a:prstGeom>
        </p:spPr>
        <p:txBody>
          <a:bodyPr>
            <a:noAutofit/>
          </a:bodyPr>
          <a:lstStyle>
            <a:lvl1pPr marL="0" indent="0">
              <a:buNone/>
              <a:defRPr sz="4350" b="1" i="0">
                <a:solidFill>
                  <a:srgbClr val="FFFFFF"/>
                </a:solidFill>
                <a:latin typeface="IBM Eliot Sans" panose="020B0503050000000000"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4620238" y="4191000"/>
            <a:ext cx="4238013"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4559976" y="4270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FFFFFF"/>
                </a:solidFill>
                <a:latin typeface="IBM Eliot Sans" panose="020B0503050000000000"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6782476" y="4270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6713283" y="4318000"/>
            <a:ext cx="0" cy="16827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6760845" y="2895944"/>
            <a:ext cx="2045606" cy="886594"/>
          </a:xfrm>
          <a:prstGeom prst="rect">
            <a:avLst/>
          </a:prstGeom>
        </p:spPr>
        <p:txBody>
          <a:bodyPr>
            <a:noAutofit/>
          </a:bodyPr>
          <a:lstStyle>
            <a:lvl1pPr marL="0" indent="0">
              <a:buNone/>
              <a:defRPr sz="4350" b="1" i="0">
                <a:solidFill>
                  <a:srgbClr val="FFFFFF"/>
                </a:solidFill>
                <a:latin typeface="IBM Eliot Sans" panose="020B0503050000000000"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4559976" y="2362200"/>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4621896" y="2895944"/>
            <a:ext cx="2045606" cy="886594"/>
          </a:xfrm>
          <a:prstGeom prst="rect">
            <a:avLst/>
          </a:prstGeom>
        </p:spPr>
        <p:txBody>
          <a:bodyPr>
            <a:noAutofit/>
          </a:bodyPr>
          <a:lstStyle>
            <a:lvl1pPr marL="0" indent="0">
              <a:buNone/>
              <a:defRPr sz="4350" b="1" i="0">
                <a:solidFill>
                  <a:srgbClr val="73C0FF"/>
                </a:solidFill>
                <a:latin typeface="IBM Eliot Sans" panose="020B0503050000000000"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6782476" y="2362200"/>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6713283" y="2423583"/>
            <a:ext cx="0" cy="16827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235148" y="2971804"/>
            <a:ext cx="2195567" cy="3101338"/>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smtClean="0">
                <a:solidFill>
                  <a:srgbClr val="FFFFFF"/>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825865757"/>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3109864" y="2413000"/>
            <a:ext cx="0" cy="36830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204858" y="2760432"/>
            <a:ext cx="2805544" cy="886594"/>
          </a:xfrm>
          <a:prstGeom prst="rect">
            <a:avLst/>
          </a:prstGeom>
        </p:spPr>
        <p:txBody>
          <a:bodyPr>
            <a:noAutofit/>
          </a:bodyPr>
          <a:lstStyle>
            <a:lvl1pPr marL="0" indent="0">
              <a:buNone/>
              <a:defRPr sz="4350" b="1" i="0">
                <a:solidFill>
                  <a:srgbClr val="73C0FF"/>
                </a:solidFill>
                <a:latin typeface="IBM Eliot Sans" panose="020B0503050000000000"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3154460" y="2759351"/>
            <a:ext cx="2805544" cy="886594"/>
          </a:xfrm>
          <a:prstGeom prst="rect">
            <a:avLst/>
          </a:prstGeom>
        </p:spPr>
        <p:txBody>
          <a:bodyPr>
            <a:noAutofit/>
          </a:bodyPr>
          <a:lstStyle>
            <a:lvl1pPr marL="0" indent="0">
              <a:buNone/>
              <a:defRPr sz="4350" b="1" i="0">
                <a:solidFill>
                  <a:srgbClr val="FFFFFF"/>
                </a:solidFill>
                <a:latin typeface="IBM Eliot Sans" panose="020B0503050000000000"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6035115" y="2759351"/>
            <a:ext cx="2805544" cy="886594"/>
          </a:xfrm>
          <a:prstGeom prst="rect">
            <a:avLst/>
          </a:prstGeom>
        </p:spPr>
        <p:txBody>
          <a:bodyPr>
            <a:noAutofit/>
          </a:bodyPr>
          <a:lstStyle>
            <a:lvl1pPr marL="0" indent="0">
              <a:buNone/>
              <a:defRPr sz="4350" b="1" i="0">
                <a:solidFill>
                  <a:srgbClr val="FFFFFF"/>
                </a:solidFill>
                <a:latin typeface="IBM Eliot Sans" panose="020B0503050000000000"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285750" y="2286000"/>
            <a:ext cx="85725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235111" y="2365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3179924" y="2365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6069174" y="2365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235111" y="4270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3179924" y="4270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6069174" y="4270708"/>
            <a:ext cx="1494234" cy="173435"/>
          </a:xfrm>
          <a:prstGeom prst="rect">
            <a:avLst/>
          </a:prstGeom>
        </p:spPr>
        <p:txBody>
          <a:bodyPr/>
          <a:lstStyle>
            <a:lvl1pPr marL="0" indent="0">
              <a:buNone/>
              <a:defRPr sz="750" b="1" i="0">
                <a:solidFill>
                  <a:srgbClr val="FFFFFF"/>
                </a:solidFill>
                <a:latin typeface="IBM Eliot Sans Medium" panose="020B0703050000000000" pitchFamily="34" charset="0"/>
                <a:cs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238665" y="4572000"/>
            <a:ext cx="2140372" cy="1524000"/>
          </a:xfrm>
          <a:prstGeom prst="rect">
            <a:avLst/>
          </a:prstGeom>
        </p:spPr>
        <p:txBody>
          <a:bodyPr>
            <a:normAutofit/>
          </a:bodyPr>
          <a:lstStyle>
            <a:lvl1pPr marL="0" marR="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sz="75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3187538" y="4572000"/>
            <a:ext cx="2140372" cy="1524000"/>
          </a:xfrm>
          <a:prstGeom prst="rect">
            <a:avLst/>
          </a:prstGeom>
        </p:spPr>
        <p:txBody>
          <a:bodyPr>
            <a:normAutofit/>
          </a:bodyPr>
          <a:lstStyle>
            <a:lvl1pPr marL="0" marR="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sz="75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6071803" y="4572000"/>
            <a:ext cx="2140372" cy="1524000"/>
          </a:xfrm>
          <a:prstGeom prst="rect">
            <a:avLst/>
          </a:prstGeom>
        </p:spPr>
        <p:txBody>
          <a:bodyPr>
            <a:normAutofit/>
          </a:bodyPr>
          <a:lstStyle>
            <a:lvl1pPr marL="0" marR="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sz="75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6022927" y="2413000"/>
            <a:ext cx="0" cy="36830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860315836"/>
      </p:ext>
    </p:extLst>
  </p:cSld>
  <p:clrMapOvr>
    <a:masterClrMapping/>
  </p:clrMapOvr>
  <p:extLst>
    <p:ext uri="{DCECCB84-F9BA-43D5-87BE-67443E8EF086}">
      <p15:sldGuideLst xmlns:p15="http://schemas.microsoft.com/office/powerpoint/2012/main">
        <p15:guide id="1" orient="horz" pos="1440" userDrawn="1">
          <p15:clr>
            <a:srgbClr val="FBAE40"/>
          </p15:clr>
        </p15:guide>
        <p15:guide id="2" pos="2040" userDrawn="1">
          <p15:clr>
            <a:srgbClr val="FBAE40"/>
          </p15:clr>
        </p15:guide>
        <p15:guide id="3" pos="3854" userDrawn="1">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9144000" cy="6858000"/>
          </a:xfrm>
          <a:prstGeom prst="rect">
            <a:avLst/>
          </a:prstGeom>
        </p:spPr>
        <p:txBody>
          <a:bodyPr anchor="ctr"/>
          <a:lstStyle>
            <a:lvl1pPr marL="0" marR="0" indent="0" algn="ctr" defTabSz="685749" rtl="0" eaLnBrk="1" fontAlgn="auto" latinLnBrk="0" hangingPunct="1">
              <a:lnSpc>
                <a:spcPct val="90000"/>
              </a:lnSpc>
              <a:spcBef>
                <a:spcPts val="750"/>
              </a:spcBef>
              <a:spcAft>
                <a:spcPts val="0"/>
              </a:spcAft>
              <a:buClrTx/>
              <a:buSzTx/>
              <a:buFont typeface="Arial" panose="020B0604020202020204" pitchFamily="34" charset="0"/>
              <a:buNone/>
              <a:tabLst/>
              <a:defRPr>
                <a:solidFill>
                  <a:srgbClr val="002577"/>
                </a:solidFill>
                <a:latin typeface="IBM Eliot Sans Medium" panose="020B0703050000000000" pitchFamily="34" charset="0"/>
                <a:cs typeface="Segoe UI" panose="020B0502040204020203" pitchFamily="34" charset="0"/>
              </a:defRPr>
            </a:lvl1pPr>
          </a:lstStyle>
          <a:p>
            <a:pPr marL="0" marR="0" lvl="0" indent="0" algn="ctr"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236595" y="2587021"/>
            <a:ext cx="2030016" cy="221528"/>
          </a:xfrm>
          <a:prstGeom prst="rect">
            <a:avLst/>
          </a:prstGeom>
        </p:spPr>
        <p:txBody>
          <a:bodyPr/>
          <a:lstStyle>
            <a:lvl1pPr marL="0" indent="0">
              <a:buNone/>
              <a:defRPr sz="750" b="1" i="0">
                <a:solidFill>
                  <a:srgbClr val="FFFFFF"/>
                </a:solidFill>
                <a:latin typeface="IBM Eliot Sans Medium" panose="020B0703050000000000"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235110" y="2831375"/>
            <a:ext cx="2867027" cy="194336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293370" y="6343897"/>
            <a:ext cx="1444943" cy="184867"/>
          </a:xfrm>
          <a:prstGeom prst="rect">
            <a:avLst/>
          </a:prstGeom>
        </p:spPr>
        <p:txBody>
          <a:bodyPr vert="horz" lIns="57150" tIns="28575" rIns="57150" bIns="28575"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600" dirty="0">
              <a:latin typeface="IBM Eliot Sans Medium" panose="020B0703050000000000" pitchFamily="34" charset="0"/>
            </a:endParaRPr>
          </a:p>
        </p:txBody>
      </p:sp>
    </p:spTree>
    <p:extLst>
      <p:ext uri="{BB962C8B-B14F-4D97-AF65-F5344CB8AC3E}">
        <p14:creationId xmlns:p14="http://schemas.microsoft.com/office/powerpoint/2010/main" val="3369552053"/>
      </p:ext>
    </p:extLst>
  </p:cSld>
  <p:clrMapOvr>
    <a:masterClrMapping/>
  </p:clrMapOvr>
  <p:extLst>
    <p:ext uri="{DCECCB84-F9BA-43D5-87BE-67443E8EF086}">
      <p15:sldGuideLst xmlns:p15="http://schemas.microsoft.com/office/powerpoint/2012/main">
        <p15:guide id="1" orient="horz" pos="1660" userDrawn="1">
          <p15:clr>
            <a:srgbClr val="FBAE40"/>
          </p15:clr>
        </p15:guide>
        <p15:guide id="2" orient="horz" pos="1840" userDrawn="1">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2"/>
          <a:stretch>
            <a:fillRect/>
          </a:stretch>
        </p:blipFill>
        <p:spPr>
          <a:xfrm>
            <a:off x="1076960" y="1287781"/>
            <a:ext cx="6943725" cy="5207794"/>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720775" y="2888234"/>
            <a:ext cx="1111178" cy="365125"/>
          </a:xfrm>
          <a:prstGeom prst="rect">
            <a:avLst/>
          </a:prstGeom>
        </p:spPr>
        <p:txBody>
          <a:bodyPr anchor="ctr">
            <a:normAutofit/>
          </a:bodyPr>
          <a:lstStyle>
            <a:lvl1pPr marL="0" indent="0" algn="l">
              <a:buNone/>
              <a:defRPr sz="10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506598" y="2888234"/>
            <a:ext cx="279287" cy="365125"/>
          </a:xfrm>
          <a:prstGeom prst="rect">
            <a:avLst/>
          </a:prstGeom>
        </p:spPr>
        <p:txBody>
          <a:bodyPr anchor="ctr">
            <a:normAutofit/>
          </a:bodyPr>
          <a:lstStyle>
            <a:lvl1pPr marL="0" indent="0" algn="r">
              <a:buNone/>
              <a:defRPr sz="1000" b="1" i="0">
                <a:solidFill>
                  <a:srgbClr val="73C0FF"/>
                </a:solidFill>
                <a:latin typeface="IBM Eliot Sans" panose="020B0503050000000000" pitchFamily="34" charset="0"/>
                <a:cs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720775" y="5068401"/>
            <a:ext cx="1111178" cy="365125"/>
          </a:xfrm>
          <a:prstGeom prst="rect">
            <a:avLst/>
          </a:prstGeom>
        </p:spPr>
        <p:txBody>
          <a:bodyPr anchor="ctr">
            <a:normAutofit/>
          </a:bodyPr>
          <a:lstStyle>
            <a:lvl1pPr marL="0" indent="0" algn="l">
              <a:buNone/>
              <a:defRPr sz="10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506598" y="5068401"/>
            <a:ext cx="279287" cy="365125"/>
          </a:xfrm>
          <a:prstGeom prst="rect">
            <a:avLst/>
          </a:prstGeom>
        </p:spPr>
        <p:txBody>
          <a:bodyPr anchor="ctr">
            <a:normAutofit/>
          </a:bodyPr>
          <a:lstStyle>
            <a:lvl1pPr marL="0" indent="0" algn="r">
              <a:buNone/>
              <a:defRPr sz="1000" b="1" i="0">
                <a:solidFill>
                  <a:srgbClr val="73C0FF"/>
                </a:solidFill>
                <a:latin typeface="IBM Eliot Sans" panose="020B0503050000000000" pitchFamily="34" charset="0"/>
                <a:cs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7005555" y="3271062"/>
            <a:ext cx="1111178" cy="365125"/>
          </a:xfrm>
          <a:prstGeom prst="rect">
            <a:avLst/>
          </a:prstGeom>
        </p:spPr>
        <p:txBody>
          <a:bodyPr anchor="ctr">
            <a:normAutofit/>
          </a:bodyPr>
          <a:lstStyle>
            <a:lvl1pPr marL="0" indent="0" algn="l">
              <a:buNone/>
              <a:defRPr sz="10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6791378" y="3271062"/>
            <a:ext cx="279287" cy="365125"/>
          </a:xfrm>
          <a:prstGeom prst="rect">
            <a:avLst/>
          </a:prstGeom>
        </p:spPr>
        <p:txBody>
          <a:bodyPr anchor="ctr">
            <a:normAutofit/>
          </a:bodyPr>
          <a:lstStyle>
            <a:lvl1pPr marL="0" indent="0" algn="r">
              <a:buNone/>
              <a:defRPr sz="1000" b="1" i="0">
                <a:solidFill>
                  <a:srgbClr val="73C0FF"/>
                </a:solidFill>
                <a:latin typeface="IBM Eliot Sans" panose="020B0503050000000000" pitchFamily="34" charset="0"/>
                <a:cs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7400334" y="4738992"/>
            <a:ext cx="1111178" cy="365125"/>
          </a:xfrm>
          <a:prstGeom prst="rect">
            <a:avLst/>
          </a:prstGeom>
        </p:spPr>
        <p:txBody>
          <a:bodyPr anchor="ctr">
            <a:normAutofit/>
          </a:bodyPr>
          <a:lstStyle>
            <a:lvl1pPr marL="0" indent="0" algn="l">
              <a:buNone/>
              <a:defRPr sz="10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7186157" y="4738992"/>
            <a:ext cx="279287" cy="365125"/>
          </a:xfrm>
          <a:prstGeom prst="rect">
            <a:avLst/>
          </a:prstGeom>
        </p:spPr>
        <p:txBody>
          <a:bodyPr anchor="ctr">
            <a:normAutofit/>
          </a:bodyPr>
          <a:lstStyle>
            <a:lvl1pPr marL="0" indent="0" algn="r">
              <a:buNone/>
              <a:defRPr sz="1000" b="1" i="0">
                <a:solidFill>
                  <a:srgbClr val="73C0FF"/>
                </a:solidFill>
                <a:latin typeface="IBM Eliot Sans" panose="020B0503050000000000" pitchFamily="34" charset="0"/>
                <a:cs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9422882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Map slide_EQB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270329-E48C-584A-8D9E-A0256F6089BE}"/>
              </a:ext>
            </a:extLst>
          </p:cNvPr>
          <p:cNvPicPr>
            <a:picLocks noChangeAspect="1"/>
          </p:cNvPicPr>
          <p:nvPr userDrawn="1"/>
        </p:nvPicPr>
        <p:blipFill>
          <a:blip r:embed="rId2"/>
          <a:stretch>
            <a:fillRect/>
          </a:stretch>
        </p:blipFill>
        <p:spPr>
          <a:xfrm>
            <a:off x="805816" y="1211580"/>
            <a:ext cx="7298055" cy="5473542"/>
          </a:xfrm>
          <a:prstGeom prst="rect">
            <a:avLst/>
          </a:prstGeom>
        </p:spPr>
      </p:pic>
      <p:sp>
        <p:nvSpPr>
          <p:cNvPr id="22" name="Text Placeholder 4">
            <a:extLst>
              <a:ext uri="{FF2B5EF4-FFF2-40B4-BE49-F238E27FC236}">
                <a16:creationId xmlns:a16="http://schemas.microsoft.com/office/drawing/2014/main" id="{C48540CD-AA9F-C142-9158-E73E8A97C959}"/>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8" name="Text Placeholder 14">
            <a:extLst>
              <a:ext uri="{FF2B5EF4-FFF2-40B4-BE49-F238E27FC236}">
                <a16:creationId xmlns:a16="http://schemas.microsoft.com/office/drawing/2014/main" id="{4DF7846F-EB15-0949-A39B-D57E8F47E357}"/>
              </a:ext>
            </a:extLst>
          </p:cNvPr>
          <p:cNvSpPr>
            <a:spLocks noGrp="1"/>
          </p:cNvSpPr>
          <p:nvPr>
            <p:ph type="body" sz="quarter" idx="16" hasCustomPrompt="1"/>
          </p:nvPr>
        </p:nvSpPr>
        <p:spPr>
          <a:xfrm>
            <a:off x="430703" y="3214688"/>
            <a:ext cx="1111178" cy="365125"/>
          </a:xfrm>
          <a:prstGeom prst="rect">
            <a:avLst/>
          </a:prstGeom>
        </p:spPr>
        <p:txBody>
          <a:bodyPr anchor="ctr">
            <a:normAutofit/>
          </a:bodyPr>
          <a:lstStyle>
            <a:lvl1pPr marL="0" indent="0" algn="l">
              <a:buNone/>
              <a:defRPr sz="10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9" name="Text Placeholder 14">
            <a:extLst>
              <a:ext uri="{FF2B5EF4-FFF2-40B4-BE49-F238E27FC236}">
                <a16:creationId xmlns:a16="http://schemas.microsoft.com/office/drawing/2014/main" id="{CC2A54B3-2F8C-1A40-B7CB-05B79A702E0A}"/>
              </a:ext>
            </a:extLst>
          </p:cNvPr>
          <p:cNvSpPr>
            <a:spLocks noGrp="1"/>
          </p:cNvSpPr>
          <p:nvPr>
            <p:ph type="body" sz="quarter" idx="20" hasCustomPrompt="1"/>
          </p:nvPr>
        </p:nvSpPr>
        <p:spPr>
          <a:xfrm>
            <a:off x="213841" y="3214688"/>
            <a:ext cx="279287" cy="365125"/>
          </a:xfrm>
          <a:prstGeom prst="rect">
            <a:avLst/>
          </a:prstGeom>
        </p:spPr>
        <p:txBody>
          <a:bodyPr anchor="ctr">
            <a:normAutofit/>
          </a:bodyPr>
          <a:lstStyle>
            <a:lvl1pPr marL="0" indent="0" algn="r">
              <a:buNone/>
              <a:defRPr sz="10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0" name="Text Placeholder 14">
            <a:extLst>
              <a:ext uri="{FF2B5EF4-FFF2-40B4-BE49-F238E27FC236}">
                <a16:creationId xmlns:a16="http://schemas.microsoft.com/office/drawing/2014/main" id="{57F9853B-35CD-AE43-BCF7-0762A2692A7E}"/>
              </a:ext>
            </a:extLst>
          </p:cNvPr>
          <p:cNvSpPr>
            <a:spLocks noGrp="1"/>
          </p:cNvSpPr>
          <p:nvPr>
            <p:ph type="body" sz="quarter" idx="21" hasCustomPrompt="1"/>
          </p:nvPr>
        </p:nvSpPr>
        <p:spPr>
          <a:xfrm>
            <a:off x="1018078" y="5045604"/>
            <a:ext cx="1111178" cy="365125"/>
          </a:xfrm>
          <a:prstGeom prst="rect">
            <a:avLst/>
          </a:prstGeom>
        </p:spPr>
        <p:txBody>
          <a:bodyPr anchor="ctr">
            <a:normAutofit/>
          </a:bodyPr>
          <a:lstStyle>
            <a:lvl1pPr marL="0" indent="0" algn="l">
              <a:buNone/>
              <a:defRPr sz="10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1" name="Text Placeholder 14">
            <a:extLst>
              <a:ext uri="{FF2B5EF4-FFF2-40B4-BE49-F238E27FC236}">
                <a16:creationId xmlns:a16="http://schemas.microsoft.com/office/drawing/2014/main" id="{74769082-203C-D945-A5A8-915FA88B6567}"/>
              </a:ext>
            </a:extLst>
          </p:cNvPr>
          <p:cNvSpPr>
            <a:spLocks noGrp="1"/>
          </p:cNvSpPr>
          <p:nvPr>
            <p:ph type="body" sz="quarter" idx="22" hasCustomPrompt="1"/>
          </p:nvPr>
        </p:nvSpPr>
        <p:spPr>
          <a:xfrm>
            <a:off x="801216" y="5045604"/>
            <a:ext cx="279287" cy="365125"/>
          </a:xfrm>
          <a:prstGeom prst="rect">
            <a:avLst/>
          </a:prstGeom>
        </p:spPr>
        <p:txBody>
          <a:bodyPr anchor="ctr">
            <a:normAutofit/>
          </a:bodyPr>
          <a:lstStyle>
            <a:lvl1pPr marL="0" indent="0" algn="r">
              <a:buNone/>
              <a:defRPr sz="10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2" name="Text Placeholder 14">
            <a:extLst>
              <a:ext uri="{FF2B5EF4-FFF2-40B4-BE49-F238E27FC236}">
                <a16:creationId xmlns:a16="http://schemas.microsoft.com/office/drawing/2014/main" id="{C5E74914-8360-234F-9206-56B6C622ACE4}"/>
              </a:ext>
            </a:extLst>
          </p:cNvPr>
          <p:cNvSpPr>
            <a:spLocks noGrp="1"/>
          </p:cNvSpPr>
          <p:nvPr>
            <p:ph type="body" sz="quarter" idx="23" hasCustomPrompt="1"/>
          </p:nvPr>
        </p:nvSpPr>
        <p:spPr>
          <a:xfrm>
            <a:off x="7626525" y="4960938"/>
            <a:ext cx="1111178" cy="365125"/>
          </a:xfrm>
          <a:prstGeom prst="rect">
            <a:avLst/>
          </a:prstGeom>
        </p:spPr>
        <p:txBody>
          <a:bodyPr anchor="ctr">
            <a:normAutofit/>
          </a:bodyPr>
          <a:lstStyle>
            <a:lvl1pPr marL="0" indent="0" algn="l">
              <a:buNone/>
              <a:defRPr sz="10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3" name="Text Placeholder 14">
            <a:extLst>
              <a:ext uri="{FF2B5EF4-FFF2-40B4-BE49-F238E27FC236}">
                <a16:creationId xmlns:a16="http://schemas.microsoft.com/office/drawing/2014/main" id="{E41D87EE-3D8C-A245-8D18-D8F0C2E368D1}"/>
              </a:ext>
            </a:extLst>
          </p:cNvPr>
          <p:cNvSpPr>
            <a:spLocks noGrp="1"/>
          </p:cNvSpPr>
          <p:nvPr>
            <p:ph type="body" sz="quarter" idx="24" hasCustomPrompt="1"/>
          </p:nvPr>
        </p:nvSpPr>
        <p:spPr>
          <a:xfrm>
            <a:off x="7416898" y="4960938"/>
            <a:ext cx="279287" cy="365125"/>
          </a:xfrm>
          <a:prstGeom prst="rect">
            <a:avLst/>
          </a:prstGeom>
        </p:spPr>
        <p:txBody>
          <a:bodyPr anchor="ctr">
            <a:normAutofit/>
          </a:bodyPr>
          <a:lstStyle>
            <a:lvl1pPr marL="0" indent="0" algn="r">
              <a:buNone/>
              <a:defRPr sz="10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DB9A65C1-CA3B-8445-A62C-8ACDE32DAFF8}"/>
              </a:ext>
            </a:extLst>
          </p:cNvPr>
          <p:cNvSpPr>
            <a:spLocks noGrp="1"/>
          </p:cNvSpPr>
          <p:nvPr>
            <p:ph type="body" sz="quarter" idx="25" hasCustomPrompt="1"/>
          </p:nvPr>
        </p:nvSpPr>
        <p:spPr>
          <a:xfrm>
            <a:off x="7626525" y="3574521"/>
            <a:ext cx="1111178" cy="365125"/>
          </a:xfrm>
          <a:prstGeom prst="rect">
            <a:avLst/>
          </a:prstGeom>
        </p:spPr>
        <p:txBody>
          <a:bodyPr anchor="ctr">
            <a:normAutofit/>
          </a:bodyPr>
          <a:lstStyle>
            <a:lvl1pPr marL="0" indent="0" algn="l">
              <a:buNone/>
              <a:defRPr sz="10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EEED265C-8845-FC48-96B3-6771743EC33B}"/>
              </a:ext>
            </a:extLst>
          </p:cNvPr>
          <p:cNvSpPr>
            <a:spLocks noGrp="1"/>
          </p:cNvSpPr>
          <p:nvPr>
            <p:ph type="body" sz="quarter" idx="26" hasCustomPrompt="1"/>
          </p:nvPr>
        </p:nvSpPr>
        <p:spPr>
          <a:xfrm>
            <a:off x="7416898" y="3574521"/>
            <a:ext cx="279287" cy="365125"/>
          </a:xfrm>
          <a:prstGeom prst="rect">
            <a:avLst/>
          </a:prstGeom>
        </p:spPr>
        <p:txBody>
          <a:bodyPr anchor="ctr">
            <a:normAutofit/>
          </a:bodyPr>
          <a:lstStyle>
            <a:lvl1pPr marL="0" indent="0" algn="r">
              <a:buNone/>
              <a:defRPr sz="10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14" name="Slide Number Placeholder 5">
            <a:extLst>
              <a:ext uri="{FF2B5EF4-FFF2-40B4-BE49-F238E27FC236}">
                <a16:creationId xmlns:a16="http://schemas.microsoft.com/office/drawing/2014/main" id="{CC53045E-983F-F84B-B049-87D0C80FC761}"/>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329E02F2-CA2F-624C-B91D-28BBB479EAFD}"/>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0902971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279477" y="2479966"/>
            <a:ext cx="8585048" cy="1898069"/>
          </a:xfrm>
          <a:prstGeom prst="rect">
            <a:avLst/>
          </a:prstGeom>
        </p:spPr>
        <p:txBody>
          <a:bodyPr anchor="ctr" anchorCtr="0"/>
          <a:lstStyle>
            <a:lvl1pPr marL="0" indent="0" algn="ctr">
              <a:buNone/>
              <a:defRPr sz="5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229796" y="6346332"/>
            <a:ext cx="1416244" cy="182432"/>
          </a:xfrm>
          <a:prstGeom prst="rect">
            <a:avLst/>
          </a:prstGeom>
        </p:spPr>
        <p:txBody>
          <a:bodyPr vert="horz" lIns="57150" tIns="28575" rIns="57150" bIns="28575"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60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50308792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8614611" y="6343897"/>
            <a:ext cx="256187" cy="187531"/>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5513784"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pic>
        <p:nvPicPr>
          <p:cNvPr id="8" name="Picture 7">
            <a:extLst>
              <a:ext uri="{FF2B5EF4-FFF2-40B4-BE49-F238E27FC236}">
                <a16:creationId xmlns:a16="http://schemas.microsoft.com/office/drawing/2014/main" id="{FC7EDA88-9180-8D4A-B3D5-649C447CBA69}"/>
              </a:ext>
            </a:extLst>
          </p:cNvPr>
          <p:cNvPicPr>
            <a:picLocks noChangeAspect="1"/>
          </p:cNvPicPr>
          <p:nvPr userDrawn="1"/>
        </p:nvPicPr>
        <p:blipFill>
          <a:blip r:embed="rId2"/>
          <a:stretch>
            <a:fillRect/>
          </a:stretch>
        </p:blipFill>
        <p:spPr>
          <a:xfrm>
            <a:off x="3264208" y="2558474"/>
            <a:ext cx="2615583" cy="1518491"/>
          </a:xfrm>
          <a:prstGeom prst="rect">
            <a:avLst/>
          </a:prstGeom>
        </p:spPr>
      </p:pic>
    </p:spTree>
    <p:extLst>
      <p:ext uri="{BB962C8B-B14F-4D97-AF65-F5344CB8AC3E}">
        <p14:creationId xmlns:p14="http://schemas.microsoft.com/office/powerpoint/2010/main" val="41767104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419099" y="3143798"/>
            <a:ext cx="8451699" cy="226613"/>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28326"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IBM Eliot Sans" panose="020B05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28326" y="3674699"/>
            <a:ext cx="1494252" cy="204254"/>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28332"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2451408" y="3118638"/>
            <a:ext cx="107577" cy="276933"/>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8506678" y="6360736"/>
            <a:ext cx="330795" cy="225188"/>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5458734"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31166" y="333737"/>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2391956"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IBM Eliot Sans" panose="020B05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2391956" y="3674699"/>
            <a:ext cx="1494252" cy="204254"/>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2391962"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4566831"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IBM Eliot Sans" panose="020B05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4566831" y="3674699"/>
            <a:ext cx="1494252" cy="204254"/>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4566837"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6686143"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IBM Eliot Sans" panose="020B05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6686143" y="3674699"/>
            <a:ext cx="1494252" cy="204254"/>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6686150"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4621830" y="3118638"/>
            <a:ext cx="107577" cy="276933"/>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6728753" y="3118638"/>
            <a:ext cx="107577" cy="276933"/>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89413883"/>
      </p:ext>
    </p:extLst>
  </p:cSld>
  <p:clrMapOvr>
    <a:masterClrMapping/>
  </p:clrMapOvr>
  <p:extLst>
    <p:ext uri="{DCECCB84-F9BA-43D5-87BE-67443E8EF086}">
      <p15:sldGuideLst xmlns:p15="http://schemas.microsoft.com/office/powerpoint/2012/main">
        <p15:guide id="1" orient="horz" pos="2400" userDrawn="1">
          <p15:clr>
            <a:srgbClr val="FBAE40"/>
          </p15:clr>
        </p15:guide>
        <p15:guide id="2" orient="horz" pos="2500" userDrawn="1">
          <p15:clr>
            <a:srgbClr val="FBAE40"/>
          </p15:clr>
        </p15:guide>
        <p15:guide id="3" pos="1545" userDrawn="1">
          <p15:clr>
            <a:srgbClr val="FBAE40"/>
          </p15:clr>
        </p15:guide>
        <p15:guide id="4" pos="2910" userDrawn="1">
          <p15:clr>
            <a:srgbClr val="FBAE40"/>
          </p15:clr>
        </p15:guide>
        <p15:guide id="5" pos="4245" userDrawn="1">
          <p15:clr>
            <a:srgbClr val="FBAE40"/>
          </p15:clr>
        </p15:guide>
        <p15:guide id="6" orient="horz" pos="2160" userDrawn="1">
          <p15:clr>
            <a:srgbClr val="FBAE40"/>
          </p15:clr>
        </p15:guide>
        <p15:guide id="7" orient="horz" pos="2740" userDrawn="1">
          <p15:clr>
            <a:srgbClr val="FBAE40"/>
          </p15:clr>
        </p15:guide>
        <p15:guide id="8" orient="horz" pos="2880" userDrawn="1">
          <p15:clr>
            <a:srgbClr val="FBAE40"/>
          </p15:clr>
        </p15:guide>
        <p15:guide id="9" orient="horz" pos="2040" userDrawn="1">
          <p15:clr>
            <a:srgbClr val="FBAE40"/>
          </p15:clr>
        </p15:guide>
        <p15:guide id="10" orient="horz" pos="2060"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Contents_WT_01">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A97AE83C-BB17-4853-95ED-0D5814379EA8}"/>
              </a:ext>
            </a:extLst>
          </p:cNvPr>
          <p:cNvSpPr/>
          <p:nvPr userDrawn="1"/>
        </p:nvSpPr>
        <p:spPr>
          <a:xfrm>
            <a:off x="0" y="1905000"/>
            <a:ext cx="9144000" cy="4191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solidFill>
                <a:schemeClr val="tx2"/>
              </a:solidFill>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3856120"/>
            <a:ext cx="914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29158" y="3058636"/>
            <a:ext cx="194188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4575597" y="1684420"/>
            <a:ext cx="0" cy="4343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6795487" y="1684420"/>
            <a:ext cx="0" cy="4343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31166" y="333737"/>
            <a:ext cx="3629586" cy="479861"/>
          </a:xfrm>
          <a:prstGeom prst="rect">
            <a:avLst/>
          </a:prstGeom>
        </p:spPr>
        <p:txBody>
          <a:bodyPr anchor="t">
            <a:noAutofit/>
          </a:bodyPr>
          <a:lstStyle>
            <a:lvl1pPr algn="l">
              <a:defRPr sz="2188" b="1" i="0">
                <a:solidFill>
                  <a:schemeClr val="bg2"/>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8614612" y="6343906"/>
            <a:ext cx="299202" cy="133094"/>
          </a:xfrm>
          <a:prstGeom prst="rect">
            <a:avLst/>
          </a:prstGeom>
          <a:noFill/>
        </p:spPr>
        <p:txBody>
          <a:bodyPr/>
          <a:lstStyle>
            <a:lvl1pPr algn="r">
              <a:defRPr sz="600" b="1" i="0">
                <a:solidFill>
                  <a:schemeClr val="bg2"/>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5522424" y="6346332"/>
            <a:ext cx="3086100" cy="182432"/>
          </a:xfrm>
          <a:prstGeom prst="rect">
            <a:avLst/>
          </a:prstGeom>
        </p:spPr>
        <p:txBody>
          <a:bodyPr vert="horz" lIns="91440" tIns="45720" rIns="91440" bIns="45720" rtlCol="0" anchor="ctr"/>
          <a:lstStyle>
            <a:lvl1pPr algn="r">
              <a:defRPr sz="600" b="1" i="0">
                <a:solidFill>
                  <a:schemeClr val="bg2"/>
                </a:solidFill>
                <a:latin typeface="IBM Eliot Sans Medium" panose="020B0703050000000000" pitchFamily="34" charset="0"/>
              </a:defRPr>
            </a:lvl1pPr>
          </a:lstStyle>
          <a:p>
            <a:r>
              <a:rPr lang="en-US"/>
              <a:t>Presentation Title Here – Month 00, 000</a:t>
            </a:r>
            <a:endParaRPr lang="en-US" dirty="0"/>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11986" y="2059218"/>
            <a:ext cx="825624" cy="825498"/>
          </a:xfrm>
          <a:prstGeom prst="rect">
            <a:avLst/>
          </a:prstGeom>
        </p:spPr>
        <p:txBody>
          <a:bodyPr/>
          <a:lstStyle>
            <a:lvl1pPr marL="0" indent="0" algn="l">
              <a:buNone/>
              <a:defRPr sz="4688" b="1" i="0">
                <a:solidFill>
                  <a:schemeClr val="tx2"/>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2629898" y="3048053"/>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4915898" y="3048053"/>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7201898" y="3048053"/>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2597986" y="2059218"/>
            <a:ext cx="825624" cy="825498"/>
          </a:xfrm>
          <a:prstGeom prst="rect">
            <a:avLst/>
          </a:prstGeom>
        </p:spPr>
        <p:txBody>
          <a:bodyPr/>
          <a:lstStyle>
            <a:lvl1pPr marL="0" indent="0" algn="l">
              <a:buNone/>
              <a:defRPr sz="4688" b="1" i="0">
                <a:solidFill>
                  <a:schemeClr val="tx2"/>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4883986" y="2059218"/>
            <a:ext cx="825624" cy="825498"/>
          </a:xfrm>
          <a:prstGeom prst="rect">
            <a:avLst/>
          </a:prstGeom>
        </p:spPr>
        <p:txBody>
          <a:bodyPr/>
          <a:lstStyle>
            <a:lvl1pPr marL="0" indent="0" algn="l">
              <a:buNone/>
              <a:defRPr sz="4688" b="1" i="0">
                <a:solidFill>
                  <a:schemeClr val="tx2"/>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7169986" y="2059218"/>
            <a:ext cx="825624" cy="825498"/>
          </a:xfrm>
          <a:prstGeom prst="rect">
            <a:avLst/>
          </a:prstGeom>
        </p:spPr>
        <p:txBody>
          <a:bodyPr/>
          <a:lstStyle>
            <a:lvl1pPr marL="0" indent="0" algn="l">
              <a:buNone/>
              <a:defRPr sz="4688" b="1" i="0">
                <a:solidFill>
                  <a:schemeClr val="tx2"/>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29158" y="5132969"/>
            <a:ext cx="194188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11986" y="4133551"/>
            <a:ext cx="825624" cy="825498"/>
          </a:xfrm>
          <a:prstGeom prst="rect">
            <a:avLst/>
          </a:prstGeom>
        </p:spPr>
        <p:txBody>
          <a:bodyPr/>
          <a:lstStyle>
            <a:lvl1pPr marL="0" indent="0" algn="l">
              <a:buNone/>
              <a:defRPr sz="4688" b="1" i="0">
                <a:solidFill>
                  <a:schemeClr val="tx2"/>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2629898" y="5122386"/>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4915898" y="5122386"/>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7201898" y="5122386"/>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2597986" y="4133551"/>
            <a:ext cx="825624" cy="825498"/>
          </a:xfrm>
          <a:prstGeom prst="rect">
            <a:avLst/>
          </a:prstGeom>
        </p:spPr>
        <p:txBody>
          <a:bodyPr/>
          <a:lstStyle>
            <a:lvl1pPr marL="0" indent="0" algn="l">
              <a:buNone/>
              <a:defRPr sz="4688" b="1" i="0">
                <a:solidFill>
                  <a:schemeClr val="tx2"/>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4883986" y="4133551"/>
            <a:ext cx="825624" cy="825498"/>
          </a:xfrm>
          <a:prstGeom prst="rect">
            <a:avLst/>
          </a:prstGeom>
        </p:spPr>
        <p:txBody>
          <a:bodyPr/>
          <a:lstStyle>
            <a:lvl1pPr marL="0" indent="0" algn="l">
              <a:buNone/>
              <a:defRPr sz="4688" b="1" i="0">
                <a:solidFill>
                  <a:schemeClr val="tx2"/>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7169986" y="4133551"/>
            <a:ext cx="825624" cy="825498"/>
          </a:xfrm>
          <a:prstGeom prst="rect">
            <a:avLst/>
          </a:prstGeom>
        </p:spPr>
        <p:txBody>
          <a:bodyPr/>
          <a:lstStyle>
            <a:lvl1pPr marL="0" indent="0" algn="l">
              <a:buNone/>
              <a:defRPr sz="4688" b="1" i="0">
                <a:solidFill>
                  <a:schemeClr val="tx2"/>
                </a:solidFill>
                <a:latin typeface="IBM Eliot Sans" panose="020B0503050000000000" pitchFamily="34" charset="0"/>
              </a:defRPr>
            </a:lvl1pPr>
          </a:lstStyle>
          <a:p>
            <a:pPr lvl="0"/>
            <a:r>
              <a:rPr lang="en-US" dirty="0"/>
              <a:t>8</a:t>
            </a:r>
          </a:p>
        </p:txBody>
      </p:sp>
      <p:cxnSp>
        <p:nvCxnSpPr>
          <p:cNvPr id="24" name="Straight Connector 23">
            <a:extLst>
              <a:ext uri="{FF2B5EF4-FFF2-40B4-BE49-F238E27FC236}">
                <a16:creationId xmlns:a16="http://schemas.microsoft.com/office/drawing/2014/main" id="{3C29D39F-8C88-4EA6-88BE-77BB584C11E7}"/>
              </a:ext>
            </a:extLst>
          </p:cNvPr>
          <p:cNvCxnSpPr/>
          <p:nvPr userDrawn="1"/>
        </p:nvCxnSpPr>
        <p:spPr>
          <a:xfrm>
            <a:off x="2238375" y="1684420"/>
            <a:ext cx="0" cy="4343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5077932"/>
      </p:ext>
    </p:extLst>
  </p:cSld>
  <p:clrMapOvr>
    <a:masterClrMapping/>
  </p:clrMapOvr>
  <p:extLst>
    <p:ext uri="{DCECCB84-F9BA-43D5-87BE-67443E8EF086}">
      <p15:sldGuideLst xmlns:p15="http://schemas.microsoft.com/office/powerpoint/2012/main">
        <p15:guide id="1" pos="1635" userDrawn="1">
          <p15:clr>
            <a:srgbClr val="FBAE40"/>
          </p15:clr>
        </p15:guide>
        <p15:guide id="2" pos="3075" userDrawn="1">
          <p15:clr>
            <a:srgbClr val="FBAE40"/>
          </p15:clr>
        </p15:guide>
        <p15:guide id="3" pos="4515" userDrawn="1">
          <p15:clr>
            <a:srgbClr val="FBAE40"/>
          </p15:clr>
        </p15:guide>
        <p15:guide id="4" orient="horz" pos="2600" userDrawn="1">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224774" y="420563"/>
            <a:ext cx="1978683" cy="254382"/>
          </a:xfrm>
          <a:prstGeom prst="rect">
            <a:avLst/>
          </a:prstGeom>
        </p:spPr>
        <p:txBody>
          <a:bodyPr anchor="b">
            <a:noAutofit/>
          </a:bodyPr>
          <a:lstStyle>
            <a:lvl1pPr algn="l">
              <a:defRPr sz="10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210850" y="1062708"/>
            <a:ext cx="3503900" cy="589400"/>
          </a:xfrm>
          <a:prstGeom prst="rect">
            <a:avLst/>
          </a:prstGeom>
        </p:spPr>
        <p:txBody>
          <a:bodyPr>
            <a:noAutofit/>
          </a:bodyPr>
          <a:lstStyle>
            <a:lvl1pPr marL="0" indent="0" algn="l">
              <a:buNone/>
              <a:defRPr sz="3438" b="1" i="0">
                <a:solidFill>
                  <a:srgbClr val="FFFFFF"/>
                </a:solidFill>
                <a:latin typeface="IBM Eliot Sans Medium" panose="020B07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210852" y="1755246"/>
            <a:ext cx="3503899" cy="1673756"/>
          </a:xfrm>
          <a:prstGeom prst="rect">
            <a:avLst/>
          </a:prstGeom>
        </p:spPr>
        <p:txBody>
          <a:bodyPr/>
          <a:lstStyle>
            <a:lvl1pPr marL="0" indent="0">
              <a:buNone/>
              <a:defRPr sz="3438" b="1" i="0">
                <a:solidFill>
                  <a:srgbClr val="002577"/>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8614611" y="6343906"/>
            <a:ext cx="299593" cy="133094"/>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555031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928328006"/>
      </p:ext>
    </p:extLst>
  </p:cSld>
  <p:clrMapOvr>
    <a:masterClrMapping/>
  </p:clrMapOvr>
  <p:extLst>
    <p:ext uri="{DCECCB84-F9BA-43D5-87BE-67443E8EF086}">
      <p15:sldGuideLst xmlns:p15="http://schemas.microsoft.com/office/powerpoint/2012/main">
        <p15:guide id="1" orient="horz" pos="294" userDrawn="1">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242881" y="65048"/>
            <a:ext cx="1527372" cy="1905000"/>
          </a:xfrm>
          <a:prstGeom prst="rect">
            <a:avLst/>
          </a:prstGeom>
        </p:spPr>
        <p:txBody>
          <a:bodyPr anchor="b">
            <a:normAutofit/>
          </a:bodyPr>
          <a:lstStyle>
            <a:lvl1pPr algn="l">
              <a:defRPr sz="9375" b="0" i="0">
                <a:solidFill>
                  <a:srgbClr val="002577"/>
                </a:solidFill>
                <a:latin typeface="IBM Eliot Sans" panose="020B0503050000000000"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208033" y="2211660"/>
            <a:ext cx="3506718" cy="2233341"/>
          </a:xfrm>
          <a:prstGeom prst="rect">
            <a:avLst/>
          </a:prstGeom>
        </p:spPr>
        <p:txBody>
          <a:bodyPr>
            <a:noAutofit/>
          </a:bodyPr>
          <a:lstStyle>
            <a:lvl1pPr marL="0" indent="0" algn="l">
              <a:buNone/>
              <a:defRPr sz="3438" b="1" i="0">
                <a:solidFill>
                  <a:srgbClr val="FFFFFF"/>
                </a:solidFill>
                <a:latin typeface="IBM Eliot Sans Medium" panose="020B07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87294354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4572000" y="0"/>
            <a:ext cx="4572000" cy="68580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224774" y="416077"/>
            <a:ext cx="1978683" cy="254382"/>
          </a:xfrm>
          <a:prstGeom prst="rect">
            <a:avLst/>
          </a:prstGeom>
        </p:spPr>
        <p:txBody>
          <a:bodyPr anchor="b">
            <a:noAutofit/>
          </a:bodyPr>
          <a:lstStyle>
            <a:lvl1pPr algn="l">
              <a:defRPr sz="10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210850" y="1062708"/>
            <a:ext cx="3503900" cy="589400"/>
          </a:xfrm>
          <a:prstGeom prst="rect">
            <a:avLst/>
          </a:prstGeom>
        </p:spPr>
        <p:txBody>
          <a:bodyPr>
            <a:noAutofit/>
          </a:bodyPr>
          <a:lstStyle>
            <a:lvl1pPr marL="0" indent="0" algn="l">
              <a:buNone/>
              <a:defRPr sz="3438" b="1" i="0">
                <a:solidFill>
                  <a:srgbClr val="FFFFFF"/>
                </a:solidFill>
                <a:latin typeface="IBM Eliot Sans Medium" panose="020B07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210852" y="1755246"/>
            <a:ext cx="3503899" cy="1673756"/>
          </a:xfrm>
          <a:prstGeom prst="rect">
            <a:avLst/>
          </a:prstGeom>
        </p:spPr>
        <p:txBody>
          <a:bodyPr/>
          <a:lstStyle>
            <a:lvl1pPr marL="0" indent="0">
              <a:buNone/>
              <a:defRPr sz="3438" b="1" i="0">
                <a:solidFill>
                  <a:srgbClr val="002577"/>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1518161267"/>
      </p:ext>
    </p:extLst>
  </p:cSld>
  <p:clrMapOvr>
    <a:masterClrMapping/>
  </p:clrMapOvr>
  <p:extLst>
    <p:ext uri="{DCECCB84-F9BA-43D5-87BE-67443E8EF086}">
      <p15:sldGuideLst xmlns:p15="http://schemas.microsoft.com/office/powerpoint/2012/main">
        <p15:guide id="1" orient="horz" pos="294" userDrawn="1">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8621487" y="6343906"/>
            <a:ext cx="292718" cy="133094"/>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5543441"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89211552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8647883" y="6347590"/>
            <a:ext cx="233450" cy="291340"/>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5552411" y="6261813"/>
            <a:ext cx="3086100" cy="365125"/>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4568428" y="5948"/>
            <a:ext cx="4575572" cy="6852053"/>
          </a:xfrm>
          <a:prstGeom prst="rect">
            <a:avLst/>
          </a:prstGeom>
          <a:solidFill>
            <a:schemeClr val="bg1">
              <a:lumMod val="95000"/>
            </a:schemeClr>
          </a:solidFill>
          <a:ln>
            <a:noFill/>
          </a:ln>
        </p:spPr>
        <p:txBody>
          <a:bodyPr anchor="ctr"/>
          <a:lstStyle>
            <a:lvl1pPr marL="0" indent="0" algn="ctr">
              <a:buNone/>
              <a:defRPr sz="10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79471720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Key Take Away_LB_0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5784E16-54A4-5749-9787-C19890A6B986}"/>
              </a:ext>
            </a:extLst>
          </p:cNvPr>
          <p:cNvSpPr>
            <a:spLocks noGrp="1"/>
          </p:cNvSpPr>
          <p:nvPr>
            <p:ph type="body" sz="quarter" idx="12" hasCustomPrompt="1"/>
          </p:nvPr>
        </p:nvSpPr>
        <p:spPr>
          <a:xfrm>
            <a:off x="209523" y="1840515"/>
            <a:ext cx="3945431" cy="1295173"/>
          </a:xfrm>
          <a:prstGeom prst="rect">
            <a:avLst/>
          </a:prstGeom>
        </p:spPr>
        <p:txBody>
          <a:bodyPr/>
          <a:lstStyle>
            <a:lvl1pPr marL="0" indent="0">
              <a:lnSpc>
                <a:spcPct val="85000"/>
              </a:lnSpc>
              <a:buNone/>
              <a:defRPr sz="2813"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4" name="Text Placeholder 3">
            <a:extLst>
              <a:ext uri="{FF2B5EF4-FFF2-40B4-BE49-F238E27FC236}">
                <a16:creationId xmlns:a16="http://schemas.microsoft.com/office/drawing/2014/main" id="{B2869647-7650-C74B-A047-92E7266794C6}"/>
              </a:ext>
            </a:extLst>
          </p:cNvPr>
          <p:cNvSpPr>
            <a:spLocks noGrp="1"/>
          </p:cNvSpPr>
          <p:nvPr>
            <p:ph type="body" sz="quarter" idx="14" hasCustomPrompt="1"/>
          </p:nvPr>
        </p:nvSpPr>
        <p:spPr>
          <a:xfrm>
            <a:off x="222595" y="3365500"/>
            <a:ext cx="3945431" cy="2349500"/>
          </a:xfrm>
          <a:prstGeom prst="rect">
            <a:avLst/>
          </a:prstGeom>
        </p:spPr>
        <p:txBody>
          <a:bodyPr/>
          <a:lstStyle>
            <a:lvl1pPr marL="0" indent="0">
              <a:lnSpc>
                <a:spcPts val="1250"/>
              </a:lnSpc>
              <a:spcBef>
                <a:spcPts val="0"/>
              </a:spcBef>
              <a:buNone/>
              <a:defRPr sz="1000" b="0" i="0" spc="7"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62BFCF0B-F5B5-884C-AB70-4F0D255DE319}"/>
              </a:ext>
            </a:extLst>
          </p:cNvPr>
          <p:cNvSpPr>
            <a:spLocks noGrp="1"/>
          </p:cNvSpPr>
          <p:nvPr>
            <p:ph type="sldNum" sz="quarter" idx="4"/>
          </p:nvPr>
        </p:nvSpPr>
        <p:spPr>
          <a:xfrm>
            <a:off x="8642111" y="6350780"/>
            <a:ext cx="285843" cy="187523"/>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A036E336-9A20-B64F-A76C-FE1BB8E7356E}"/>
              </a:ext>
            </a:extLst>
          </p:cNvPr>
          <p:cNvSpPr>
            <a:spLocks noGrp="1"/>
          </p:cNvSpPr>
          <p:nvPr>
            <p:ph type="ftr" sz="quarter" idx="3"/>
          </p:nvPr>
        </p:nvSpPr>
        <p:spPr>
          <a:xfrm>
            <a:off x="5557191"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924518605"/>
      </p:ext>
    </p:extLst>
  </p:cSld>
  <p:clrMapOvr>
    <a:masterClrMapping/>
  </p:clrMapOvr>
  <p:extLst>
    <p:ext uri="{DCECCB84-F9BA-43D5-87BE-67443E8EF086}">
      <p15:sldGuideLst xmlns:p15="http://schemas.microsoft.com/office/powerpoint/2012/main">
        <p15:guide id="1" pos="2616" userDrawn="1">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Key Take Away_LB_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3032FDD-FC9E-AB4C-8234-3D0D62778D5E}"/>
              </a:ext>
            </a:extLst>
          </p:cNvPr>
          <p:cNvSpPr>
            <a:spLocks noGrp="1"/>
          </p:cNvSpPr>
          <p:nvPr>
            <p:ph type="pic" sz="quarter" idx="14"/>
          </p:nvPr>
        </p:nvSpPr>
        <p:spPr>
          <a:xfrm>
            <a:off x="4568428" y="0"/>
            <a:ext cx="4575572" cy="6858000"/>
          </a:xfrm>
          <a:prstGeom prst="rect">
            <a:avLst/>
          </a:prstGeom>
          <a:solidFill>
            <a:schemeClr val="bg1">
              <a:lumMod val="95000"/>
            </a:schemeClr>
          </a:solidFill>
          <a:ln>
            <a:noFill/>
          </a:ln>
        </p:spPr>
        <p:txBody>
          <a:bodyPr anchor="ctr"/>
          <a:lstStyle>
            <a:lvl1pPr marL="0" indent="0" algn="ctr">
              <a:buNone/>
              <a:defRPr sz="100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6" name="Text Placeholder 2">
            <a:extLst>
              <a:ext uri="{FF2B5EF4-FFF2-40B4-BE49-F238E27FC236}">
                <a16:creationId xmlns:a16="http://schemas.microsoft.com/office/drawing/2014/main" id="{8384CAD2-BB35-2441-9FC3-D2010114F9A8}"/>
              </a:ext>
            </a:extLst>
          </p:cNvPr>
          <p:cNvSpPr>
            <a:spLocks noGrp="1"/>
          </p:cNvSpPr>
          <p:nvPr>
            <p:ph type="body" sz="quarter" idx="12" hasCustomPrompt="1"/>
          </p:nvPr>
        </p:nvSpPr>
        <p:spPr>
          <a:xfrm>
            <a:off x="209523" y="1840515"/>
            <a:ext cx="3945431" cy="1295173"/>
          </a:xfrm>
          <a:prstGeom prst="rect">
            <a:avLst/>
          </a:prstGeom>
        </p:spPr>
        <p:txBody>
          <a:bodyPr/>
          <a:lstStyle>
            <a:lvl1pPr marL="0" indent="0">
              <a:lnSpc>
                <a:spcPct val="85000"/>
              </a:lnSpc>
              <a:buNone/>
              <a:defRPr sz="2813"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5" name="Text Placeholder 3">
            <a:extLst>
              <a:ext uri="{FF2B5EF4-FFF2-40B4-BE49-F238E27FC236}">
                <a16:creationId xmlns:a16="http://schemas.microsoft.com/office/drawing/2014/main" id="{E4C60CCA-485D-8445-9A7C-885EF35C594B}"/>
              </a:ext>
            </a:extLst>
          </p:cNvPr>
          <p:cNvSpPr>
            <a:spLocks noGrp="1"/>
          </p:cNvSpPr>
          <p:nvPr>
            <p:ph type="body" sz="quarter" idx="15"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7" name="Slide Number Placeholder 5">
            <a:extLst>
              <a:ext uri="{FF2B5EF4-FFF2-40B4-BE49-F238E27FC236}">
                <a16:creationId xmlns:a16="http://schemas.microsoft.com/office/drawing/2014/main" id="{08AAA384-1BA9-204E-9201-2EE77A99345A}"/>
              </a:ext>
            </a:extLst>
          </p:cNvPr>
          <p:cNvSpPr>
            <a:spLocks noGrp="1"/>
          </p:cNvSpPr>
          <p:nvPr>
            <p:ph type="sldNum" sz="quarter" idx="4"/>
          </p:nvPr>
        </p:nvSpPr>
        <p:spPr>
          <a:xfrm>
            <a:off x="3218380"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38C8224F-49B7-2648-BF9F-F857E67B3F62}"/>
              </a:ext>
            </a:extLst>
          </p:cNvPr>
          <p:cNvSpPr>
            <a:spLocks noGrp="1"/>
          </p:cNvSpPr>
          <p:nvPr>
            <p:ph type="ftr" sz="quarter" idx="3"/>
          </p:nvPr>
        </p:nvSpPr>
        <p:spPr>
          <a:xfrm>
            <a:off x="127037"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74937913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617538" y="6242051"/>
            <a:ext cx="2057400" cy="365125"/>
          </a:xfrm>
          <a:prstGeom prst="rect">
            <a:avLst/>
          </a:prstGeom>
        </p:spPr>
        <p:txBody>
          <a:bodyPr/>
          <a:lstStyle/>
          <a:p>
            <a:fld id="{C764DE79-268F-4C1A-8933-263129D2AF90}" type="datetimeFigureOut">
              <a:rPr lang="en-US" dirty="0"/>
              <a:t>2/19/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48356335"/>
      </p:ext>
    </p:extLst>
  </p:cSld>
  <p:clrMapOvr>
    <a:masterClrMapping/>
  </p:clrMapOvr>
  <p:hf hdr="0" dt="0"/>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17538" y="6242051"/>
            <a:ext cx="2057400" cy="365125"/>
          </a:xfrm>
          <a:prstGeom prst="rect">
            <a:avLst/>
          </a:prstGeom>
        </p:spPr>
        <p:txBody>
          <a:bodyPr/>
          <a:lstStyle/>
          <a:p>
            <a:fld id="{C764DE79-268F-4C1A-8933-263129D2AF90}" type="datetimeFigureOut">
              <a:rPr lang="en-US" dirty="0"/>
              <a:t>2/19/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015424066"/>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8522788" y="6360728"/>
            <a:ext cx="282170" cy="180318"/>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5364512"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pic>
        <p:nvPicPr>
          <p:cNvPr id="8" name="Picture 7">
            <a:extLst>
              <a:ext uri="{FF2B5EF4-FFF2-40B4-BE49-F238E27FC236}">
                <a16:creationId xmlns:a16="http://schemas.microsoft.com/office/drawing/2014/main" id="{27606701-BFBC-0B46-8FBD-35E9BF317DBE}"/>
              </a:ext>
            </a:extLst>
          </p:cNvPr>
          <p:cNvPicPr>
            <a:picLocks noChangeAspect="1"/>
          </p:cNvPicPr>
          <p:nvPr userDrawn="1"/>
        </p:nvPicPr>
        <p:blipFill>
          <a:blip r:embed="rId2"/>
          <a:stretch>
            <a:fillRect/>
          </a:stretch>
        </p:blipFill>
        <p:spPr>
          <a:xfrm>
            <a:off x="3125918" y="2571883"/>
            <a:ext cx="2892163" cy="1679061"/>
          </a:xfrm>
          <a:prstGeom prst="rect">
            <a:avLst/>
          </a:prstGeom>
        </p:spPr>
      </p:pic>
    </p:spTree>
    <p:extLst>
      <p:ext uri="{BB962C8B-B14F-4D97-AF65-F5344CB8AC3E}">
        <p14:creationId xmlns:p14="http://schemas.microsoft.com/office/powerpoint/2010/main" val="26544978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2391551" y="1849182"/>
            <a:ext cx="3204082" cy="275242"/>
          </a:xfrm>
          <a:prstGeom prst="rect">
            <a:avLst/>
          </a:prstGeom>
        </p:spPr>
        <p:txBody>
          <a:bodyPr/>
          <a:lstStyle>
            <a:lvl1pPr marL="0" indent="0">
              <a:buNone/>
              <a:defRPr sz="1563"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2391551" y="2166758"/>
            <a:ext cx="3204082" cy="278069"/>
          </a:xfrm>
          <a:prstGeom prst="rect">
            <a:avLst/>
          </a:prstGeom>
        </p:spPr>
        <p:txBody>
          <a:bodyPr/>
          <a:lstStyle>
            <a:lvl1pPr marL="0" indent="0">
              <a:buNone/>
              <a:defRPr sz="1563"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07880" y="1817430"/>
            <a:ext cx="1708740" cy="1743333"/>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8486598" y="6358796"/>
            <a:ext cx="313965" cy="236408"/>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5416215"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31169" y="319987"/>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2391172" y="2825750"/>
            <a:ext cx="4347766" cy="3270250"/>
          </a:xfrm>
          <a:prstGeom prst="rect">
            <a:avLst/>
          </a:prstGeom>
        </p:spPr>
        <p:txBody>
          <a:bodyPr/>
          <a:lstStyle>
            <a:lvl1pPr marL="0" indent="0">
              <a:lnSpc>
                <a:spcPts val="1250"/>
              </a:lnSpc>
              <a:spcBef>
                <a:spcPts val="0"/>
              </a:spcBef>
              <a:buNone/>
              <a:defRPr lang="en-US" sz="10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174083815"/>
      </p:ext>
    </p:extLst>
  </p:cSld>
  <p:clrMapOvr>
    <a:masterClrMapping/>
  </p:clrMapOvr>
  <p:extLst>
    <p:ext uri="{DCECCB84-F9BA-43D5-87BE-67443E8EF086}">
      <p15:sldGuideLst xmlns:p15="http://schemas.microsoft.com/office/powerpoint/2012/main">
        <p15:guide id="1" orient="horz" pos="1200" userDrawn="1">
          <p15:clr>
            <a:srgbClr val="FBAE40"/>
          </p15:clr>
        </p15:guide>
        <p15:guide id="2" orient="horz" pos="1520" userDrawn="1">
          <p15:clr>
            <a:srgbClr val="FBAE40"/>
          </p15:clr>
        </p15:guide>
        <p15:guide id="3" orient="horz" pos="1780" userDrawn="1">
          <p15:clr>
            <a:srgbClr val="FBAE40"/>
          </p15:clr>
        </p15:guide>
        <p15:guide id="6" pos="1260"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17538" y="6242051"/>
            <a:ext cx="2057400" cy="365125"/>
          </a:xfrm>
          <a:prstGeom prst="rect">
            <a:avLst/>
          </a:prstGeom>
        </p:spPr>
        <p:txBody>
          <a:bodyPr/>
          <a:lstStyle/>
          <a:p>
            <a:fld id="{C764DE79-268F-4C1A-8933-263129D2AF90}" type="datetimeFigureOut">
              <a:rPr lang="en-US" dirty="0"/>
              <a:t>2/19/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109050256"/>
      </p:ext>
    </p:extLst>
  </p:cSld>
  <p:clrMapOvr>
    <a:masterClrMapping/>
  </p:clrMapOvr>
  <p:hf hdr="0" dt="0"/>
</p:sldLayout>
</file>

<file path=ppt/slideLayouts/slideLayout2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17538" y="6242051"/>
            <a:ext cx="2057400" cy="365125"/>
          </a:xfrm>
          <a:prstGeom prst="rect">
            <a:avLst/>
          </a:prstGeom>
        </p:spPr>
        <p:txBody>
          <a:bodyPr/>
          <a:lstStyle/>
          <a:p>
            <a:fld id="{C764DE79-268F-4C1A-8933-263129D2AF90}" type="datetimeFigureOut">
              <a:rPr lang="en-US" dirty="0"/>
              <a:t>2/19/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770792225"/>
      </p:ext>
    </p:extLst>
  </p:cSld>
  <p:clrMapOvr>
    <a:masterClrMapping/>
  </p:clrMapOvr>
  <p:hf hdr="0" dt="0"/>
</p:sldLayout>
</file>

<file path=ppt/slideLayouts/slideLayout2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17538" y="6242051"/>
            <a:ext cx="2057400" cy="365125"/>
          </a:xfrm>
          <a:prstGeom prst="rect">
            <a:avLst/>
          </a:prstGeom>
        </p:spPr>
        <p:txBody>
          <a:bodyPr/>
          <a:lstStyle/>
          <a:p>
            <a:fld id="{C764DE79-268F-4C1A-8933-263129D2AF90}" type="datetimeFigureOut">
              <a:rPr lang="en-US" dirty="0"/>
              <a:t>2/19/2020</a:t>
            </a:fld>
            <a:endParaRPr lang="en-US" dirty="0"/>
          </a:p>
        </p:txBody>
      </p:sp>
      <p:sp>
        <p:nvSpPr>
          <p:cNvPr id="8" name="Footer Placeholder 7"/>
          <p:cNvSpPr>
            <a:spLocks noGrp="1"/>
          </p:cNvSpPr>
          <p:nvPr>
            <p:ph type="ftr" sz="quarter" idx="11"/>
          </p:nvPr>
        </p:nvSpPr>
        <p:spPr/>
        <p:txBody>
          <a:bodyPr/>
          <a:lstStyle/>
          <a:p>
            <a:r>
              <a:rPr lang="en-US"/>
              <a:t>Presentation Title Here – Month 00, 000</a:t>
            </a:r>
            <a:endParaRPr lang="en-US" dirty="0"/>
          </a:p>
        </p:txBody>
      </p:sp>
      <p:sp>
        <p:nvSpPr>
          <p:cNvPr id="9" name="Slide Number Placeholder 8"/>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297863424"/>
      </p:ext>
    </p:extLst>
  </p:cSld>
  <p:clrMapOvr>
    <a:masterClrMapping/>
  </p:clrMapOvr>
  <p:hf hdr="0" dt="0"/>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17538" y="6242051"/>
            <a:ext cx="2057400" cy="365125"/>
          </a:xfrm>
          <a:prstGeom prst="rect">
            <a:avLst/>
          </a:prstGeom>
        </p:spPr>
        <p:txBody>
          <a:bodyPr/>
          <a:lstStyle/>
          <a:p>
            <a:fld id="{C764DE79-268F-4C1A-8933-263129D2AF90}" type="datetimeFigureOut">
              <a:rPr lang="en-US" dirty="0"/>
              <a:t>2/19/2020</a:t>
            </a:fld>
            <a:endParaRPr lang="en-US" dirty="0"/>
          </a:p>
        </p:txBody>
      </p:sp>
      <p:sp>
        <p:nvSpPr>
          <p:cNvPr id="4" name="Footer Placeholder 3"/>
          <p:cNvSpPr>
            <a:spLocks noGrp="1"/>
          </p:cNvSpPr>
          <p:nvPr>
            <p:ph type="ftr" sz="quarter" idx="11"/>
          </p:nvPr>
        </p:nvSpPr>
        <p:spPr/>
        <p:txBody>
          <a:bodyPr/>
          <a:lstStyle/>
          <a:p>
            <a:r>
              <a:rPr lang="en-US"/>
              <a:t>Presentation Title Here – Month 00, 000</a:t>
            </a:r>
            <a:endParaRPr lang="en-US" dirty="0"/>
          </a:p>
        </p:txBody>
      </p:sp>
      <p:sp>
        <p:nvSpPr>
          <p:cNvPr id="5" name="Slide Number Placeholder 4"/>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091950755"/>
      </p:ext>
    </p:extLst>
  </p:cSld>
  <p:clrMapOvr>
    <a:masterClrMapping/>
  </p:clrMapOvr>
  <p:hf hdr="0" dt="0"/>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17538" y="6242051"/>
            <a:ext cx="2057400" cy="365125"/>
          </a:xfrm>
          <a:prstGeom prst="rect">
            <a:avLst/>
          </a:prstGeom>
        </p:spPr>
        <p:txBody>
          <a:bodyPr/>
          <a:lstStyle/>
          <a:p>
            <a:fld id="{C764DE79-268F-4C1A-8933-263129D2AF90}" type="datetimeFigureOut">
              <a:rPr lang="en-US" dirty="0"/>
              <a:t>2/19/2020</a:t>
            </a:fld>
            <a:endParaRPr lang="en-US" dirty="0"/>
          </a:p>
        </p:txBody>
      </p:sp>
      <p:sp>
        <p:nvSpPr>
          <p:cNvPr id="3" name="Footer Placeholder 2"/>
          <p:cNvSpPr>
            <a:spLocks noGrp="1"/>
          </p:cNvSpPr>
          <p:nvPr>
            <p:ph type="ftr" sz="quarter" idx="11"/>
          </p:nvPr>
        </p:nvSpPr>
        <p:spPr/>
        <p:txBody>
          <a:bodyPr/>
          <a:lstStyle/>
          <a:p>
            <a:r>
              <a:rPr lang="en-US"/>
              <a:t>Presentation Title Here – Month 00, 000</a:t>
            </a:r>
            <a:endParaRPr lang="en-US" dirty="0"/>
          </a:p>
        </p:txBody>
      </p:sp>
      <p:sp>
        <p:nvSpPr>
          <p:cNvPr id="4" name="Slide Number Placeholder 3"/>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723409302"/>
      </p:ext>
    </p:extLst>
  </p:cSld>
  <p:clrMapOvr>
    <a:masterClrMapping/>
  </p:clrMapOvr>
  <p:hf hdr="0" dt="0"/>
</p:sldLayout>
</file>

<file path=ppt/slideLayouts/slideLayout2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17538" y="6242051"/>
            <a:ext cx="2057400" cy="365125"/>
          </a:xfrm>
          <a:prstGeom prst="rect">
            <a:avLst/>
          </a:prstGeom>
        </p:spPr>
        <p:txBody>
          <a:bodyPr/>
          <a:lstStyle/>
          <a:p>
            <a:fld id="{C764DE79-268F-4C1A-8933-263129D2AF90}" type="datetimeFigureOut">
              <a:rPr lang="en-US" dirty="0"/>
              <a:t>2/19/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526633037"/>
      </p:ext>
    </p:extLst>
  </p:cSld>
  <p:clrMapOvr>
    <a:masterClrMapping/>
  </p:clrMapOvr>
  <p:hf hdr="0" dt="0"/>
</p:sldLayout>
</file>

<file path=ppt/slideLayouts/slideLayout2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17538" y="6242051"/>
            <a:ext cx="2057400" cy="365125"/>
          </a:xfrm>
          <a:prstGeom prst="rect">
            <a:avLst/>
          </a:prstGeom>
        </p:spPr>
        <p:txBody>
          <a:bodyPr/>
          <a:lstStyle/>
          <a:p>
            <a:fld id="{C764DE79-268F-4C1A-8933-263129D2AF90}" type="datetimeFigureOut">
              <a:rPr lang="en-US" dirty="0"/>
              <a:t>2/19/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531923457"/>
      </p:ext>
    </p:extLst>
  </p:cSld>
  <p:clrMapOvr>
    <a:masterClrMapping/>
  </p:clrMapOvr>
  <p:hf hdr="0" dt="0"/>
</p:sldLayout>
</file>

<file path=ppt/slideLayouts/slideLayout2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17538" y="6242051"/>
            <a:ext cx="2057400" cy="365125"/>
          </a:xfrm>
          <a:prstGeom prst="rect">
            <a:avLst/>
          </a:prstGeom>
        </p:spPr>
        <p:txBody>
          <a:bodyPr/>
          <a:lstStyle/>
          <a:p>
            <a:fld id="{C764DE79-268F-4C1A-8933-263129D2AF90}" type="datetimeFigureOut">
              <a:rPr lang="en-US" dirty="0"/>
              <a:t>2/19/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616475823"/>
      </p:ext>
    </p:extLst>
  </p:cSld>
  <p:clrMapOvr>
    <a:masterClrMapping/>
  </p:clrMapOvr>
  <p:hf hdr="0" dt="0"/>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17538" y="6242051"/>
            <a:ext cx="2057400" cy="365125"/>
          </a:xfrm>
          <a:prstGeom prst="rect">
            <a:avLst/>
          </a:prstGeom>
        </p:spPr>
        <p:txBody>
          <a:bodyPr/>
          <a:lstStyle/>
          <a:p>
            <a:fld id="{C764DE79-268F-4C1A-8933-263129D2AF90}" type="datetimeFigureOut">
              <a:rPr lang="en-US" dirty="0"/>
              <a:t>2/19/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208017912"/>
      </p:ext>
    </p:extLst>
  </p:cSld>
  <p:clrMapOvr>
    <a:masterClrMapping/>
  </p:clrMapOvr>
  <p:hf hdr="0" dt="0"/>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6103619" y="1904998"/>
            <a:ext cx="3051810" cy="41910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3051809" y="1904998"/>
            <a:ext cx="3051810" cy="41910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1905000"/>
            <a:ext cx="3051810" cy="4191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3050068" y="1752600"/>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6103619" y="1829103"/>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8593986" y="6378281"/>
            <a:ext cx="319828" cy="133094"/>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554992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228041" y="333737"/>
            <a:ext cx="3629586"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208861"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3222224" y="2059218"/>
            <a:ext cx="825624" cy="825498"/>
          </a:xfrm>
          <a:prstGeom prst="rect">
            <a:avLst/>
          </a:prstGeom>
        </p:spPr>
        <p:txBody>
          <a:bodyPr/>
          <a:lstStyle>
            <a:lvl1pPr marL="0" indent="0" algn="l">
              <a:buNone/>
              <a:defRPr sz="4688"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6270224" y="2059218"/>
            <a:ext cx="825624" cy="825498"/>
          </a:xfrm>
          <a:prstGeom prst="rect">
            <a:avLst/>
          </a:prstGeom>
        </p:spPr>
        <p:txBody>
          <a:bodyPr/>
          <a:lstStyle>
            <a:lvl1pPr marL="0" indent="0" algn="l">
              <a:buNone/>
              <a:defRPr sz="4688"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226031" y="3058636"/>
            <a:ext cx="2612522"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3226406" y="3058636"/>
            <a:ext cx="2612522"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6265748" y="3058636"/>
            <a:ext cx="2612522" cy="727080"/>
          </a:xfrm>
          <a:prstGeom prst="rect">
            <a:avLst/>
          </a:prstGeom>
        </p:spPr>
        <p:txBody>
          <a:bodyPr/>
          <a:lstStyle>
            <a:lvl1pPr marL="0" indent="0">
              <a:lnSpc>
                <a:spcPts val="750"/>
              </a:lnSpc>
              <a:buNone/>
              <a:defRPr sz="1125" b="1" i="0">
                <a:solidFill>
                  <a:srgbClr val="0025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2702205040"/>
      </p:ext>
    </p:extLst>
  </p:cSld>
  <p:clrMapOvr>
    <a:masterClrMapping/>
  </p:clrMapOvr>
  <p:extLst>
    <p:ext uri="{DCECCB84-F9BA-43D5-87BE-67443E8EF086}">
      <p15:sldGuideLst xmlns:p15="http://schemas.microsoft.com/office/powerpoint/2012/main">
        <p15:guide id="1" orient="horz" pos="3835">
          <p15:clr>
            <a:srgbClr val="FBAE40"/>
          </p15:clr>
        </p15:guide>
        <p15:guide id="2" orient="horz" pos="120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200066" y="2053001"/>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200066" y="2268544"/>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366883" y="2004620"/>
            <a:ext cx="714375" cy="73297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8506678" y="6360735"/>
            <a:ext cx="325185" cy="20835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5458734"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44920" y="271861"/>
            <a:ext cx="3486711" cy="479861"/>
          </a:xfrm>
          <a:prstGeom prst="rect">
            <a:avLst/>
          </a:prstGeom>
        </p:spPr>
        <p:txBody>
          <a:bodyPr anchor="b">
            <a:noAutofit/>
          </a:bodyPr>
          <a:lstStyle>
            <a:lvl1pPr algn="l">
              <a:defRPr sz="2188"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204496" y="2538948"/>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4012397" y="2053001"/>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4012397" y="2268544"/>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3184824" y="2015841"/>
            <a:ext cx="714375" cy="732056"/>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4016827" y="2538823"/>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6896355" y="2053001"/>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6896355" y="2271273"/>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6068783" y="2015841"/>
            <a:ext cx="714375" cy="732056"/>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6900785" y="2532840"/>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6900785" y="5533584"/>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200066" y="3565541"/>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200066" y="3781085"/>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372493" y="3528382"/>
            <a:ext cx="714375" cy="732056"/>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204496" y="4051489"/>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4012397" y="3565541"/>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4012397" y="3781085"/>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3184824" y="3528382"/>
            <a:ext cx="714375" cy="732056"/>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4016827" y="4051364"/>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6896355" y="3565541"/>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6896355" y="3783814"/>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6068783" y="3528382"/>
            <a:ext cx="714375" cy="732056"/>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6900785" y="4045381"/>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200066" y="5055166"/>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200066" y="5270709"/>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372493" y="5018006"/>
            <a:ext cx="714375" cy="732056"/>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204496" y="5541113"/>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4012397" y="5055166"/>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4012397" y="5270709"/>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3184824" y="5018006"/>
            <a:ext cx="714375" cy="732056"/>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4016827" y="5540988"/>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6896355" y="5055166"/>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6896355" y="5273438"/>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6068783" y="5018006"/>
            <a:ext cx="714375" cy="732056"/>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6900785" y="5535005"/>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550853286"/>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279477" y="2479966"/>
            <a:ext cx="8585048" cy="1898069"/>
          </a:xfrm>
          <a:prstGeom prst="rect">
            <a:avLst/>
          </a:prstGeom>
        </p:spPr>
        <p:txBody>
          <a:bodyPr anchor="ctr" anchorCtr="0"/>
          <a:lstStyle>
            <a:lvl1pPr marL="0" indent="0" algn="ctr">
              <a:buNone/>
              <a:defRPr sz="5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20125" y="6372034"/>
            <a:ext cx="1416244" cy="182432"/>
          </a:xfrm>
          <a:prstGeom prst="rect">
            <a:avLst/>
          </a:prstGeom>
        </p:spPr>
        <p:txBody>
          <a:bodyPr vert="horz" lIns="57150" tIns="28575" rIns="57150" bIns="28575"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60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88750217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19/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863006762"/>
      </p:ext>
    </p:extLst>
  </p:cSld>
  <p:clrMapOvr>
    <a:masterClrMapping/>
  </p:clrMapOvr>
  <p:hf hdr="0" dt="0"/>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19/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84123265"/>
      </p:ext>
    </p:extLst>
  </p:cSld>
  <p:clrMapOvr>
    <a:masterClrMapping/>
  </p:clrMapOvr>
  <p:hf hdr="0" dt="0"/>
</p:sldLayout>
</file>

<file path=ppt/slideLayouts/slideLayout2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19/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212553170"/>
      </p:ext>
    </p:extLst>
  </p:cSld>
  <p:clrMapOvr>
    <a:masterClrMapping/>
  </p:clrMapOvr>
  <p:hf hdr="0" dt="0"/>
</p:sldLayout>
</file>

<file path=ppt/slideLayouts/slideLayout2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2/19/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69903430"/>
      </p:ext>
    </p:extLst>
  </p:cSld>
  <p:clrMapOvr>
    <a:masterClrMapping/>
  </p:clrMapOvr>
  <p:hf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2/19/2020</a:t>
            </a:fld>
            <a:endParaRPr lang="en-US" dirty="0"/>
          </a:p>
        </p:txBody>
      </p:sp>
      <p:sp>
        <p:nvSpPr>
          <p:cNvPr id="8" name="Footer Placeholder 7"/>
          <p:cNvSpPr>
            <a:spLocks noGrp="1"/>
          </p:cNvSpPr>
          <p:nvPr>
            <p:ph type="ftr" sz="quarter" idx="11"/>
          </p:nvPr>
        </p:nvSpPr>
        <p:spPr/>
        <p:txBody>
          <a:bodyPr/>
          <a:lstStyle/>
          <a:p>
            <a:r>
              <a:rPr lang="en-US"/>
              <a:t>Presentation Title Here – Month 00, 000</a:t>
            </a:r>
            <a:endParaRPr lang="en-US" dirty="0"/>
          </a:p>
        </p:txBody>
      </p:sp>
      <p:sp>
        <p:nvSpPr>
          <p:cNvPr id="9" name="Slide Number Placeholder 8"/>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962639198"/>
      </p:ext>
    </p:extLst>
  </p:cSld>
  <p:clrMapOvr>
    <a:masterClrMapping/>
  </p:clrMapOvr>
  <p:hf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2/19/2020</a:t>
            </a:fld>
            <a:endParaRPr lang="en-US" dirty="0"/>
          </a:p>
        </p:txBody>
      </p:sp>
      <p:sp>
        <p:nvSpPr>
          <p:cNvPr id="4" name="Footer Placeholder 3"/>
          <p:cNvSpPr>
            <a:spLocks noGrp="1"/>
          </p:cNvSpPr>
          <p:nvPr>
            <p:ph type="ftr" sz="quarter" idx="11"/>
          </p:nvPr>
        </p:nvSpPr>
        <p:spPr/>
        <p:txBody>
          <a:bodyPr/>
          <a:lstStyle/>
          <a:p>
            <a:r>
              <a:rPr lang="en-US"/>
              <a:t>Presentation Title Here – Month 00, 000</a:t>
            </a:r>
            <a:endParaRPr lang="en-US" dirty="0"/>
          </a:p>
        </p:txBody>
      </p:sp>
      <p:sp>
        <p:nvSpPr>
          <p:cNvPr id="5" name="Slide Number Placeholder 4"/>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872437207"/>
      </p:ext>
    </p:extLst>
  </p:cSld>
  <p:clrMapOvr>
    <a:masterClrMapping/>
  </p:clrMapOvr>
  <p:hf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2/19/2020</a:t>
            </a:fld>
            <a:endParaRPr lang="en-US" dirty="0"/>
          </a:p>
        </p:txBody>
      </p:sp>
      <p:sp>
        <p:nvSpPr>
          <p:cNvPr id="3" name="Footer Placeholder 2"/>
          <p:cNvSpPr>
            <a:spLocks noGrp="1"/>
          </p:cNvSpPr>
          <p:nvPr>
            <p:ph type="ftr" sz="quarter" idx="11"/>
          </p:nvPr>
        </p:nvSpPr>
        <p:spPr/>
        <p:txBody>
          <a:bodyPr/>
          <a:lstStyle/>
          <a:p>
            <a:r>
              <a:rPr lang="en-US"/>
              <a:t>Presentation Title Here – Month 00, 000</a:t>
            </a:r>
            <a:endParaRPr lang="en-US" dirty="0"/>
          </a:p>
        </p:txBody>
      </p:sp>
      <p:sp>
        <p:nvSpPr>
          <p:cNvPr id="4" name="Slide Number Placeholder 3"/>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030713886"/>
      </p:ext>
    </p:extLst>
  </p:cSld>
  <p:clrMapOvr>
    <a:masterClrMapping/>
  </p:clrMapOvr>
  <p:hf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19/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777265575"/>
      </p:ext>
    </p:extLst>
  </p:cSld>
  <p:clrMapOvr>
    <a:masterClrMapping/>
  </p:clrMapOvr>
  <p:hf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19/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094071356"/>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8579056" y="6360735"/>
            <a:ext cx="297136" cy="20274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5486234"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36471" y="1785933"/>
            <a:ext cx="6241852" cy="4310067"/>
          </a:xfrm>
          <a:prstGeom prst="rect">
            <a:avLst/>
          </a:prstGeom>
        </p:spPr>
        <p:txBody>
          <a:bodyPr/>
          <a:lstStyle>
            <a:lvl1pPr marL="0" indent="7938">
              <a:lnSpc>
                <a:spcPts val="3438"/>
              </a:lnSpc>
              <a:buNone/>
              <a:tabLst/>
              <a:defRPr sz="2813"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170225923"/>
      </p:ext>
    </p:extLst>
  </p:cSld>
  <p:clrMapOvr>
    <a:masterClrMapping/>
  </p:clrMapOvr>
  <p:extLst>
    <p:ext uri="{DCECCB84-F9BA-43D5-87BE-67443E8EF086}">
      <p15:sldGuideLst xmlns:p15="http://schemas.microsoft.com/office/powerpoint/2012/main">
        <p15:guide id="1" orient="horz" pos="1200"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19/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674089530"/>
      </p:ext>
    </p:extLst>
  </p:cSld>
  <p:clrMapOvr>
    <a:masterClrMapping/>
  </p:clrMapOvr>
  <p:hf hdr="0" dt="0"/>
</p:sldLayout>
</file>

<file path=ppt/slideLayouts/slideLayout2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19/2020</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7813729"/>
      </p:ext>
    </p:extLst>
  </p:cSld>
  <p:clrMapOvr>
    <a:masterClrMapping/>
  </p:clrMapOvr>
  <p:hf hdr="0" dt="0"/>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228601" y="2141220"/>
            <a:ext cx="4286251" cy="3954780"/>
          </a:xfrm>
          <a:prstGeom prst="rect">
            <a:avLst/>
          </a:prstGeom>
        </p:spPr>
        <p:txBody>
          <a:bodyPr>
            <a:normAutofit/>
          </a:bodyPr>
          <a:lstStyle>
            <a:lvl1pPr marL="133340" indent="-133340">
              <a:lnSpc>
                <a:spcPct val="90000"/>
              </a:lnSpc>
              <a:buFont typeface="Arial" panose="020B0604020202020204" pitchFamily="34" charset="0"/>
              <a:buChar char="•"/>
              <a:tabLst/>
              <a:defRPr sz="1000" b="0" i="0">
                <a:solidFill>
                  <a:srgbClr val="002677"/>
                </a:solidFill>
                <a:latin typeface="IBM Eliot Sans Medium" panose="020B0703050000000000" pitchFamily="34" charset="0"/>
              </a:defRPr>
            </a:lvl1pPr>
            <a:lvl2pPr marL="128579" marR="0" indent="0" algn="l" defTabSz="685749" rtl="0" eaLnBrk="1" fontAlgn="auto" latinLnBrk="0" hangingPunct="1">
              <a:lnSpc>
                <a:spcPct val="90000"/>
              </a:lnSpc>
              <a:spcBef>
                <a:spcPts val="376"/>
              </a:spcBef>
              <a:spcAft>
                <a:spcPts val="0"/>
              </a:spcAft>
              <a:buClrTx/>
              <a:buSzTx/>
              <a:buFont typeface="Courier New" panose="02070309020205020404" pitchFamily="49" charset="0"/>
              <a:buNone/>
              <a:tabLst/>
              <a:defRPr sz="75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258348" marR="0" lvl="1" indent="-129769" algn="l" defTabSz="685749" rtl="0" eaLnBrk="1" fontAlgn="auto" latinLnBrk="0" hangingPunct="1">
              <a:lnSpc>
                <a:spcPts val="1875"/>
              </a:lnSpc>
              <a:spcBef>
                <a:spcPts val="376"/>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115888" indent="-55563">
              <a:lnSpc>
                <a:spcPts val="1875"/>
              </a:lnSpc>
              <a:buNone/>
              <a:tabLst/>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84641734"/>
      </p:ext>
    </p:extLst>
  </p:cSld>
  <p:clrMapOvr>
    <a:masterClrMapping/>
  </p:clrMapOvr>
  <p:extLst>
    <p:ext uri="{DCECCB84-F9BA-43D5-87BE-67443E8EF086}">
      <p15:sldGuideLst xmlns:p15="http://schemas.microsoft.com/office/powerpoint/2012/main">
        <p15:guide id="2" orient="horz" pos="14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8536541" y="6358795"/>
            <a:ext cx="285916" cy="21396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5438109"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58911" y="1785933"/>
            <a:ext cx="6241852" cy="4310067"/>
          </a:xfrm>
          <a:prstGeom prst="rect">
            <a:avLst/>
          </a:prstGeom>
        </p:spPr>
        <p:txBody>
          <a:bodyPr/>
          <a:lstStyle>
            <a:lvl1pPr marL="0" indent="0">
              <a:lnSpc>
                <a:spcPts val="3438"/>
              </a:lnSpc>
              <a:buNone/>
              <a:defRPr sz="2813"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217202" y="-115958"/>
            <a:ext cx="1143000" cy="1524000"/>
          </a:xfrm>
          <a:prstGeom prst="rect">
            <a:avLst/>
          </a:prstGeom>
        </p:spPr>
      </p:pic>
    </p:spTree>
    <p:extLst>
      <p:ext uri="{BB962C8B-B14F-4D97-AF65-F5344CB8AC3E}">
        <p14:creationId xmlns:p14="http://schemas.microsoft.com/office/powerpoint/2010/main" val="3940997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8505962" y="6364406"/>
            <a:ext cx="297136" cy="225188"/>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5424359"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20432" y="382885"/>
            <a:ext cx="3500909" cy="1166343"/>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429192" y="3770901"/>
            <a:ext cx="2140148"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3203668" y="3770901"/>
            <a:ext cx="2140148"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6131870" y="3770901"/>
            <a:ext cx="2140148"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434629"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3201414" y="2560320"/>
            <a:ext cx="857250" cy="1143000"/>
          </a:xfrm>
          <a:prstGeom prst="rect">
            <a:avLst/>
          </a:prstGeom>
        </p:spPr>
        <p:txBody>
          <a:bodyPr/>
          <a:lstStyle>
            <a:lvl2pPr>
              <a:defRPr sz="5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6129429" y="2560320"/>
            <a:ext cx="857250" cy="1143000"/>
          </a:xfrm>
          <a:prstGeom prst="rect">
            <a:avLst/>
          </a:prstGeom>
        </p:spPr>
        <p:txBody>
          <a:bodyPr/>
          <a:lstStyle>
            <a:lvl2pPr>
              <a:defRPr sz="5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425918"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3194504"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6128597"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30570709"/>
      </p:ext>
    </p:extLst>
  </p:cSld>
  <p:clrMapOvr>
    <a:masterClrMapping/>
  </p:clrMapOvr>
  <p:extLst>
    <p:ext uri="{DCECCB84-F9BA-43D5-87BE-67443E8EF086}">
      <p15:sldGuideLst xmlns:p15="http://schemas.microsoft.com/office/powerpoint/2012/main">
        <p15:guide id="5" orient="horz" pos="1720" userDrawn="1">
          <p15:clr>
            <a:srgbClr val="FBAE40"/>
          </p15:clr>
        </p15:guide>
        <p15:guide id="6" orient="horz" pos="2220" userDrawn="1">
          <p15:clr>
            <a:srgbClr val="FBAE40"/>
          </p15:clr>
        </p15:guide>
        <p15:guide id="9" orient="horz" pos="2400" userDrawn="1">
          <p15:clr>
            <a:srgbClr val="FBAE40"/>
          </p15:clr>
        </p15:guide>
        <p15:guide id="10" orient="horz" pos="2520" userDrawn="1">
          <p15:clr>
            <a:srgbClr val="FBAE40"/>
          </p15:clr>
        </p15:guide>
        <p15:guide id="11" orient="horz" pos="158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20432" y="349225"/>
            <a:ext cx="3500909" cy="1166343"/>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8506677" y="6360735"/>
            <a:ext cx="313967" cy="21396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5458734"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429192" y="3770901"/>
            <a:ext cx="1892754"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2478984" y="3770901"/>
            <a:ext cx="1892754"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4653040" y="3770901"/>
            <a:ext cx="1892754"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6821205" y="3770901"/>
            <a:ext cx="1892754"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434629"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2487039"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4653977"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682091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2487493" y="4016865"/>
            <a:ext cx="1720218" cy="2079136"/>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425919" y="4016866"/>
            <a:ext cx="1720218" cy="2079136"/>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4655659" y="4016863"/>
            <a:ext cx="1720218" cy="2079137"/>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6823824" y="4016863"/>
            <a:ext cx="1720218" cy="2079137"/>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819970525"/>
      </p:ext>
    </p:extLst>
  </p:cSld>
  <p:clrMapOvr>
    <a:masterClrMapping/>
  </p:clrMapOvr>
  <p:extLst>
    <p:ext uri="{DCECCB84-F9BA-43D5-87BE-67443E8EF086}">
      <p15:sldGuideLst xmlns:p15="http://schemas.microsoft.com/office/powerpoint/2012/main">
        <p15:guide id="7" orient="horz" pos="1740" userDrawn="1">
          <p15:clr>
            <a:srgbClr val="FBAE40"/>
          </p15:clr>
        </p15:guide>
        <p15:guide id="8" orient="horz" pos="2220" userDrawn="1">
          <p15:clr>
            <a:srgbClr val="FBAE40"/>
          </p15:clr>
        </p15:guide>
        <p15:guide id="9" orient="horz" pos="2400" userDrawn="1">
          <p15:clr>
            <a:srgbClr val="FBAE40"/>
          </p15:clr>
        </p15:guide>
        <p15:guide id="10" orient="horz" pos="252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285749" y="2508250"/>
            <a:ext cx="2851785" cy="358775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6004081" y="2508251"/>
            <a:ext cx="2851785" cy="358774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3151407" y="2508250"/>
            <a:ext cx="2851785" cy="358775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8437380" y="6360736"/>
            <a:ext cx="353234" cy="185920"/>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5417484"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421027" y="34922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414871" y="1169099"/>
            <a:ext cx="3500909" cy="397498"/>
          </a:xfrm>
          <a:prstGeom prst="rect">
            <a:avLst/>
          </a:prstGeom>
        </p:spPr>
        <p:txBody>
          <a:bodyPr>
            <a:noAutofit/>
          </a:bodyPr>
          <a:lstStyle>
            <a:lvl1pPr marL="0" indent="0">
              <a:lnSpc>
                <a:spcPts val="1875"/>
              </a:lnSpc>
              <a:buNone/>
              <a:defRPr sz="1125"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442679" y="4148417"/>
            <a:ext cx="2140148" cy="227542"/>
          </a:xfrm>
          <a:prstGeom prst="rect">
            <a:avLst/>
          </a:prstGeom>
        </p:spPr>
        <p:txBody>
          <a:bodyPr anchor="t"/>
          <a:lstStyle>
            <a:lvl1pPr marL="0" indent="0">
              <a:buNone/>
              <a:defRPr sz="75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3323745" y="4148417"/>
            <a:ext cx="2140148" cy="227542"/>
          </a:xfrm>
          <a:prstGeom prst="rect">
            <a:avLst/>
          </a:prstGeom>
        </p:spPr>
        <p:txBody>
          <a:bodyPr anchor="t"/>
          <a:lstStyle>
            <a:lvl1pPr marL="0" indent="0">
              <a:buNone/>
              <a:defRPr sz="75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6181245" y="4148417"/>
            <a:ext cx="2140148" cy="227542"/>
          </a:xfrm>
          <a:prstGeom prst="rect">
            <a:avLst/>
          </a:prstGeom>
        </p:spPr>
        <p:txBody>
          <a:bodyPr anchor="t"/>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505255" y="2785918"/>
            <a:ext cx="857250" cy="1143000"/>
          </a:xfrm>
          <a:prstGeom prst="rect">
            <a:avLst/>
          </a:prstGeom>
        </p:spPr>
        <p:txBody>
          <a:bodyPr/>
          <a:lstStyle>
            <a:lvl1pPr marL="0" indent="0" algn="ctr">
              <a:buNone/>
              <a:defRPr sz="5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3309938" y="2785918"/>
            <a:ext cx="857250" cy="1143000"/>
          </a:xfrm>
          <a:prstGeom prst="rect">
            <a:avLst/>
          </a:prstGeom>
        </p:spPr>
        <p:txBody>
          <a:bodyPr/>
          <a:lstStyle>
            <a:lvl1pPr marL="0" indent="0" algn="ctr">
              <a:buNone/>
              <a:defRPr sz="5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6167438" y="2785918"/>
            <a:ext cx="857250" cy="1143000"/>
          </a:xfrm>
          <a:prstGeom prst="rect">
            <a:avLst/>
          </a:prstGeom>
        </p:spPr>
        <p:txBody>
          <a:bodyPr/>
          <a:lstStyle>
            <a:lvl1pPr marL="0" indent="0" algn="ctr">
              <a:buNone/>
              <a:defRPr sz="5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460375" y="4396901"/>
            <a:ext cx="2231390" cy="1343501"/>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3317875" y="4396901"/>
            <a:ext cx="2231390" cy="1343501"/>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6169660" y="4396901"/>
            <a:ext cx="2231390" cy="1343501"/>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55816084"/>
      </p:ext>
    </p:extLst>
  </p:cSld>
  <p:clrMapOvr>
    <a:masterClrMapping/>
  </p:clrMapOvr>
  <p:extLst>
    <p:ext uri="{DCECCB84-F9BA-43D5-87BE-67443E8EF086}">
      <p15:sldGuideLst xmlns:p15="http://schemas.microsoft.com/office/powerpoint/2012/main">
        <p15:guide id="1" orient="horz" pos="1740" userDrawn="1">
          <p15:clr>
            <a:srgbClr val="FBAE40"/>
          </p15:clr>
        </p15:guide>
        <p15:guide id="3" orient="horz" pos="2640" userDrawn="1">
          <p15:clr>
            <a:srgbClr val="FBAE40"/>
          </p15:clr>
        </p15:guide>
        <p15:guide id="9" pos="315" userDrawn="1">
          <p15:clr>
            <a:srgbClr val="FBAE40"/>
          </p15:clr>
        </p15:guide>
        <p15:guide id="11" orient="horz" pos="364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285750" y="2508250"/>
            <a:ext cx="2125980" cy="358902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4584118" y="2508250"/>
            <a:ext cx="2125980" cy="3589020"/>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6733182" y="2508250"/>
            <a:ext cx="2125980" cy="358775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2434746" y="2508250"/>
            <a:ext cx="2125980" cy="358902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8471083" y="6360735"/>
            <a:ext cx="365125" cy="20274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5451859"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354087" y="338006"/>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398198" y="4147974"/>
            <a:ext cx="1659203" cy="227542"/>
          </a:xfrm>
          <a:prstGeom prst="rect">
            <a:avLst/>
          </a:prstGeom>
        </p:spPr>
        <p:txBody>
          <a:bodyPr/>
          <a:lstStyle>
            <a:lvl1pPr marL="0" indent="0">
              <a:buNone/>
              <a:defRPr sz="75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2536904" y="4147974"/>
            <a:ext cx="1663623" cy="227542"/>
          </a:xfrm>
          <a:prstGeom prst="rect">
            <a:avLst/>
          </a:prstGeom>
        </p:spPr>
        <p:txBody>
          <a:bodyPr/>
          <a:lstStyle>
            <a:lvl1pPr marL="0" indent="0">
              <a:buNone/>
              <a:defRPr sz="75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4675609" y="4147974"/>
            <a:ext cx="1659298"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6826099" y="4147974"/>
            <a:ext cx="1659298"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452020" y="2785918"/>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2540000" y="2785918"/>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4667250" y="2785918"/>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6826250" y="2785918"/>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2540635" y="4396901"/>
            <a:ext cx="1614170" cy="1343501"/>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75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4683760" y="4396901"/>
            <a:ext cx="1614170" cy="1343501"/>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75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6832600" y="4396901"/>
            <a:ext cx="1614170" cy="1343501"/>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75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409094" y="4396901"/>
            <a:ext cx="1614170" cy="1343501"/>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75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14599099"/>
      </p:ext>
    </p:extLst>
  </p:cSld>
  <p:clrMapOvr>
    <a:masterClrMapping/>
  </p:clrMapOvr>
  <p:extLst>
    <p:ext uri="{DCECCB84-F9BA-43D5-87BE-67443E8EF086}">
      <p15:sldGuideLst xmlns:p15="http://schemas.microsoft.com/office/powerpoint/2012/main">
        <p15:guide id="1" orient="horz" pos="1740" userDrawn="1">
          <p15:clr>
            <a:srgbClr val="FBAE40"/>
          </p15:clr>
        </p15:guide>
        <p15:guide id="4" pos="5385" userDrawn="1">
          <p15:clr>
            <a:srgbClr val="FBAE40"/>
          </p15:clr>
        </p15:guide>
        <p15:guide id="8" orient="horz" pos="1900" userDrawn="1">
          <p15:clr>
            <a:srgbClr val="FBAE40"/>
          </p15:clr>
        </p15:guide>
        <p15:guide id="9" orient="horz" pos="2640" userDrawn="1">
          <p15:clr>
            <a:srgbClr val="FBAE40"/>
          </p15:clr>
        </p15:guide>
        <p15:guide id="10" orient="horz" pos="3640" userDrawn="1">
          <p15:clr>
            <a:srgbClr val="FBAE40"/>
          </p15:clr>
        </p15:guide>
        <p15:guide id="11" pos="285"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3241" y="2141220"/>
            <a:ext cx="4286251" cy="3954780"/>
          </a:xfrm>
          <a:prstGeom prst="rect">
            <a:avLst/>
          </a:prstGeom>
        </p:spPr>
        <p:txBody>
          <a:bodyPr>
            <a:normAutofit/>
          </a:bodyPr>
          <a:lstStyle>
            <a:lvl1pPr marL="133340" indent="-133340">
              <a:lnSpc>
                <a:spcPct val="90000"/>
              </a:lnSpc>
              <a:buFont typeface="Arial" panose="020B0604020202020204" pitchFamily="34" charset="0"/>
              <a:buChar char="•"/>
              <a:tabLst/>
              <a:defRPr sz="1000" b="0" i="0">
                <a:solidFill>
                  <a:srgbClr val="002677"/>
                </a:solidFill>
                <a:latin typeface="IBM Eliot Sans Medium" panose="020B0703050000000000" pitchFamily="34" charset="0"/>
              </a:defRPr>
            </a:lvl1pPr>
            <a:lvl2pPr marL="128579" marR="0" indent="0" algn="l" defTabSz="685749" rtl="0" eaLnBrk="1" fontAlgn="auto" latinLnBrk="0" hangingPunct="1">
              <a:lnSpc>
                <a:spcPct val="90000"/>
              </a:lnSpc>
              <a:spcBef>
                <a:spcPts val="376"/>
              </a:spcBef>
              <a:spcAft>
                <a:spcPts val="0"/>
              </a:spcAft>
              <a:buClrTx/>
              <a:buSzTx/>
              <a:buFont typeface="Courier New" panose="02070309020205020404" pitchFamily="49" charset="0"/>
              <a:buNone/>
              <a:tabLst/>
              <a:defRPr sz="75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258348" marR="0" lvl="1" indent="-129769" algn="l" defTabSz="685749" rtl="0" eaLnBrk="1" fontAlgn="auto" latinLnBrk="0" hangingPunct="1">
              <a:lnSpc>
                <a:spcPts val="1875"/>
              </a:lnSpc>
              <a:spcBef>
                <a:spcPts val="376"/>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8536543" y="6360735"/>
            <a:ext cx="280306" cy="21396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5438109" y="636877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848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83411755"/>
      </p:ext>
    </p:extLst>
  </p:cSld>
  <p:clrMapOvr>
    <a:masterClrMapping/>
  </p:clrMapOvr>
  <p:extLst>
    <p:ext uri="{DCECCB84-F9BA-43D5-87BE-67443E8EF086}">
      <p15:sldGuideLst xmlns:p15="http://schemas.microsoft.com/office/powerpoint/2012/main">
        <p15:guide id="2" orient="horz" pos="144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8525322" y="6358795"/>
            <a:ext cx="297136" cy="21396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5443719"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30279" y="3058586"/>
            <a:ext cx="1990609" cy="212936"/>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26039"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2395182" y="3058586"/>
            <a:ext cx="1990609" cy="212936"/>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4561167" y="3058586"/>
            <a:ext cx="1990609" cy="212936"/>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6738582" y="3058586"/>
            <a:ext cx="1990609" cy="212936"/>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29630"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2396695"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4559128"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6742155"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95167397"/>
      </p:ext>
    </p:extLst>
  </p:cSld>
  <p:clrMapOvr>
    <a:masterClrMapping/>
  </p:clrMapOvr>
  <p:extLst>
    <p:ext uri="{DCECCB84-F9BA-43D5-87BE-67443E8EF086}">
      <p15:sldGuideLst xmlns:p15="http://schemas.microsoft.com/office/powerpoint/2012/main">
        <p15:guide id="1" orient="horz" pos="1960" userDrawn="1">
          <p15:clr>
            <a:srgbClr val="FBAE40"/>
          </p15:clr>
        </p15:guide>
        <p15:guide id="2" orient="horz" pos="226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dirty="0"/>
              <a:t>Presentation Title Here – Month 00, 000</a:t>
            </a:r>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285751" y="4939220"/>
            <a:ext cx="8572499" cy="1291040"/>
          </a:xfrm>
          <a:prstGeom prst="rect">
            <a:avLst/>
          </a:prstGeom>
        </p:spPr>
        <p:txBody>
          <a:bodyPr anchor="ctr" anchorCtr="0"/>
          <a:lstStyle>
            <a:lvl1pPr>
              <a:defRPr lang="en-US" sz="3375"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238236890"/>
      </p:ext>
    </p:extLst>
  </p:cSld>
  <p:clrMapOvr>
    <a:masterClrMapping/>
  </p:clrMapOvr>
  <p:extLst>
    <p:ext uri="{DCECCB84-F9BA-43D5-87BE-67443E8EF086}">
      <p15:sldGuideLst xmlns:p15="http://schemas.microsoft.com/office/powerpoint/2012/main">
        <p15:guide id="1" orient="horz" pos="4320" userDrawn="1">
          <p15:clr>
            <a:srgbClr val="FBAE40"/>
          </p15:clr>
        </p15:guide>
        <p15:guide id="2" orient="horz" userDrawn="1">
          <p15:clr>
            <a:srgbClr val="FBAE40"/>
          </p15:clr>
        </p15:guide>
        <p15:guide id="3" userDrawn="1">
          <p15:clr>
            <a:srgbClr val="FBAE40"/>
          </p15:clr>
        </p15:guide>
        <p15:guide id="4" pos="57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8537807" y="6361600"/>
            <a:ext cx="280306" cy="19713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5450594"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326038" y="347340"/>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2517474" y="3042200"/>
            <a:ext cx="1832293" cy="3037414"/>
          </a:xfrm>
          <a:prstGeom prst="rect">
            <a:avLst/>
          </a:prstGeom>
        </p:spPr>
        <p:txBody>
          <a:bodyPr>
            <a:normAutofit/>
          </a:bodyPr>
          <a:lstStyle>
            <a:lvl1pPr marL="0" marR="0" indent="0" algn="l" defTabSz="685749" rtl="0" eaLnBrk="1" fontAlgn="auto" latinLnBrk="0" hangingPunct="1">
              <a:lnSpc>
                <a:spcPts val="1000"/>
              </a:lnSpc>
              <a:spcBef>
                <a:spcPts val="500"/>
              </a:spcBef>
              <a:spcAft>
                <a:spcPts val="0"/>
              </a:spcAft>
              <a:buClrTx/>
              <a:buSzTx/>
              <a:buFont typeface="Arial" panose="020B0604020202020204" pitchFamily="34" charset="0"/>
              <a:buNone/>
              <a:tabLst/>
              <a:defRPr sz="75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328469" y="3058586"/>
            <a:ext cx="1832293" cy="3037414"/>
          </a:xfrm>
          <a:prstGeom prst="rect">
            <a:avLst/>
          </a:prstGeom>
        </p:spPr>
        <p:txBody>
          <a:bodyPr>
            <a:normAutofit/>
          </a:bodyPr>
          <a:lstStyle>
            <a:lvl1pPr marL="0" marR="0" indent="0" algn="l" defTabSz="685749" rtl="0" eaLnBrk="1" fontAlgn="auto" latinLnBrk="0" hangingPunct="1">
              <a:lnSpc>
                <a:spcPts val="1000"/>
              </a:lnSpc>
              <a:spcBef>
                <a:spcPts val="500"/>
              </a:spcBef>
              <a:spcAft>
                <a:spcPts val="0"/>
              </a:spcAft>
              <a:buClrTx/>
              <a:buSzTx/>
              <a:buFont typeface="Arial" panose="020B0604020202020204" pitchFamily="34" charset="0"/>
              <a:buNone/>
              <a:tabLst/>
              <a:defRPr sz="75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4658482" y="3042200"/>
            <a:ext cx="1832293" cy="3037414"/>
          </a:xfrm>
          <a:prstGeom prst="rect">
            <a:avLst/>
          </a:prstGeom>
        </p:spPr>
        <p:txBody>
          <a:bodyPr>
            <a:normAutofit/>
          </a:bodyPr>
          <a:lstStyle>
            <a:lvl1pPr marL="0" marR="0" indent="0" algn="l" defTabSz="685749" rtl="0" eaLnBrk="1" fontAlgn="auto" latinLnBrk="0" hangingPunct="1">
              <a:lnSpc>
                <a:spcPts val="1000"/>
              </a:lnSpc>
              <a:spcBef>
                <a:spcPts val="500"/>
              </a:spcBef>
              <a:spcAft>
                <a:spcPts val="0"/>
              </a:spcAft>
              <a:buClrTx/>
              <a:buSzTx/>
              <a:buFont typeface="Arial" panose="020B0604020202020204" pitchFamily="34" charset="0"/>
              <a:buNone/>
              <a:tabLst/>
              <a:defRPr sz="75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6839350" y="3042200"/>
            <a:ext cx="1832293" cy="3037414"/>
          </a:xfrm>
          <a:prstGeom prst="rect">
            <a:avLst/>
          </a:prstGeom>
        </p:spPr>
        <p:txBody>
          <a:bodyPr>
            <a:normAutofit/>
          </a:bodyPr>
          <a:lstStyle>
            <a:lvl1pPr marL="0" marR="0" indent="0" algn="l" defTabSz="685749" rtl="0" eaLnBrk="1" fontAlgn="auto" latinLnBrk="0" hangingPunct="1">
              <a:lnSpc>
                <a:spcPts val="1000"/>
              </a:lnSpc>
              <a:spcBef>
                <a:spcPts val="500"/>
              </a:spcBef>
              <a:spcAft>
                <a:spcPts val="0"/>
              </a:spcAft>
              <a:buClrTx/>
              <a:buSzTx/>
              <a:buFont typeface="Arial" panose="020B0604020202020204" pitchFamily="34" charset="0"/>
              <a:buNone/>
              <a:tabLst/>
              <a:defRPr sz="75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2522332599"/>
      </p:ext>
    </p:extLst>
  </p:cSld>
  <p:clrMapOvr>
    <a:masterClrMapping/>
  </p:clrMapOvr>
  <p:extLst>
    <p:ext uri="{DCECCB84-F9BA-43D5-87BE-67443E8EF086}">
      <p15:sldGuideLst xmlns:p15="http://schemas.microsoft.com/office/powerpoint/2012/main">
        <p15:guide id="3" orient="horz" pos="196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285750" y="2667000"/>
            <a:ext cx="2095500" cy="1524000"/>
          </a:xfrm>
          <a:prstGeom prst="rect">
            <a:avLst/>
          </a:prstGeom>
        </p:spPr>
        <p:txBody>
          <a:bodyPr/>
          <a:lstStyle>
            <a:lvl1pPr>
              <a:defRPr sz="5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8541603" y="6358795"/>
            <a:ext cx="302746" cy="23640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5471219"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26038" y="354836"/>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30341" y="4303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2450216" y="2667000"/>
            <a:ext cx="2095500" cy="1524000"/>
          </a:xfrm>
          <a:prstGeom prst="rect">
            <a:avLst/>
          </a:prstGeom>
        </p:spPr>
        <p:txBody>
          <a:bodyPr/>
          <a:lstStyle>
            <a:lvl1pPr>
              <a:defRPr sz="5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4609712" y="2667000"/>
            <a:ext cx="2095500" cy="1524000"/>
          </a:xfrm>
          <a:prstGeom prst="rect">
            <a:avLst/>
          </a:prstGeom>
        </p:spPr>
        <p:txBody>
          <a:bodyPr/>
          <a:lstStyle>
            <a:lvl1pPr>
              <a:defRPr sz="5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6766064" y="2667000"/>
            <a:ext cx="2095500" cy="1524000"/>
          </a:xfrm>
          <a:prstGeom prst="rect">
            <a:avLst/>
          </a:prstGeom>
        </p:spPr>
        <p:txBody>
          <a:bodyPr/>
          <a:lstStyle>
            <a:lvl1pPr>
              <a:defRPr sz="5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497071" y="4303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4643923" y="4303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6805684" y="4303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2500593"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IBM Eliot Sans Medium" panose="020B0703050000000000"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4641909"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IBM Eliot Sans Medium" panose="020B0703050000000000"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6804928"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IBM Eliot Sans Medium" panose="020B0703050000000000"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23106"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IBM Eliot Sans Medium" panose="020B0703050000000000"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1784297882"/>
      </p:ext>
    </p:extLst>
  </p:cSld>
  <p:clrMapOvr>
    <a:masterClrMapping/>
  </p:clrMapOvr>
  <p:extLst>
    <p:ext uri="{DCECCB84-F9BA-43D5-87BE-67443E8EF086}">
      <p15:sldGuideLst xmlns:p15="http://schemas.microsoft.com/office/powerpoint/2012/main">
        <p15:guide id="1" orient="horz" pos="1680" userDrawn="1">
          <p15:clr>
            <a:srgbClr val="FBAE40"/>
          </p15:clr>
        </p15:guide>
        <p15:guide id="2" orient="horz" pos="2640" userDrawn="1">
          <p15:clr>
            <a:srgbClr val="FBAE40"/>
          </p15:clr>
        </p15:guide>
        <p15:guide id="7" orient="horz" pos="2740" userDrawn="1">
          <p15:clr>
            <a:srgbClr val="FBAE40"/>
          </p15:clr>
        </p15:guide>
        <p15:guide id="8" orient="horz" pos="2900" userDrawn="1">
          <p15:clr>
            <a:srgbClr val="FBAE40"/>
          </p15:clr>
        </p15:guide>
        <p15:guide id="10" pos="570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8470234" y="6350780"/>
            <a:ext cx="361079" cy="187523"/>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5494924" y="6353207"/>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14818"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25611" y="3560338"/>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2450216"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396091" y="3541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4542943" y="3541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6704704" y="3541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25611" y="5827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2396091" y="5827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4542943" y="5827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6704704" y="5827046"/>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4598767"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6769020"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2450216"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4598767"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6769020"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287197"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2457450" y="2277978"/>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4591533" y="2277978"/>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6761786" y="2277978"/>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2457450" y="4602561"/>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272729" y="4602561"/>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4591533" y="4602561"/>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6761786" y="4602561"/>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292932"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IBM Eliot Sans Medium" panose="020B0703050000000000" pitchFamily="34" charset="0"/>
                <a:cs typeface="Segoe UI" panose="020B0502040204020203" pitchFamily="34" charset="0"/>
              </a:defRPr>
            </a:lvl1pPr>
          </a:lstStyle>
          <a:p>
            <a:r>
              <a:rPr lang="en-US" sz="10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284721" y="2277978"/>
            <a:ext cx="2114550" cy="207749"/>
          </a:xfrm>
          <a:prstGeom prst="rect">
            <a:avLst/>
          </a:prstGeom>
          <a:noFill/>
        </p:spPr>
        <p:txBody>
          <a:bodyPr wrap="square" rtlCol="0">
            <a:spAutoFit/>
          </a:bodyPr>
          <a:lstStyle/>
          <a:p>
            <a:pPr algn="ctr"/>
            <a:r>
              <a:rPr lang="en-US" sz="75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205711880"/>
      </p:ext>
    </p:extLst>
  </p:cSld>
  <p:clrMapOvr>
    <a:masterClrMapping/>
  </p:clrMapOvr>
  <p:extLst>
    <p:ext uri="{DCECCB84-F9BA-43D5-87BE-67443E8EF086}">
      <p15:sldGuideLst xmlns:p15="http://schemas.microsoft.com/office/powerpoint/2012/main">
        <p15:guide id="1" orient="horz" pos="1200" userDrawn="1">
          <p15:clr>
            <a:srgbClr val="FBAE40"/>
          </p15:clr>
        </p15:guide>
        <p15:guide id="2" orient="horz" pos="2640" userDrawn="1">
          <p15:clr>
            <a:srgbClr val="FBAE40"/>
          </p15:clr>
        </p15:guide>
        <p15:guide id="7" orient="horz" pos="3640" userDrawn="1">
          <p15:clr>
            <a:srgbClr val="FBAE40"/>
          </p15:clr>
        </p15:guide>
        <p15:guide id="8" orient="horz" pos="3600" userDrawn="1">
          <p15:clr>
            <a:srgbClr val="FBAE40"/>
          </p15:clr>
        </p15:guide>
        <p15:guide id="9" pos="5730" userDrawn="1">
          <p15:clr>
            <a:srgbClr val="FBAE40"/>
          </p15:clr>
        </p15:guide>
        <p15:guide id="12" orient="horz" pos="2160" userDrawn="1">
          <p15:clr>
            <a:srgbClr val="FBAE40"/>
          </p15:clr>
        </p15:guide>
        <p15:guide id="13" orient="horz" pos="222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4578874" y="3429000"/>
            <a:ext cx="4565125" cy="3429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4572000" y="4"/>
            <a:ext cx="4572000" cy="3448446"/>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5026347" y="3949972"/>
            <a:ext cx="3828577" cy="1581702"/>
          </a:xfrm>
          <a:prstGeom prst="rect">
            <a:avLst/>
          </a:prstGeom>
          <a:noFill/>
        </p:spPr>
        <p:txBody>
          <a:bodyPr anchor="ctr">
            <a:norm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438" b="1" i="0">
                <a:solidFill>
                  <a:srgbClr val="FFFFFF"/>
                </a:solidFill>
                <a:latin typeface="IBM Eliot Sans Medium" panose="020B0703050000000000" pitchFamily="34" charset="0"/>
              </a:defRPr>
            </a:lvl1pPr>
          </a:lstStyle>
          <a:p>
            <a:pPr marL="0" marR="0" lvl="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49222" y="2142044"/>
            <a:ext cx="4181503" cy="3048000"/>
          </a:xfrm>
          <a:prstGeom prst="rect">
            <a:avLst/>
          </a:prstGeom>
        </p:spPr>
        <p:txBody>
          <a:bodyPr/>
          <a:lstStyle>
            <a:lvl1pPr marL="178590" marR="0" indent="-178590"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000" b="0" i="0">
                <a:solidFill>
                  <a:srgbClr val="002677"/>
                </a:solidFill>
                <a:latin typeface="IBM Eliot Sans Medium" panose="020B0703050000000000" pitchFamily="34" charset="0"/>
              </a:defRPr>
            </a:lvl1pPr>
            <a:lvl2pPr marL="259538" indent="-126197">
              <a:lnSpc>
                <a:spcPct val="90000"/>
              </a:lnSpc>
              <a:spcBef>
                <a:spcPts val="750"/>
              </a:spcBef>
              <a:spcAft>
                <a:spcPts val="0"/>
              </a:spcAft>
              <a:buFont typeface="Courier New" panose="02070309020205020404" pitchFamily="49" charset="0"/>
              <a:buChar char="o"/>
              <a:tabLst/>
              <a:defRPr sz="750" b="0" i="0">
                <a:solidFill>
                  <a:srgbClr val="002677"/>
                </a:solidFill>
                <a:latin typeface="IBM Eliot Sans Medium" panose="020B0703050000000000" pitchFamily="34" charset="0"/>
              </a:defRPr>
            </a:lvl2pPr>
            <a:lvl3pPr marL="685749" indent="0">
              <a:buNone/>
              <a:defRPr sz="1050">
                <a:latin typeface="GT America" pitchFamily="2" charset="77"/>
              </a:defRPr>
            </a:lvl3pPr>
            <a:lvl4pPr marL="1028624" indent="0">
              <a:buNone/>
              <a:defRPr sz="1050">
                <a:latin typeface="GT America" pitchFamily="2" charset="77"/>
              </a:defRPr>
            </a:lvl4pPr>
            <a:lvl5pPr marL="1371498" indent="0">
              <a:buNone/>
              <a:defRPr sz="105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8518360" y="6343906"/>
            <a:ext cx="326703" cy="228774"/>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5419299" y="6353207"/>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30717"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5020509" y="5549419"/>
            <a:ext cx="2364383" cy="182433"/>
          </a:xfrm>
          <a:prstGeom prst="rect">
            <a:avLst/>
          </a:prstGeom>
        </p:spPr>
        <p:txBody>
          <a:bodyPr/>
          <a:lstStyle>
            <a:lvl1pPr marL="0" indent="0">
              <a:buNone/>
              <a:defRPr sz="75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935566328"/>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2640" userDrawn="1">
          <p15:clr>
            <a:srgbClr val="FBAE40"/>
          </p15:clr>
        </p15:guide>
        <p15:guide id="4" orient="horz" pos="352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4572000" y="3428999"/>
            <a:ext cx="4572000" cy="3429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4572000" y="4"/>
            <a:ext cx="4572000" cy="3448446"/>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8463355" y="6357647"/>
            <a:ext cx="333583" cy="235657"/>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5384924"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23845"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5026347" y="3949972"/>
            <a:ext cx="3828577" cy="1581702"/>
          </a:xfrm>
          <a:prstGeom prst="rect">
            <a:avLst/>
          </a:prstGeom>
          <a:noFill/>
        </p:spPr>
        <p:txBody>
          <a:bodyPr anchor="ctr">
            <a:norm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438" b="1" i="0">
                <a:solidFill>
                  <a:srgbClr val="FFFFFF"/>
                </a:solidFill>
                <a:latin typeface="IBM Eliot Sans Medium" panose="020B0703050000000000" pitchFamily="34" charset="0"/>
              </a:defRPr>
            </a:lvl1pPr>
          </a:lstStyle>
          <a:p>
            <a:pPr marL="0" marR="0" lvl="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419100" y="2142045"/>
            <a:ext cx="3468936" cy="3953956"/>
          </a:xfrm>
          <a:prstGeom prst="rect">
            <a:avLst/>
          </a:prstGeom>
        </p:spPr>
        <p:txBody>
          <a:bodyPr/>
          <a:lstStyle>
            <a:lvl1pPr marL="178590" marR="0" indent="-178590"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000" b="0" i="0">
                <a:solidFill>
                  <a:srgbClr val="002677"/>
                </a:solidFill>
                <a:latin typeface="IBM Eliot Sans Medium" panose="020B0703050000000000" pitchFamily="34" charset="0"/>
              </a:defRPr>
            </a:lvl1pPr>
            <a:lvl2pPr marL="259538" indent="-126197">
              <a:lnSpc>
                <a:spcPct val="90000"/>
              </a:lnSpc>
              <a:spcBef>
                <a:spcPts val="750"/>
              </a:spcBef>
              <a:spcAft>
                <a:spcPts val="0"/>
              </a:spcAft>
              <a:buFont typeface="Courier New" panose="02070309020205020404" pitchFamily="49" charset="0"/>
              <a:buChar char="o"/>
              <a:tabLst/>
              <a:defRPr sz="750" b="0" i="0">
                <a:solidFill>
                  <a:srgbClr val="002677"/>
                </a:solidFill>
                <a:latin typeface="IBM Eliot Sans Medium" panose="020B0703050000000000" pitchFamily="34" charset="0"/>
              </a:defRPr>
            </a:lvl2pPr>
            <a:lvl3pPr marL="685749" indent="0">
              <a:buNone/>
              <a:defRPr sz="1050">
                <a:latin typeface="GT America" pitchFamily="2" charset="77"/>
              </a:defRPr>
            </a:lvl3pPr>
            <a:lvl4pPr marL="1028624" indent="0">
              <a:buNone/>
              <a:defRPr sz="1050">
                <a:latin typeface="GT America" pitchFamily="2" charset="77"/>
              </a:defRPr>
            </a:lvl4pPr>
            <a:lvl5pPr marL="1371498" indent="0">
              <a:buNone/>
              <a:defRPr sz="105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5020509" y="5549419"/>
            <a:ext cx="2364383" cy="182433"/>
          </a:xfrm>
          <a:prstGeom prst="rect">
            <a:avLst/>
          </a:prstGeom>
        </p:spPr>
        <p:txBody>
          <a:bodyPr/>
          <a:lstStyle>
            <a:lvl1pPr marL="0" indent="0">
              <a:buNone/>
              <a:defRPr sz="75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874775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285751" y="2286000"/>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6713283" y="4318000"/>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4620236" y="2558437"/>
            <a:ext cx="4257777" cy="1174311"/>
          </a:xfrm>
          <a:prstGeom prst="rect">
            <a:avLst/>
          </a:prstGeom>
        </p:spPr>
        <p:txBody>
          <a:bodyPr>
            <a:noAutofit/>
          </a:bodyPr>
          <a:lstStyle>
            <a:lvl1pPr marL="0" indent="0">
              <a:buNone/>
              <a:defRPr sz="625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4620238" y="2286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6760845" y="4790361"/>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8633508" y="6360728"/>
            <a:ext cx="313965" cy="191538"/>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5574344"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20428" y="338006"/>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30478"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4559976"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4620238" y="4191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4559976"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6782476"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30515" y="2970392"/>
            <a:ext cx="2195567" cy="3125610"/>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379564574"/>
      </p:ext>
    </p:extLst>
  </p:cSld>
  <p:clrMapOvr>
    <a:masterClrMapping/>
  </p:clrMapOvr>
  <p:extLst>
    <p:ext uri="{DCECCB84-F9BA-43D5-87BE-67443E8EF086}">
      <p15:sldGuideLst xmlns:p15="http://schemas.microsoft.com/office/powerpoint/2012/main">
        <p15:guide id="3" orient="horz" pos="1920" userDrawn="1">
          <p15:clr>
            <a:srgbClr val="FBAE40"/>
          </p15:clr>
        </p15:guide>
        <p15:guide id="4" orient="horz" pos="2720" userDrawn="1">
          <p15:clr>
            <a:srgbClr val="FBAE40"/>
          </p15:clr>
        </p15:guide>
        <p15:guide id="5" orient="horz" pos="3780" userDrawn="1">
          <p15:clr>
            <a:srgbClr val="FBAE40"/>
          </p15:clr>
        </p15:guide>
        <p15:guide id="8" orient="horz" pos="2160" userDrawn="1">
          <p15:clr>
            <a:srgbClr val="FBAE40"/>
          </p15:clr>
        </p15:guide>
        <p15:guide id="9" orient="horz" pos="1580" userDrawn="1">
          <p15:clr>
            <a:srgbClr val="FBAE40"/>
          </p15:clr>
        </p15:guide>
        <p15:guide id="10" orient="horz" pos="144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8504609" y="6343898"/>
            <a:ext cx="333578" cy="133102"/>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5467420"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23845"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285751" y="2286000"/>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4620238" y="2286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419063"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6762951" y="4790361"/>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4620238" y="4191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4559976"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6782476"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6713283" y="4318000"/>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6760845" y="2895944"/>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4559976" y="23622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4543425" y="2895944"/>
            <a:ext cx="2045606" cy="886594"/>
          </a:xfrm>
          <a:prstGeom prst="rect">
            <a:avLst/>
          </a:prstGeom>
        </p:spPr>
        <p:txBody>
          <a:bodyPr>
            <a:noAutofit/>
          </a:bodyPr>
          <a:lstStyle>
            <a:lvl1pPr marL="0" indent="0">
              <a:buNone/>
              <a:defRPr sz="435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6782476" y="23622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6713283" y="2423583"/>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419100" y="2971802"/>
            <a:ext cx="2195567" cy="3108960"/>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66604289"/>
      </p:ext>
    </p:extLst>
  </p:cSld>
  <p:clrMapOvr>
    <a:masterClrMapping/>
  </p:clrMapOvr>
  <p:extLst>
    <p:ext uri="{DCECCB84-F9BA-43D5-87BE-67443E8EF086}">
      <p15:sldGuideLst xmlns:p15="http://schemas.microsoft.com/office/powerpoint/2012/main">
        <p15:guide id="1" orient="horz" pos="1920" userDrawn="1">
          <p15:clr>
            <a:srgbClr val="FBAE40"/>
          </p15:clr>
        </p15:guide>
        <p15:guide id="2" orient="horz" pos="2720" userDrawn="1">
          <p15:clr>
            <a:srgbClr val="FBAE40"/>
          </p15:clr>
        </p15:guide>
        <p15:guide id="3" orient="horz" pos="378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3109864" y="2413000"/>
            <a:ext cx="0" cy="36830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58341" y="2760432"/>
            <a:ext cx="2805544" cy="886594"/>
          </a:xfrm>
          <a:prstGeom prst="rect">
            <a:avLst/>
          </a:prstGeom>
        </p:spPr>
        <p:txBody>
          <a:bodyPr>
            <a:noAutofit/>
          </a:bodyPr>
          <a:lstStyle>
            <a:lvl1pPr marL="0" indent="0">
              <a:buNone/>
              <a:defRPr sz="435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3154460" y="2759351"/>
            <a:ext cx="2805544"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5985420" y="2759351"/>
            <a:ext cx="2805544"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8379360" y="6362609"/>
            <a:ext cx="402330" cy="201281"/>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5481172" y="6365159"/>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419100"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285750" y="2286000"/>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45111"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3179924"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6069174"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45111"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3179924"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6069174"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48665" y="4572000"/>
            <a:ext cx="2140372" cy="1524000"/>
          </a:xfrm>
          <a:prstGeom prst="rect">
            <a:avLst/>
          </a:prstGeom>
        </p:spPr>
        <p:txBody>
          <a:bodyPr>
            <a:normAutofit/>
          </a:bodyPr>
          <a:lstStyle>
            <a:lvl1pPr marL="107154" marR="0" indent="-107154"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75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3187538" y="4572000"/>
            <a:ext cx="2140372" cy="1524000"/>
          </a:xfrm>
          <a:prstGeom prst="rect">
            <a:avLst/>
          </a:prstGeom>
        </p:spPr>
        <p:txBody>
          <a:bodyPr>
            <a:normAutofit/>
          </a:bodyPr>
          <a:lstStyle>
            <a:lvl1pPr marL="107154" marR="0" indent="-107154"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75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6071803" y="4572000"/>
            <a:ext cx="2140372" cy="1524000"/>
          </a:xfrm>
          <a:prstGeom prst="rect">
            <a:avLst/>
          </a:prstGeom>
        </p:spPr>
        <p:txBody>
          <a:bodyPr>
            <a:normAutofit/>
          </a:bodyPr>
          <a:lstStyle>
            <a:lvl1pPr marL="107154" marR="0" indent="-107154"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75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6022927" y="2413000"/>
            <a:ext cx="0" cy="36830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964379"/>
      </p:ext>
    </p:extLst>
  </p:cSld>
  <p:clrMapOvr>
    <a:masterClrMapping/>
  </p:clrMapOvr>
  <p:extLst>
    <p:ext uri="{DCECCB84-F9BA-43D5-87BE-67443E8EF086}">
      <p15:sldGuideLst xmlns:p15="http://schemas.microsoft.com/office/powerpoint/2012/main">
        <p15:guide id="5" pos="1440" userDrawn="1">
          <p15:clr>
            <a:srgbClr val="FBAE40"/>
          </p15:clr>
        </p15:guide>
        <p15:guide id="6" orient="horz" pos="1840" userDrawn="1">
          <p15:clr>
            <a:srgbClr val="FBAE40"/>
          </p15:clr>
        </p15:guide>
        <p15:guide id="7" orient="horz" pos="2720" userDrawn="1">
          <p15:clr>
            <a:srgbClr val="FBAE40"/>
          </p15:clr>
        </p15:guide>
        <p15:guide id="8" orient="horz" pos="288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144375" y="173905"/>
            <a:ext cx="9144000" cy="68580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8489133" y="6360728"/>
            <a:ext cx="308355" cy="23080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5429969"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20428"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51234" y="2587021"/>
            <a:ext cx="2030016" cy="221528"/>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12736" y="2831375"/>
            <a:ext cx="2867027" cy="194336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4107351318"/>
      </p:ext>
    </p:extLst>
  </p:cSld>
  <p:clrMapOvr>
    <a:masterClrMapping/>
  </p:clrMapOvr>
  <p:extLst>
    <p:ext uri="{DCECCB84-F9BA-43D5-87BE-67443E8EF086}">
      <p15:sldGuideLst xmlns:p15="http://schemas.microsoft.com/office/powerpoint/2012/main">
        <p15:guide id="1" orient="horz" pos="1660" userDrawn="1">
          <p15:clr>
            <a:srgbClr val="FBAE40"/>
          </p15:clr>
        </p15:guide>
        <p15:guide id="2" orient="horz" pos="182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4572001" y="1514475"/>
            <a:ext cx="4372070" cy="4581525"/>
          </a:xfrm>
          <a:prstGeom prst="rect">
            <a:avLst/>
          </a:prstGeom>
        </p:spPr>
        <p:txBody>
          <a:bodyPr/>
          <a:lstStyle>
            <a:lvl1pPr>
              <a:defRPr sz="5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8538986" y="6343897"/>
            <a:ext cx="306078" cy="201281"/>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548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5134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2611" y="3323833"/>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2649" y="3547959"/>
            <a:ext cx="2072418" cy="2548043"/>
          </a:xfrm>
          <a:prstGeom prst="rect">
            <a:avLst/>
          </a:prstGeom>
        </p:spPr>
        <p:txBody>
          <a:bodyPr/>
          <a:lstStyle>
            <a:lvl1pPr marL="0" indent="0">
              <a:lnSpc>
                <a:spcPts val="1000"/>
              </a:lnSpc>
              <a:spcBef>
                <a:spcPts val="0"/>
              </a:spcBef>
              <a:buNone/>
              <a:defRPr lang="en-US" sz="75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2535629" y="3323833"/>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2535668" y="3547959"/>
            <a:ext cx="2072418" cy="2548043"/>
          </a:xfrm>
          <a:prstGeom prst="rect">
            <a:avLst/>
          </a:prstGeom>
        </p:spPr>
        <p:txBody>
          <a:bodyPr/>
          <a:lstStyle>
            <a:lvl1pPr marL="0" indent="0">
              <a:lnSpc>
                <a:spcPts val="1000"/>
              </a:lnSpc>
              <a:spcBef>
                <a:spcPts val="0"/>
              </a:spcBef>
              <a:buNone/>
              <a:defRPr lang="en-US" sz="75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789781364"/>
      </p:ext>
    </p:extLst>
  </p:cSld>
  <p:clrMapOvr>
    <a:masterClrMapping/>
  </p:clrMapOvr>
  <p:extLst>
    <p:ext uri="{DCECCB84-F9BA-43D5-87BE-67443E8EF086}">
      <p15:sldGuideLst xmlns:p15="http://schemas.microsoft.com/office/powerpoint/2012/main">
        <p15:guide id="1" orient="horz" pos="2320" userDrawn="1">
          <p15:clr>
            <a:srgbClr val="FBAE40"/>
          </p15:clr>
        </p15:guide>
        <p15:guide id="2" pos="5055" userDrawn="1">
          <p15:clr>
            <a:srgbClr val="FBAE40"/>
          </p15:clr>
        </p15:guide>
        <p15:guide id="3" orient="horz" pos="9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346924" y="298284"/>
            <a:ext cx="1978683" cy="254382"/>
          </a:xfrm>
          <a:prstGeom prst="rect">
            <a:avLst/>
          </a:prstGeom>
        </p:spPr>
        <p:txBody>
          <a:bodyPr anchor="b">
            <a:noAutofit/>
          </a:bodyPr>
          <a:lstStyle>
            <a:lvl1pPr algn="l">
              <a:defRPr sz="10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339875" y="1062708"/>
            <a:ext cx="3503900" cy="589400"/>
          </a:xfrm>
          <a:prstGeom prst="rect">
            <a:avLst/>
          </a:prstGeom>
        </p:spPr>
        <p:txBody>
          <a:bodyPr anchor="ctr" anchorCtr="0">
            <a:noAutofit/>
          </a:bodyPr>
          <a:lstStyle>
            <a:lvl1pPr marL="0" indent="0" algn="l">
              <a:buNone/>
              <a:defRPr sz="3438" b="1" i="0">
                <a:solidFill>
                  <a:srgbClr val="002677"/>
                </a:solidFill>
                <a:latin typeface="IBM Eliot Sans" panose="020B05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339877" y="1755246"/>
            <a:ext cx="3503899" cy="1673756"/>
          </a:xfrm>
          <a:prstGeom prst="rect">
            <a:avLst/>
          </a:prstGeom>
        </p:spPr>
        <p:txBody>
          <a:bodyPr/>
          <a:lstStyle>
            <a:lvl1pPr marL="0" indent="0">
              <a:buNone/>
              <a:defRPr sz="3438"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8507223" y="6359484"/>
            <a:ext cx="297136"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5425621" y="6368954"/>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178332602"/>
      </p:ext>
    </p:extLst>
  </p:cSld>
  <p:clrMapOvr>
    <a:masterClrMapping/>
  </p:clrMapOvr>
  <p:extLst>
    <p:ext uri="{DCECCB84-F9BA-43D5-87BE-67443E8EF086}">
      <p15:sldGuideLst xmlns:p15="http://schemas.microsoft.com/office/powerpoint/2012/main">
        <p15:guide id="1" orient="horz" pos="294"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46790" y="2413004"/>
            <a:ext cx="5107773" cy="3682993"/>
          </a:xfrm>
          <a:prstGeom prst="rect">
            <a:avLst/>
          </a:prstGeom>
        </p:spPr>
        <p:txBody>
          <a:bodyPr/>
          <a:lstStyle>
            <a:lvl1pPr>
              <a:defRPr sz="75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5933902" y="4960581"/>
            <a:ext cx="1387926" cy="439021"/>
          </a:xfrm>
          <a:prstGeom prst="rect">
            <a:avLst/>
          </a:prstGeom>
        </p:spPr>
        <p:txBody>
          <a:bodyPr>
            <a:noAutofit/>
          </a:bodyPr>
          <a:lstStyle>
            <a:lvl1pPr marL="0" indent="0">
              <a:buNone/>
              <a:defRPr sz="2188"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5946323" y="4337850"/>
            <a:ext cx="1173616" cy="250076"/>
          </a:xfrm>
          <a:prstGeom prst="rect">
            <a:avLst/>
          </a:prstGeom>
        </p:spPr>
        <p:txBody>
          <a:bodyPr>
            <a:normAutofit/>
          </a:bodyPr>
          <a:lstStyle>
            <a:lvl1pPr marL="0" indent="0">
              <a:buNone/>
              <a:defRPr sz="75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5946323" y="5437295"/>
            <a:ext cx="1173616" cy="250068"/>
          </a:xfrm>
          <a:prstGeom prst="rect">
            <a:avLst/>
          </a:prstGeom>
        </p:spPr>
        <p:txBody>
          <a:bodyPr>
            <a:normAutofit/>
          </a:bodyPr>
          <a:lstStyle>
            <a:lvl1pPr marL="0" indent="0">
              <a:buNone/>
              <a:defRPr sz="75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5946323" y="3057424"/>
            <a:ext cx="1173616" cy="232498"/>
          </a:xfrm>
          <a:prstGeom prst="rect">
            <a:avLst/>
          </a:prstGeom>
        </p:spPr>
        <p:txBody>
          <a:bodyPr>
            <a:normAutofit/>
          </a:bodyPr>
          <a:lstStyle>
            <a:lvl1pPr marL="0" indent="0">
              <a:buNone/>
              <a:defRPr sz="75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5933902" y="3864001"/>
            <a:ext cx="1387926" cy="439021"/>
          </a:xfrm>
          <a:prstGeom prst="rect">
            <a:avLst/>
          </a:prstGeom>
        </p:spPr>
        <p:txBody>
          <a:bodyPr>
            <a:noAutofit/>
          </a:bodyPr>
          <a:lstStyle>
            <a:lvl1pPr marL="0" indent="0">
              <a:buNone/>
              <a:defRPr sz="2188"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5921473" y="2287750"/>
            <a:ext cx="2812053" cy="706271"/>
          </a:xfrm>
          <a:prstGeom prst="rect">
            <a:avLst/>
          </a:prstGeom>
        </p:spPr>
        <p:txBody>
          <a:bodyPr>
            <a:noAutofit/>
          </a:bodyPr>
          <a:lstStyle>
            <a:lvl1pPr marL="0" indent="0">
              <a:buNone/>
              <a:defRPr sz="405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5946323" y="1857875"/>
            <a:ext cx="3232208" cy="279676"/>
          </a:xfrm>
          <a:prstGeom prst="rect">
            <a:avLst/>
          </a:prstGeom>
        </p:spPr>
        <p:txBody>
          <a:bodyPr>
            <a:noAutofit/>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285750" y="1747779"/>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8559610" y="6343898"/>
            <a:ext cx="354204" cy="133102"/>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55086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58217"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5698" y="1857875"/>
            <a:ext cx="3232208" cy="279676"/>
          </a:xfrm>
          <a:prstGeom prst="rect">
            <a:avLst/>
          </a:prstGeom>
        </p:spPr>
        <p:txBody>
          <a:bodyPr>
            <a:noAutofit/>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7381876" y="4826001"/>
            <a:ext cx="738188" cy="603250"/>
          </a:xfrm>
          <a:prstGeom prst="rect">
            <a:avLst/>
          </a:prstGeom>
        </p:spPr>
        <p:txBody>
          <a:bodyPr/>
          <a:lstStyle>
            <a:lvl1pPr marL="0" indent="0">
              <a:buNone/>
              <a:defRPr sz="75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7381876" y="3725334"/>
            <a:ext cx="738188" cy="603250"/>
          </a:xfrm>
          <a:prstGeom prst="rect">
            <a:avLst/>
          </a:prstGeom>
        </p:spPr>
        <p:txBody>
          <a:bodyPr/>
          <a:lstStyle>
            <a:lvl1pPr marL="0" indent="0">
              <a:buNone/>
              <a:defRPr sz="75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907088759"/>
      </p:ext>
    </p:extLst>
  </p:cSld>
  <p:clrMapOvr>
    <a:masterClrMapping/>
  </p:clrMapOvr>
  <p:extLst>
    <p:ext uri="{DCECCB84-F9BA-43D5-87BE-67443E8EF086}">
      <p15:sldGuideLst xmlns:p15="http://schemas.microsoft.com/office/powerpoint/2012/main">
        <p15:guide id="1" orient="horz" pos="1100" userDrawn="1">
          <p15:clr>
            <a:srgbClr val="FBAE40"/>
          </p15:clr>
        </p15:guide>
        <p15:guide id="2" orient="horz" pos="1200" userDrawn="1">
          <p15:clr>
            <a:srgbClr val="FBAE40"/>
          </p15:clr>
        </p15:guide>
        <p15:guide id="6" orient="horz" pos="1880" userDrawn="1">
          <p15:clr>
            <a:srgbClr val="FBAE40"/>
          </p15:clr>
        </p15:guide>
        <p15:guide id="7" orient="horz" pos="2360" userDrawn="1">
          <p15:clr>
            <a:srgbClr val="FBAE40"/>
          </p15:clr>
        </p15:guide>
        <p15:guide id="8" orient="horz" pos="2680" userDrawn="1">
          <p15:clr>
            <a:srgbClr val="FBAE40"/>
          </p15:clr>
        </p15:guide>
        <p15:guide id="9" orient="horz" pos="3040" userDrawn="1">
          <p15:clr>
            <a:srgbClr val="FBAE40"/>
          </p15:clr>
        </p15:guide>
        <p15:guide id="10" orient="horz" pos="3860" userDrawn="1">
          <p15:clr>
            <a:srgbClr val="FBAE40"/>
          </p15:clr>
        </p15:guide>
        <p15:guide id="11" pos="3345"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6165" y="2413004"/>
            <a:ext cx="510777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5946321" y="2287751"/>
            <a:ext cx="2173743" cy="3808244"/>
          </a:xfrm>
          <a:prstGeom prst="rect">
            <a:avLst/>
          </a:prstGeom>
        </p:spPr>
        <p:txBody>
          <a:bodyPr>
            <a:noAutofit/>
          </a:bodyPr>
          <a:lstStyle>
            <a:lvl1pPr marL="107154" indent="-107154">
              <a:buFont typeface="Courier New" panose="02070309020205020404" pitchFamily="49" charset="0"/>
              <a:buChar char="o"/>
              <a:defRPr sz="75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5946323" y="1857875"/>
            <a:ext cx="3232208" cy="279676"/>
          </a:xfrm>
          <a:prstGeom prst="rect">
            <a:avLst/>
          </a:prstGeom>
        </p:spPr>
        <p:txBody>
          <a:bodyPr>
            <a:noAutofit/>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285750" y="1747779"/>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8435859" y="6357648"/>
            <a:ext cx="388580" cy="20815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5508674" y="6353207"/>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3759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55073" y="1857875"/>
            <a:ext cx="3232208" cy="279676"/>
          </a:xfrm>
          <a:prstGeom prst="rect">
            <a:avLst/>
          </a:prstGeom>
        </p:spPr>
        <p:txBody>
          <a:bodyPr>
            <a:noAutofit/>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2043212400"/>
      </p:ext>
    </p:extLst>
  </p:cSld>
  <p:clrMapOvr>
    <a:masterClrMapping/>
  </p:clrMapOvr>
  <p:extLst>
    <p:ext uri="{DCECCB84-F9BA-43D5-87BE-67443E8EF086}">
      <p15:sldGuideLst xmlns:p15="http://schemas.microsoft.com/office/powerpoint/2012/main">
        <p15:guide id="1" orient="horz" pos="1100" userDrawn="1">
          <p15:clr>
            <a:srgbClr val="FBAE40"/>
          </p15:clr>
        </p15:guide>
        <p15:guide id="2" orient="horz" pos="1200" userDrawn="1">
          <p15:clr>
            <a:srgbClr val="FBAE40"/>
          </p15:clr>
        </p15:guide>
        <p15:guide id="6" orient="horz" pos="1880" userDrawn="1">
          <p15:clr>
            <a:srgbClr val="FBAE40"/>
          </p15:clr>
        </p15:guide>
        <p15:guide id="7" orient="horz" pos="2360" userDrawn="1">
          <p15:clr>
            <a:srgbClr val="FBAE40"/>
          </p15:clr>
        </p15:guide>
        <p15:guide id="8" orient="horz" pos="2680" userDrawn="1">
          <p15:clr>
            <a:srgbClr val="FBAE40"/>
          </p15:clr>
        </p15:guide>
        <p15:guide id="9" orient="horz" pos="3040" userDrawn="1">
          <p15:clr>
            <a:srgbClr val="FBAE40"/>
          </p15:clr>
        </p15:guide>
        <p15:guide id="11" pos="3345"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6548438" y="4000500"/>
            <a:ext cx="0" cy="20002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4514634" y="2283270"/>
            <a:ext cx="4257777" cy="1174311"/>
          </a:xfrm>
          <a:prstGeom prst="rect">
            <a:avLst/>
          </a:prstGeom>
        </p:spPr>
        <p:txBody>
          <a:bodyPr>
            <a:noAutofit/>
          </a:bodyPr>
          <a:lstStyle>
            <a:lvl1pPr marL="0" indent="0">
              <a:buNone/>
              <a:defRPr sz="625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6750527" y="4631611"/>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8435856" y="6355734"/>
            <a:ext cx="395455" cy="215031"/>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5488049" y="6353207"/>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4470"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4620238" y="3810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4559976" y="39532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4543425" y="4631611"/>
            <a:ext cx="2045606" cy="886594"/>
          </a:xfrm>
          <a:prstGeom prst="rect">
            <a:avLst/>
          </a:prstGeom>
        </p:spPr>
        <p:txBody>
          <a:bodyPr>
            <a:noAutofit/>
          </a:bodyPr>
          <a:lstStyle>
            <a:lvl1pPr marL="0" indent="0">
              <a:buNone/>
              <a:defRPr sz="435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419100" y="2413004"/>
            <a:ext cx="4094422"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4564063" y="1857875"/>
            <a:ext cx="3232208" cy="279676"/>
          </a:xfrm>
          <a:prstGeom prst="rect">
            <a:avLst/>
          </a:prstGeom>
        </p:spPr>
        <p:txBody>
          <a:bodyPr>
            <a:noAutofit/>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285750" y="1747779"/>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34451" y="1857875"/>
            <a:ext cx="3232208" cy="279676"/>
          </a:xfrm>
          <a:prstGeom prst="rect">
            <a:avLst/>
          </a:prstGeom>
        </p:spPr>
        <p:txBody>
          <a:bodyPr>
            <a:noAutofit/>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6782476" y="39532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294544975"/>
      </p:ext>
    </p:extLst>
  </p:cSld>
  <p:clrMapOvr>
    <a:masterClrMapping/>
  </p:clrMapOvr>
  <p:extLst>
    <p:ext uri="{DCECCB84-F9BA-43D5-87BE-67443E8EF086}">
      <p15:sldGuideLst xmlns:p15="http://schemas.microsoft.com/office/powerpoint/2012/main">
        <p15:guide id="3" orient="horz" pos="2400" userDrawn="1">
          <p15:clr>
            <a:srgbClr val="FBAE40"/>
          </p15:clr>
        </p15:guide>
        <p15:guide id="4" orient="horz" pos="2520" userDrawn="1">
          <p15:clr>
            <a:srgbClr val="FBAE40"/>
          </p15:clr>
        </p15:guide>
        <p15:guide id="5" orient="horz" pos="3780" userDrawn="1">
          <p15:clr>
            <a:srgbClr val="FBAE40"/>
          </p15:clr>
        </p15:guide>
        <p15:guide id="8" orient="horz" pos="1200" userDrawn="1">
          <p15:clr>
            <a:srgbClr val="FBAE40"/>
          </p15:clr>
        </p15:guide>
        <p15:guide id="9" orient="horz" pos="1560" userDrawn="1">
          <p15:clr>
            <a:srgbClr val="FBAE40"/>
          </p15:clr>
        </p15:guide>
        <p15:guide id="11" orient="horz" pos="300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8518357" y="6364522"/>
            <a:ext cx="306082" cy="187531"/>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5426172" y="6366957"/>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37592"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285750" y="1778000"/>
            <a:ext cx="392906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4905375" y="1778000"/>
            <a:ext cx="395287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58861" y="1857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4848667" y="1857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09500" y="2413004"/>
            <a:ext cx="392906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4921250" y="2413004"/>
            <a:ext cx="392906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407761329"/>
      </p:ext>
    </p:extLst>
  </p:cSld>
  <p:clrMapOvr>
    <a:masterClrMapping/>
  </p:clrMapOvr>
  <p:extLst>
    <p:ext uri="{DCECCB84-F9BA-43D5-87BE-67443E8EF086}">
      <p15:sldGuideLst xmlns:p15="http://schemas.microsoft.com/office/powerpoint/2012/main">
        <p15:guide id="1" pos="2655" userDrawn="1">
          <p15:clr>
            <a:srgbClr val="FBAE40"/>
          </p15:clr>
        </p15:guide>
        <p15:guide id="3" orient="horz" pos="1120" userDrawn="1">
          <p15:clr>
            <a:srgbClr val="FBAE40"/>
          </p15:clr>
        </p15:guide>
        <p15:guide id="4" orient="horz" pos="120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388875" y="2103834"/>
            <a:ext cx="4033938" cy="176784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4614520" y="2103836"/>
            <a:ext cx="4332882" cy="3992166"/>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285750" y="4000524"/>
            <a:ext cx="4167188"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8449607" y="6359172"/>
            <a:ext cx="354204" cy="19440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5398669" y="6353207"/>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16967"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285751" y="1778000"/>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4620238" y="1778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4615539" y="18542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37164" y="18542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388875" y="4326334"/>
            <a:ext cx="4033938" cy="176784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37164" y="40767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3781808171"/>
      </p:ext>
    </p:extLst>
  </p:cSld>
  <p:clrMapOvr>
    <a:masterClrMapping/>
  </p:clrMapOvr>
  <p:extLst>
    <p:ext uri="{DCECCB84-F9BA-43D5-87BE-67443E8EF086}">
      <p15:sldGuideLst xmlns:p15="http://schemas.microsoft.com/office/powerpoint/2012/main">
        <p15:guide id="1" orient="horz" pos="1120" userDrawn="1">
          <p15:clr>
            <a:srgbClr val="FBAE40"/>
          </p15:clr>
        </p15:guide>
        <p15:guide id="2" orient="horz" pos="2460" userDrawn="1">
          <p15:clr>
            <a:srgbClr val="FBAE40"/>
          </p15:clr>
        </p15:guide>
        <p15:guide id="3" orient="horz" pos="1320" userDrawn="1">
          <p15:clr>
            <a:srgbClr val="FBAE40"/>
          </p15:clr>
        </p15:guide>
        <p15:guide id="4" orient="horz" pos="2720" userDrawn="1">
          <p15:clr>
            <a:srgbClr val="FBAE40"/>
          </p15:clr>
        </p15:guide>
        <p15:guide id="5" pos="2715" userDrawn="1">
          <p15:clr>
            <a:srgbClr val="FBAE40"/>
          </p15:clr>
        </p15:guide>
        <p15:guide id="7" pos="5640"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19100" y="1333500"/>
            <a:ext cx="8105775" cy="479425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8503768" y="6350772"/>
            <a:ext cx="337724" cy="221907"/>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541242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30720"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87417484"/>
      </p:ext>
    </p:extLst>
  </p:cSld>
  <p:clrMapOvr>
    <a:masterClrMapping/>
  </p:clrMapOvr>
  <p:extLst>
    <p:ext uri="{DCECCB84-F9BA-43D5-87BE-67443E8EF086}">
      <p15:sldGuideLst xmlns:p15="http://schemas.microsoft.com/office/powerpoint/2012/main">
        <p15:guide id="1" orient="horz" pos="1220" userDrawn="1">
          <p15:clr>
            <a:srgbClr val="FBAE40"/>
          </p15:clr>
        </p15:guide>
        <p15:guide id="2" orient="horz" pos="84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19100" y="1905000"/>
            <a:ext cx="8439150" cy="384175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8564986" y="6343898"/>
            <a:ext cx="319828" cy="133102"/>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5501797" y="6358284"/>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37596"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62493733"/>
      </p:ext>
    </p:extLst>
  </p:cSld>
  <p:clrMapOvr>
    <a:masterClrMapping/>
  </p:clrMapOvr>
  <p:extLst>
    <p:ext uri="{DCECCB84-F9BA-43D5-87BE-67443E8EF086}">
      <p15:sldGuideLst xmlns:p15="http://schemas.microsoft.com/office/powerpoint/2012/main">
        <p15:guide id="1" pos="5730" userDrawn="1">
          <p15:clr>
            <a:srgbClr val="FBAE40"/>
          </p15:clr>
        </p15:guide>
        <p15:guide id="2" orient="horz" pos="1200" userDrawn="1">
          <p15:clr>
            <a:srgbClr val="FBAE40"/>
          </p15:clr>
        </p15:guide>
        <p15:guide id="3" orient="horz" pos="3620" userDrawn="1">
          <p15:clr>
            <a:srgbClr val="FBAE40"/>
          </p15:clr>
        </p15:guide>
        <p15:guide id="4" pos="5685"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608758" y="1272540"/>
            <a:ext cx="8397738" cy="520446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419100" y="381000"/>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845013" y="3186404"/>
            <a:ext cx="1111178" cy="365125"/>
          </a:xfrm>
          <a:prstGeom prst="rect">
            <a:avLst/>
          </a:prstGeom>
        </p:spPr>
        <p:txBody>
          <a:bodyPr anchor="ctr">
            <a:normAutofit/>
          </a:bodyPr>
          <a:lstStyle>
            <a:lvl1pPr marL="0" indent="0" algn="l">
              <a:buNone/>
              <a:defRPr sz="1125"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630836" y="3186404"/>
            <a:ext cx="279287" cy="365125"/>
          </a:xfrm>
          <a:prstGeom prst="rect">
            <a:avLst/>
          </a:prstGeom>
        </p:spPr>
        <p:txBody>
          <a:bodyPr anchor="ctr">
            <a:normAutofit/>
          </a:bodyPr>
          <a:lstStyle>
            <a:lvl1pPr marL="0" indent="0" algn="r">
              <a:buNone/>
              <a:defRPr sz="1125"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820165" y="4935881"/>
            <a:ext cx="1111178" cy="365125"/>
          </a:xfrm>
          <a:prstGeom prst="rect">
            <a:avLst/>
          </a:prstGeom>
        </p:spPr>
        <p:txBody>
          <a:bodyPr anchor="ctr">
            <a:normAutofit/>
          </a:bodyPr>
          <a:lstStyle>
            <a:lvl1pPr marL="0" indent="0" algn="l">
              <a:buNone/>
              <a:defRPr sz="1125"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605988" y="4935881"/>
            <a:ext cx="279287" cy="365125"/>
          </a:xfrm>
          <a:prstGeom prst="rect">
            <a:avLst/>
          </a:prstGeom>
        </p:spPr>
        <p:txBody>
          <a:bodyPr anchor="ctr">
            <a:normAutofit/>
          </a:bodyPr>
          <a:lstStyle>
            <a:lvl1pPr marL="0" indent="0" algn="r">
              <a:buNone/>
              <a:defRPr sz="1125"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7819320" y="3552667"/>
            <a:ext cx="1111178" cy="365125"/>
          </a:xfrm>
          <a:prstGeom prst="rect">
            <a:avLst/>
          </a:prstGeom>
        </p:spPr>
        <p:txBody>
          <a:bodyPr anchor="ctr">
            <a:normAutofit/>
          </a:bodyPr>
          <a:lstStyle>
            <a:lvl1pPr marL="0" indent="0" algn="l">
              <a:buNone/>
              <a:defRPr sz="1125"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7605143" y="3552667"/>
            <a:ext cx="279287" cy="365125"/>
          </a:xfrm>
          <a:prstGeom prst="rect">
            <a:avLst/>
          </a:prstGeom>
        </p:spPr>
        <p:txBody>
          <a:bodyPr anchor="ctr">
            <a:normAutofit/>
          </a:bodyPr>
          <a:lstStyle>
            <a:lvl1pPr marL="0" indent="0" algn="r">
              <a:buNone/>
              <a:defRPr sz="1125"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7822745" y="4921207"/>
            <a:ext cx="1111178" cy="365125"/>
          </a:xfrm>
          <a:prstGeom prst="rect">
            <a:avLst/>
          </a:prstGeom>
        </p:spPr>
        <p:txBody>
          <a:bodyPr anchor="ctr">
            <a:normAutofit/>
          </a:bodyPr>
          <a:lstStyle>
            <a:lvl1pPr marL="0" indent="0" algn="l">
              <a:buNone/>
              <a:defRPr sz="1125"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7608568" y="4921207"/>
            <a:ext cx="279287" cy="365125"/>
          </a:xfrm>
          <a:prstGeom prst="rect">
            <a:avLst/>
          </a:prstGeom>
        </p:spPr>
        <p:txBody>
          <a:bodyPr anchor="ctr">
            <a:normAutofit/>
          </a:bodyPr>
          <a:lstStyle>
            <a:lvl1pPr marL="0" indent="0" algn="r">
              <a:buNone/>
              <a:defRPr sz="1125"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272139071"/>
      </p:ext>
    </p:extLst>
  </p:cSld>
  <p:clrMapOvr>
    <a:masterClrMapping/>
  </p:clrMapOvr>
  <p:extLst>
    <p:ext uri="{DCECCB84-F9BA-43D5-87BE-67443E8EF086}">
      <p15:sldGuideLst xmlns:p15="http://schemas.microsoft.com/office/powerpoint/2012/main">
        <p15:guide id="3" orient="horz" pos="2243" userDrawn="1">
          <p15:clr>
            <a:srgbClr val="FBAE40"/>
          </p15:clr>
        </p15:guide>
        <p15:guide id="5" pos="1350" userDrawn="1">
          <p15:clr>
            <a:srgbClr val="FBAE40"/>
          </p15:clr>
        </p15:guide>
        <p15:guide id="6" orient="horz" pos="860"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261256" y="1174161"/>
            <a:ext cx="8408355" cy="547354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8442731" y="6357656"/>
            <a:ext cx="382096" cy="133094"/>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5495313" y="6363318"/>
            <a:ext cx="3086100" cy="182432"/>
          </a:xfrm>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50348" y="381000"/>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566804" y="3221564"/>
            <a:ext cx="1111178" cy="365125"/>
          </a:xfrm>
          <a:prstGeom prst="rect">
            <a:avLst/>
          </a:prstGeom>
        </p:spPr>
        <p:txBody>
          <a:bodyPr anchor="ctr">
            <a:normAutofit/>
          </a:bodyPr>
          <a:lstStyle>
            <a:lvl1pPr>
              <a:defRPr lang="en-US" sz="1125"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191390" y="3221564"/>
            <a:ext cx="446117" cy="365125"/>
          </a:xfrm>
          <a:prstGeom prst="rect">
            <a:avLst/>
          </a:prstGeom>
        </p:spPr>
        <p:txBody>
          <a:bodyPr anchor="ctr">
            <a:normAutofit/>
          </a:bodyPr>
          <a:lstStyle>
            <a:lvl1pPr marL="0" indent="0" algn="r">
              <a:buNone/>
              <a:defRPr sz="1125"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154179" y="5052480"/>
            <a:ext cx="1111178" cy="365125"/>
          </a:xfrm>
          <a:prstGeom prst="rect">
            <a:avLst/>
          </a:prstGeom>
        </p:spPr>
        <p:txBody>
          <a:bodyPr anchor="ctr">
            <a:normAutofit/>
          </a:bodyPr>
          <a:lstStyle>
            <a:lvl1pPr marL="0" indent="0" algn="l">
              <a:buNone/>
              <a:defRPr sz="1125"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778765" y="5052480"/>
            <a:ext cx="446117" cy="365125"/>
          </a:xfrm>
          <a:prstGeom prst="rect">
            <a:avLst/>
          </a:prstGeom>
        </p:spPr>
        <p:txBody>
          <a:bodyPr anchor="ctr">
            <a:normAutofit/>
          </a:bodyPr>
          <a:lstStyle>
            <a:lvl1pPr marL="0" indent="0" algn="r">
              <a:buNone/>
              <a:defRPr sz="1125"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7923496" y="4967814"/>
            <a:ext cx="1111178" cy="365125"/>
          </a:xfrm>
          <a:prstGeom prst="rect">
            <a:avLst/>
          </a:prstGeom>
        </p:spPr>
        <p:txBody>
          <a:bodyPr anchor="ctr">
            <a:normAutofit/>
          </a:bodyPr>
          <a:lstStyle>
            <a:lvl1pPr marL="0" indent="0" algn="l">
              <a:buNone/>
              <a:defRPr sz="1125"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7548082" y="4967814"/>
            <a:ext cx="446117" cy="365125"/>
          </a:xfrm>
          <a:prstGeom prst="rect">
            <a:avLst/>
          </a:prstGeom>
        </p:spPr>
        <p:txBody>
          <a:bodyPr anchor="ctr">
            <a:normAutofit/>
          </a:bodyPr>
          <a:lstStyle>
            <a:lvl1pPr marL="0" indent="0" algn="r">
              <a:buNone/>
              <a:defRPr sz="1125"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7769861" y="3581397"/>
            <a:ext cx="1111178" cy="365125"/>
          </a:xfrm>
          <a:prstGeom prst="rect">
            <a:avLst/>
          </a:prstGeom>
        </p:spPr>
        <p:txBody>
          <a:bodyPr anchor="ctr">
            <a:normAutofit/>
          </a:bodyPr>
          <a:lstStyle>
            <a:lvl1pPr marL="0" indent="0" algn="l">
              <a:buNone/>
              <a:defRPr sz="1125"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7394447" y="3581397"/>
            <a:ext cx="446117" cy="365125"/>
          </a:xfrm>
          <a:prstGeom prst="rect">
            <a:avLst/>
          </a:prstGeom>
        </p:spPr>
        <p:txBody>
          <a:bodyPr anchor="ctr">
            <a:normAutofit/>
          </a:bodyPr>
          <a:lstStyle>
            <a:lvl1pPr marL="0" indent="0" algn="r">
              <a:buNone/>
              <a:defRPr sz="1125"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4279759492"/>
      </p:ext>
    </p:extLst>
  </p:cSld>
  <p:clrMapOvr>
    <a:masterClrMapping/>
  </p:clrMapOvr>
  <p:extLst>
    <p:ext uri="{DCECCB84-F9BA-43D5-87BE-67443E8EF086}">
      <p15:sldGuideLst xmlns:p15="http://schemas.microsoft.com/office/powerpoint/2012/main">
        <p15:guide id="2" orient="horz" pos="1060" userDrawn="1">
          <p15:clr>
            <a:srgbClr val="FBAE40"/>
          </p15:clr>
        </p15:guide>
        <p15:guide id="3" orient="horz" pos="2160" userDrawn="1">
          <p15:clr>
            <a:srgbClr val="FBAE40"/>
          </p15:clr>
        </p15:guide>
        <p15:guide id="4" orient="horz" pos="3240" userDrawn="1">
          <p15:clr>
            <a:srgbClr val="FBAE40"/>
          </p15:clr>
        </p15:guide>
        <p15:guide id="5" pos="705" userDrawn="1">
          <p15:clr>
            <a:srgbClr val="FBAE40"/>
          </p15:clr>
        </p15:guide>
        <p15:guide id="6" pos="4815" userDrawn="1">
          <p15:clr>
            <a:srgbClr val="FBAE40"/>
          </p15:clr>
        </p15:guide>
        <p15:guide id="7" orient="horz" pos="236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285750" y="2479972"/>
            <a:ext cx="8572500" cy="1898069"/>
          </a:xfrm>
          <a:prstGeom prst="rect">
            <a:avLst/>
          </a:prstGeom>
        </p:spPr>
        <p:txBody>
          <a:bodyPr anchor="ctr" anchorCtr="0"/>
          <a:lstStyle>
            <a:lvl1pPr marL="0" indent="0" algn="ctr">
              <a:lnSpc>
                <a:spcPct val="85000"/>
              </a:lnSpc>
              <a:buNone/>
              <a:defRPr sz="5000" b="1" i="0">
                <a:solidFill>
                  <a:srgbClr val="FFFFFF"/>
                </a:solidFill>
                <a:latin typeface="IBM Eliot Sans" panose="020B0503050000000000"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3137080" y="5661378"/>
            <a:ext cx="2879581" cy="261460"/>
          </a:xfrm>
          <a:prstGeom prst="rect">
            <a:avLst/>
          </a:prstGeom>
        </p:spPr>
        <p:txBody>
          <a:bodyPr/>
          <a:lstStyle>
            <a:lvl1pPr marL="0" indent="0" algn="ctr">
              <a:buNone/>
              <a:defRPr sz="1125" b="1" i="0">
                <a:solidFill>
                  <a:srgbClr val="FFFFFF"/>
                </a:solidFill>
                <a:latin typeface="IBM Eliot Sans Medium" panose="020B0703050000000000"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3401674" y="5881430"/>
            <a:ext cx="2353388" cy="261460"/>
          </a:xfrm>
          <a:prstGeom prst="rect">
            <a:avLst/>
          </a:prstGeom>
        </p:spPr>
        <p:txBody>
          <a:bodyPr/>
          <a:lstStyle>
            <a:lvl1pPr marL="0" indent="0" algn="ctr">
              <a:buNone/>
              <a:defRPr sz="1125" b="0" i="0">
                <a:solidFill>
                  <a:srgbClr val="FFFFFF"/>
                </a:solidFill>
                <a:latin typeface="IBM Eliot Sans Medium" panose="020B0703050000000000"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A92B349-BAAA-954A-9A79-A30E14B9E6B9}"/>
              </a:ext>
            </a:extLst>
          </p:cNvPr>
          <p:cNvPicPr>
            <a:picLocks noChangeAspect="1"/>
          </p:cNvPicPr>
          <p:nvPr userDrawn="1"/>
        </p:nvPicPr>
        <p:blipFill>
          <a:blip r:embed="rId2"/>
          <a:stretch>
            <a:fillRect/>
          </a:stretch>
        </p:blipFill>
        <p:spPr>
          <a:xfrm>
            <a:off x="3753144" y="381000"/>
            <a:ext cx="1637711" cy="950782"/>
          </a:xfrm>
          <a:prstGeom prst="rect">
            <a:avLst/>
          </a:prstGeom>
        </p:spPr>
      </p:pic>
    </p:spTree>
    <p:extLst>
      <p:ext uri="{BB962C8B-B14F-4D97-AF65-F5344CB8AC3E}">
        <p14:creationId xmlns:p14="http://schemas.microsoft.com/office/powerpoint/2010/main" val="393001827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242881" y="65048"/>
            <a:ext cx="1527372" cy="1905000"/>
          </a:xfrm>
          <a:prstGeom prst="rect">
            <a:avLst/>
          </a:prstGeom>
        </p:spPr>
        <p:txBody>
          <a:bodyPr anchor="b">
            <a:normAutofit/>
          </a:bodyPr>
          <a:lstStyle>
            <a:lvl1pPr algn="l">
              <a:defRPr sz="9375"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25839" y="2211660"/>
            <a:ext cx="3506718" cy="2233341"/>
          </a:xfrm>
          <a:prstGeom prst="rect">
            <a:avLst/>
          </a:prstGeom>
        </p:spPr>
        <p:txBody>
          <a:bodyPr>
            <a:noAutofit/>
          </a:bodyPr>
          <a:lstStyle>
            <a:lvl1pPr marL="0" indent="0" algn="l">
              <a:buNone/>
              <a:defRPr sz="3438" b="1" i="0">
                <a:solidFill>
                  <a:srgbClr val="002677"/>
                </a:solidFill>
                <a:latin typeface="IBM Eliot Sans" panose="020B05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8502331" y="6358791"/>
            <a:ext cx="338268" cy="202757"/>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5428201"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59330463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285751" y="4939220"/>
            <a:ext cx="8572499" cy="1291040"/>
          </a:xfrm>
          <a:prstGeom prst="rect">
            <a:avLst/>
          </a:prstGeom>
        </p:spPr>
        <p:txBody>
          <a:bodyPr/>
          <a:lstStyle>
            <a:lvl1pPr marL="0" indent="0" algn="ctr">
              <a:buNone/>
              <a:defRPr sz="3376" b="1" i="0">
                <a:solidFill>
                  <a:srgbClr val="FFFFFF"/>
                </a:solidFill>
                <a:latin typeface="IBM Eliot Sans" panose="020B0503050000000000" pitchFamily="34" charset="0"/>
              </a:defRPr>
            </a:lvl1pPr>
          </a:lstStyle>
          <a:p>
            <a:pPr lvl="0"/>
            <a:r>
              <a:rPr lang="en-US" dirty="0"/>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8642110" y="6364531"/>
            <a:ext cx="306469" cy="228774"/>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5570941" y="6366957"/>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35652905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391455" y="391600"/>
            <a:ext cx="1978683" cy="254382"/>
          </a:xfrm>
          <a:prstGeom prst="rect">
            <a:avLst/>
          </a:prstGeom>
        </p:spPr>
        <p:txBody>
          <a:bodyPr anchor="b">
            <a:noAutofit/>
          </a:bodyPr>
          <a:lstStyle>
            <a:lvl1pPr algn="l">
              <a:defRPr sz="10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377531" y="1062708"/>
            <a:ext cx="3503900" cy="589400"/>
          </a:xfrm>
          <a:prstGeom prst="rect">
            <a:avLst/>
          </a:prstGeom>
        </p:spPr>
        <p:txBody>
          <a:bodyPr anchor="ctr" anchorCtr="0">
            <a:noAutofit/>
          </a:bodyPr>
          <a:lstStyle>
            <a:lvl1pPr marL="0" indent="0" algn="l">
              <a:buNone/>
              <a:defRPr sz="3438" b="1" i="0">
                <a:solidFill>
                  <a:srgbClr val="FFFFFF"/>
                </a:solidFill>
                <a:latin typeface="IBM Eliot Sans Medium" panose="020B07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377533" y="1755246"/>
            <a:ext cx="3503899" cy="1673756"/>
          </a:xfrm>
          <a:prstGeom prst="rect">
            <a:avLst/>
          </a:prstGeom>
        </p:spPr>
        <p:txBody>
          <a:bodyPr/>
          <a:lstStyle>
            <a:lvl1pPr marL="0" indent="0">
              <a:buNone/>
              <a:defRPr sz="3438"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8587110" y="6364530"/>
            <a:ext cx="347720" cy="221899"/>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5564066" y="636008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459376924"/>
      </p:ext>
    </p:extLst>
  </p:cSld>
  <p:clrMapOvr>
    <a:masterClrMapping/>
  </p:clrMapOvr>
  <p:extLst>
    <p:ext uri="{DCECCB84-F9BA-43D5-87BE-67443E8EF086}">
      <p15:sldGuideLst xmlns:p15="http://schemas.microsoft.com/office/powerpoint/2012/main">
        <p15:guide id="1" orient="horz" pos="294"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419100" y="65048"/>
            <a:ext cx="1527372" cy="1905000"/>
          </a:xfrm>
          <a:prstGeom prst="rect">
            <a:avLst/>
          </a:prstGeom>
        </p:spPr>
        <p:txBody>
          <a:bodyPr anchor="b">
            <a:normAutofit/>
          </a:bodyPr>
          <a:lstStyle>
            <a:lvl1pPr algn="l">
              <a:defRPr sz="9375" b="1" i="0">
                <a:solidFill>
                  <a:srgbClr val="73C0FF"/>
                </a:solidFill>
                <a:latin typeface="IBM Eliot Sans" panose="020B0503050000000000"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84252" y="2211660"/>
            <a:ext cx="3506718" cy="2233341"/>
          </a:xfrm>
          <a:prstGeom prst="rect">
            <a:avLst/>
          </a:prstGeom>
        </p:spPr>
        <p:txBody>
          <a:bodyPr>
            <a:noAutofit/>
          </a:bodyPr>
          <a:lstStyle>
            <a:lvl1pPr marL="0" indent="0" algn="l">
              <a:buNone/>
              <a:defRPr sz="3438" b="1" i="0">
                <a:solidFill>
                  <a:srgbClr val="FFFFFF"/>
                </a:solidFill>
                <a:latin typeface="IBM Eliot Sans Medium" panose="020B07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8635235" y="6364531"/>
            <a:ext cx="306469" cy="194398"/>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5570941" y="6366957"/>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0752774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_EQB_04">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BD66A3-0EDE-C940-9AFE-0C44154DCBEC}"/>
              </a:ext>
            </a:extLst>
          </p:cNvPr>
          <p:cNvSpPr>
            <a:spLocks noGrp="1"/>
          </p:cNvSpPr>
          <p:nvPr>
            <p:ph type="pic" sz="quarter" idx="14"/>
          </p:nvPr>
        </p:nvSpPr>
        <p:spPr>
          <a:xfrm>
            <a:off x="4572000" y="0"/>
            <a:ext cx="4572000" cy="68580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3" name="Slide Number Placeholder 2">
            <a:extLst>
              <a:ext uri="{FF2B5EF4-FFF2-40B4-BE49-F238E27FC236}">
                <a16:creationId xmlns:a16="http://schemas.microsoft.com/office/drawing/2014/main" id="{A6D8B1B1-53FF-7846-B33B-C48FA774DAB4}"/>
              </a:ext>
            </a:extLst>
          </p:cNvPr>
          <p:cNvSpPr>
            <a:spLocks noGrp="1"/>
          </p:cNvSpPr>
          <p:nvPr>
            <p:ph type="sldNum" sz="quarter" idx="10"/>
          </p:nvPr>
        </p:nvSpPr>
        <p:spPr>
          <a:xfrm>
            <a:off x="8573360" y="6350416"/>
            <a:ext cx="358144" cy="325391"/>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34B305FC-CE85-9C4D-9496-9E13F5A46672}"/>
              </a:ext>
            </a:extLst>
          </p:cNvPr>
          <p:cNvSpPr>
            <a:spLocks noGrp="1"/>
          </p:cNvSpPr>
          <p:nvPr>
            <p:ph type="ftr" sz="quarter" idx="11"/>
          </p:nvPr>
        </p:nvSpPr>
        <p:spPr>
          <a:xfrm>
            <a:off x="5592265" y="6264639"/>
            <a:ext cx="3086100" cy="365125"/>
          </a:xfrm>
          <a:prstGeom prst="rect">
            <a:avLst/>
          </a:prstGeom>
        </p:spPr>
        <p:txBody>
          <a:bodyPr/>
          <a:lstStyle/>
          <a:p>
            <a:r>
              <a:rPr lang="en-US"/>
              <a:t>Presentation Title Here – Month 00, 000</a:t>
            </a:r>
            <a:endParaRPr lang="en-US" dirty="0"/>
          </a:p>
        </p:txBody>
      </p:sp>
      <p:sp>
        <p:nvSpPr>
          <p:cNvPr id="9" name="Title 1">
            <a:extLst>
              <a:ext uri="{FF2B5EF4-FFF2-40B4-BE49-F238E27FC236}">
                <a16:creationId xmlns:a16="http://schemas.microsoft.com/office/drawing/2014/main" id="{953A63EE-7B5E-AC41-AF30-A8329D900CE3}"/>
              </a:ext>
            </a:extLst>
          </p:cNvPr>
          <p:cNvSpPr>
            <a:spLocks noGrp="1"/>
          </p:cNvSpPr>
          <p:nvPr>
            <p:ph type="ctrTitle" hasCustomPrompt="1"/>
          </p:nvPr>
        </p:nvSpPr>
        <p:spPr>
          <a:xfrm>
            <a:off x="369149" y="416078"/>
            <a:ext cx="1978683" cy="254382"/>
          </a:xfrm>
          <a:prstGeom prst="rect">
            <a:avLst/>
          </a:prstGeom>
        </p:spPr>
        <p:txBody>
          <a:bodyPr anchor="b">
            <a:noAutofit/>
          </a:bodyPr>
          <a:lstStyle>
            <a:lvl1pPr algn="l">
              <a:defRPr sz="10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2" name="Subtitle 2">
            <a:extLst>
              <a:ext uri="{FF2B5EF4-FFF2-40B4-BE49-F238E27FC236}">
                <a16:creationId xmlns:a16="http://schemas.microsoft.com/office/drawing/2014/main" id="{02809DAA-26DF-5B49-97D5-55F4E679A385}"/>
              </a:ext>
            </a:extLst>
          </p:cNvPr>
          <p:cNvSpPr>
            <a:spLocks noGrp="1"/>
          </p:cNvSpPr>
          <p:nvPr>
            <p:ph type="subTitle" idx="1" hasCustomPrompt="1"/>
          </p:nvPr>
        </p:nvSpPr>
        <p:spPr>
          <a:xfrm>
            <a:off x="355225" y="1062708"/>
            <a:ext cx="3503900" cy="589400"/>
          </a:xfrm>
          <a:prstGeom prst="rect">
            <a:avLst/>
          </a:prstGeom>
        </p:spPr>
        <p:txBody>
          <a:bodyPr anchor="ctr" anchorCtr="0">
            <a:noAutofit/>
          </a:bodyPr>
          <a:lstStyle>
            <a:lvl1pPr marL="0" indent="0" algn="l">
              <a:buNone/>
              <a:defRPr sz="3438" b="1" i="0">
                <a:solidFill>
                  <a:srgbClr val="FFFFFF"/>
                </a:solidFill>
                <a:latin typeface="IBM Eliot Sans" panose="020B05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13" name="Text Placeholder 14">
            <a:extLst>
              <a:ext uri="{FF2B5EF4-FFF2-40B4-BE49-F238E27FC236}">
                <a16:creationId xmlns:a16="http://schemas.microsoft.com/office/drawing/2014/main" id="{78F75C61-183D-EF4C-9121-F45C77D48F17}"/>
              </a:ext>
            </a:extLst>
          </p:cNvPr>
          <p:cNvSpPr>
            <a:spLocks noGrp="1"/>
          </p:cNvSpPr>
          <p:nvPr>
            <p:ph type="body" sz="quarter" idx="13" hasCustomPrompt="1"/>
          </p:nvPr>
        </p:nvSpPr>
        <p:spPr>
          <a:xfrm>
            <a:off x="355227" y="1755246"/>
            <a:ext cx="3503899" cy="1673756"/>
          </a:xfrm>
          <a:prstGeom prst="rect">
            <a:avLst/>
          </a:prstGeom>
        </p:spPr>
        <p:txBody>
          <a:bodyPr/>
          <a:lstStyle>
            <a:lvl1pPr marL="0" indent="0">
              <a:buNone/>
              <a:defRPr sz="3438" b="1" i="0">
                <a:solidFill>
                  <a:srgbClr val="73C0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3966729257"/>
      </p:ext>
    </p:extLst>
  </p:cSld>
  <p:clrMapOvr>
    <a:masterClrMapping/>
  </p:clrMapOvr>
  <p:extLst>
    <p:ext uri="{DCECCB84-F9BA-43D5-87BE-67443E8EF086}">
      <p15:sldGuideLst xmlns:p15="http://schemas.microsoft.com/office/powerpoint/2012/main">
        <p15:guide id="1" orient="horz" pos="294"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60773" y="1840515"/>
            <a:ext cx="3945431" cy="1295173"/>
          </a:xfrm>
          <a:prstGeom prst="rect">
            <a:avLst/>
          </a:prstGeom>
        </p:spPr>
        <p:txBody>
          <a:bodyPr anchor="t" anchorCtr="0"/>
          <a:lstStyle>
            <a:lvl1pPr marL="0" indent="0">
              <a:lnSpc>
                <a:spcPct val="85000"/>
              </a:lnSpc>
              <a:buNone/>
              <a:defRPr sz="2813"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73845" y="3365500"/>
            <a:ext cx="3945431" cy="2349500"/>
          </a:xfrm>
          <a:prstGeom prst="rect">
            <a:avLst/>
          </a:prstGeom>
        </p:spPr>
        <p:txBody>
          <a:bodyPr/>
          <a:lstStyle>
            <a:lvl1pPr marL="0" indent="0">
              <a:lnSpc>
                <a:spcPts val="1250"/>
              </a:lnSpc>
              <a:spcBef>
                <a:spcPts val="0"/>
              </a:spcBef>
              <a:buNone/>
              <a:defRPr sz="1000" b="0" i="0" spc="7"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8621485" y="6364531"/>
            <a:ext cx="320220" cy="242524"/>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5570941" y="6366957"/>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638957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8683524" y="6350417"/>
            <a:ext cx="247979" cy="291340"/>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5592265" y="6264639"/>
            <a:ext cx="3086100" cy="365125"/>
          </a:xfrm>
          <a:prstGeom prst="rect">
            <a:avLst/>
          </a:prstGeom>
        </p:spPr>
        <p:txBody>
          <a:bodyPr/>
          <a:lstStyle/>
          <a:p>
            <a:r>
              <a:rPr lang="en-US"/>
              <a:t>Presentation Title Here – Month 00, 000</a:t>
            </a:r>
            <a:endParaRPr lang="en-US" dirty="0"/>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4568428" y="0"/>
            <a:ext cx="4575572" cy="6858000"/>
          </a:xfrm>
          <a:prstGeom prst="rect">
            <a:avLst/>
          </a:prstGeom>
          <a:solidFill>
            <a:schemeClr val="bg1">
              <a:lumMod val="95000"/>
            </a:schemeClr>
          </a:solidFill>
          <a:ln>
            <a:noFill/>
          </a:ln>
        </p:spPr>
        <p:txBody>
          <a:bodyPr anchor="ctr"/>
          <a:lstStyle>
            <a:lvl1pPr marL="0" marR="0" indent="0" algn="ctr" defTabSz="685783" rtl="0" eaLnBrk="1" fontAlgn="auto" latinLnBrk="0" hangingPunct="1">
              <a:lnSpc>
                <a:spcPct val="90000"/>
              </a:lnSpc>
              <a:spcBef>
                <a:spcPts val="750"/>
              </a:spcBef>
              <a:spcAft>
                <a:spcPts val="0"/>
              </a:spcAft>
              <a:buClrTx/>
              <a:buSzTx/>
              <a:buFont typeface="Arial" panose="020B0604020202020204" pitchFamily="34" charset="0"/>
              <a:buNone/>
              <a:tabLst/>
              <a:defRPr sz="10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53898" y="1840515"/>
            <a:ext cx="3945431" cy="1295173"/>
          </a:xfrm>
          <a:prstGeom prst="rect">
            <a:avLst/>
          </a:prstGeom>
        </p:spPr>
        <p:txBody>
          <a:bodyPr/>
          <a:lstStyle>
            <a:lvl1pPr marL="0" indent="0">
              <a:buNone/>
              <a:defRPr sz="2813"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66970" y="3365500"/>
            <a:ext cx="3945431" cy="2349500"/>
          </a:xfrm>
          <a:prstGeom prst="rect">
            <a:avLst/>
          </a:prstGeom>
        </p:spPr>
        <p:txBody>
          <a:bodyPr/>
          <a:lstStyle>
            <a:lvl1pPr marL="0" indent="0">
              <a:lnSpc>
                <a:spcPts val="1250"/>
              </a:lnSpc>
              <a:spcBef>
                <a:spcPts val="0"/>
              </a:spcBef>
              <a:buNone/>
              <a:defRPr sz="1000" b="0" i="0" spc="7"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38700401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37354" y="1785933"/>
            <a:ext cx="6241852" cy="4310067"/>
          </a:xfrm>
          <a:prstGeom prst="rect">
            <a:avLst/>
          </a:prstGeom>
        </p:spPr>
        <p:txBody>
          <a:bodyPr/>
          <a:lstStyle>
            <a:lvl1pPr marL="0" indent="0">
              <a:lnSpc>
                <a:spcPts val="3438"/>
              </a:lnSpc>
              <a:buNone/>
              <a:defRPr sz="2813"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8635235" y="6350781"/>
            <a:ext cx="306469" cy="208148"/>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5570941" y="636008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1474075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30479" y="1785933"/>
            <a:ext cx="6241852" cy="4310067"/>
          </a:xfrm>
          <a:prstGeom prst="rect">
            <a:avLst/>
          </a:prstGeom>
        </p:spPr>
        <p:txBody>
          <a:bodyPr/>
          <a:lstStyle>
            <a:lvl1pPr marL="0" indent="0">
              <a:lnSpc>
                <a:spcPts val="3438"/>
              </a:lnSpc>
              <a:buNone/>
              <a:defRPr sz="2813"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2"/>
          <a:stretch>
            <a:fillRect/>
          </a:stretch>
        </p:blipFill>
        <p:spPr>
          <a:xfrm>
            <a:off x="188770" y="-123242"/>
            <a:ext cx="1143000" cy="15240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8642111" y="6357655"/>
            <a:ext cx="299593" cy="215023"/>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5570941" y="6353207"/>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47423202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285751" y="2286000"/>
            <a:ext cx="4227772"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6713283" y="4318000"/>
            <a:ext cx="0" cy="16827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4517802" y="2558437"/>
            <a:ext cx="4257777" cy="1174311"/>
          </a:xfrm>
          <a:prstGeom prst="rect">
            <a:avLst/>
          </a:prstGeom>
        </p:spPr>
        <p:txBody>
          <a:bodyPr>
            <a:noAutofit/>
          </a:bodyPr>
          <a:lstStyle>
            <a:lvl1pPr marL="0" indent="0">
              <a:buNone/>
              <a:defRPr sz="6250" b="1" i="0">
                <a:solidFill>
                  <a:srgbClr val="73C0FF"/>
                </a:solidFill>
                <a:latin typeface="IBM Eliot Sans" panose="020B0503050000000000"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4620238" y="2286000"/>
            <a:ext cx="4238013"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6760845" y="4790361"/>
            <a:ext cx="2045606" cy="886594"/>
          </a:xfrm>
          <a:prstGeom prst="rect">
            <a:avLst/>
          </a:prstGeom>
        </p:spPr>
        <p:txBody>
          <a:bodyPr>
            <a:noAutofit/>
          </a:bodyPr>
          <a:lstStyle>
            <a:lvl1pPr marL="0" indent="0">
              <a:buNone/>
              <a:defRPr sz="4350" b="1" i="0">
                <a:solidFill>
                  <a:srgbClr val="FFFFFF"/>
                </a:solidFill>
                <a:latin typeface="IBM Eliot Sans" panose="020B0503050000000000"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37592" y="382885"/>
            <a:ext cx="3500909" cy="825652"/>
          </a:xfrm>
          <a:prstGeom prst="rect">
            <a:avLst/>
          </a:prstGeom>
        </p:spPr>
        <p:txBody>
          <a:bodyPr>
            <a:noAutofit/>
          </a:bodyPr>
          <a:lstStyle>
            <a:lvl1pPr marL="0" indent="0">
              <a:lnSpc>
                <a:spcPts val="1875"/>
              </a:lnSpc>
              <a:buNone/>
              <a:defRPr sz="2188"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58861" y="2365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4559976" y="2365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4620238" y="4191000"/>
            <a:ext cx="4238013"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4559976" y="4270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FFFFFF"/>
                </a:solidFill>
                <a:latin typeface="IBM Eliot Sans" panose="020B0503050000000000"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6782476" y="4270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58898" y="2971810"/>
            <a:ext cx="2195567" cy="3101332"/>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smtClean="0">
                <a:solidFill>
                  <a:srgbClr val="FFFFFF"/>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8648987" y="6348863"/>
            <a:ext cx="299593" cy="228774"/>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5570941" y="636008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1920" userDrawn="1">
          <p15:clr>
            <a:srgbClr val="FBAE40"/>
          </p15:clr>
        </p15:guide>
        <p15:guide id="2" pos="2910"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51342" y="382885"/>
            <a:ext cx="3500909" cy="825652"/>
          </a:xfrm>
          <a:prstGeom prst="rect">
            <a:avLst/>
          </a:prstGeom>
        </p:spPr>
        <p:txBody>
          <a:bodyPr>
            <a:noAutofit/>
          </a:bodyPr>
          <a:lstStyle>
            <a:lvl1pPr marL="0" indent="0">
              <a:lnSpc>
                <a:spcPts val="1875"/>
              </a:lnSpc>
              <a:buNone/>
              <a:defRPr sz="2188"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285751" y="2286000"/>
            <a:ext cx="4227772"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4620238" y="2286000"/>
            <a:ext cx="4238013"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2611" y="2365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6760845" y="4790361"/>
            <a:ext cx="2045606" cy="886594"/>
          </a:xfrm>
          <a:prstGeom prst="rect">
            <a:avLst/>
          </a:prstGeom>
        </p:spPr>
        <p:txBody>
          <a:bodyPr>
            <a:noAutofit/>
          </a:bodyPr>
          <a:lstStyle>
            <a:lvl1pPr marL="0" indent="0">
              <a:buNone/>
              <a:defRPr sz="4350" b="1" i="0">
                <a:solidFill>
                  <a:srgbClr val="FFFFFF"/>
                </a:solidFill>
                <a:latin typeface="IBM Eliot Sans" panose="020B0503050000000000"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4620238" y="4191000"/>
            <a:ext cx="4238013"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4559976" y="4270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FFFFFF"/>
                </a:solidFill>
                <a:latin typeface="IBM Eliot Sans" panose="020B0503050000000000"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6782476" y="4270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6713283" y="4318000"/>
            <a:ext cx="0" cy="16827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6760845" y="2895944"/>
            <a:ext cx="2045606" cy="886594"/>
          </a:xfrm>
          <a:prstGeom prst="rect">
            <a:avLst/>
          </a:prstGeom>
        </p:spPr>
        <p:txBody>
          <a:bodyPr>
            <a:noAutofit/>
          </a:bodyPr>
          <a:lstStyle>
            <a:lvl1pPr marL="0" indent="0">
              <a:buNone/>
              <a:defRPr sz="4350" b="1" i="0">
                <a:solidFill>
                  <a:srgbClr val="FFFFFF"/>
                </a:solidFill>
                <a:latin typeface="IBM Eliot Sans" panose="020B0503050000000000"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4559976" y="2362200"/>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4621896" y="2895944"/>
            <a:ext cx="2045606" cy="886594"/>
          </a:xfrm>
          <a:prstGeom prst="rect">
            <a:avLst/>
          </a:prstGeom>
        </p:spPr>
        <p:txBody>
          <a:bodyPr>
            <a:noAutofit/>
          </a:bodyPr>
          <a:lstStyle>
            <a:lvl1pPr marL="0" indent="0">
              <a:buNone/>
              <a:defRPr sz="4350" b="1" i="0">
                <a:solidFill>
                  <a:srgbClr val="73C0FF"/>
                </a:solidFill>
                <a:latin typeface="IBM Eliot Sans" panose="020B0503050000000000"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6782476" y="2362200"/>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6713283" y="2423583"/>
            <a:ext cx="0" cy="16827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2648" y="2971804"/>
            <a:ext cx="2195567" cy="3101338"/>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smtClean="0">
                <a:solidFill>
                  <a:srgbClr val="FFFFFF"/>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8559609" y="6343906"/>
            <a:ext cx="354595" cy="133094"/>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553656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4572000" y="0"/>
            <a:ext cx="4572000" cy="68580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353805" y="412239"/>
            <a:ext cx="3489976" cy="422711"/>
          </a:xfrm>
          <a:prstGeom prst="rect">
            <a:avLst/>
          </a:prstGeom>
        </p:spPr>
        <p:txBody>
          <a:bodyPr anchor="t">
            <a:noAutofit/>
          </a:bodyPr>
          <a:lstStyle>
            <a:lvl1pPr algn="l">
              <a:defRPr sz="10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339880" y="1057098"/>
            <a:ext cx="3503900" cy="589400"/>
          </a:xfrm>
          <a:prstGeom prst="rect">
            <a:avLst/>
          </a:prstGeom>
        </p:spPr>
        <p:txBody>
          <a:bodyPr>
            <a:noAutofit/>
          </a:bodyPr>
          <a:lstStyle>
            <a:lvl1pPr marL="0" indent="0" algn="l">
              <a:buNone/>
              <a:defRPr sz="3438" b="1" i="0">
                <a:solidFill>
                  <a:srgbClr val="002677"/>
                </a:solidFill>
                <a:latin typeface="IBM Eliot Sans Medium" panose="020B07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339883" y="1749636"/>
            <a:ext cx="3503898" cy="1673756"/>
          </a:xfrm>
          <a:prstGeom prst="rect">
            <a:avLst/>
          </a:prstGeom>
        </p:spPr>
        <p:txBody>
          <a:bodyPr/>
          <a:lstStyle>
            <a:lvl1pPr marL="0" indent="0">
              <a:buNone/>
              <a:defRPr sz="3438"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4062833001"/>
      </p:ext>
    </p:extLst>
  </p:cSld>
  <p:clrMapOvr>
    <a:masterClrMapping/>
  </p:clrMapOvr>
  <p:extLst>
    <p:ext uri="{DCECCB84-F9BA-43D5-87BE-67443E8EF086}">
      <p15:sldGuideLst xmlns:p15="http://schemas.microsoft.com/office/powerpoint/2012/main">
        <p15:guide id="1" orient="horz" pos="292"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3109864" y="2413000"/>
            <a:ext cx="0" cy="36830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56108" y="2760432"/>
            <a:ext cx="2805544" cy="886594"/>
          </a:xfrm>
          <a:prstGeom prst="rect">
            <a:avLst/>
          </a:prstGeom>
        </p:spPr>
        <p:txBody>
          <a:bodyPr>
            <a:noAutofit/>
          </a:bodyPr>
          <a:lstStyle>
            <a:lvl1pPr marL="0" indent="0">
              <a:buNone/>
              <a:defRPr sz="4350" b="1" i="0">
                <a:solidFill>
                  <a:srgbClr val="73C0FF"/>
                </a:solidFill>
                <a:latin typeface="IBM Eliot Sans" panose="020B0503050000000000"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3305710" y="2759351"/>
            <a:ext cx="2805544" cy="886594"/>
          </a:xfrm>
          <a:prstGeom prst="rect">
            <a:avLst/>
          </a:prstGeom>
        </p:spPr>
        <p:txBody>
          <a:bodyPr>
            <a:noAutofit/>
          </a:bodyPr>
          <a:lstStyle>
            <a:lvl1pPr marL="0" indent="0">
              <a:buNone/>
              <a:defRPr sz="4350" b="1" i="0">
                <a:solidFill>
                  <a:srgbClr val="FFFFFF"/>
                </a:solidFill>
                <a:latin typeface="IBM Eliot Sans" panose="020B0503050000000000"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6186365" y="2759351"/>
            <a:ext cx="2805544" cy="886594"/>
          </a:xfrm>
          <a:prstGeom prst="rect">
            <a:avLst/>
          </a:prstGeom>
        </p:spPr>
        <p:txBody>
          <a:bodyPr>
            <a:noAutofit/>
          </a:bodyPr>
          <a:lstStyle>
            <a:lvl1pPr marL="0" indent="0">
              <a:buNone/>
              <a:defRPr sz="4350" b="1" i="0">
                <a:solidFill>
                  <a:srgbClr val="FFFFFF"/>
                </a:solidFill>
                <a:latin typeface="IBM Eliot Sans" panose="020B0503050000000000"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65092" y="382885"/>
            <a:ext cx="3500909" cy="825652"/>
          </a:xfrm>
          <a:prstGeom prst="rect">
            <a:avLst/>
          </a:prstGeom>
        </p:spPr>
        <p:txBody>
          <a:bodyPr>
            <a:noAutofit/>
          </a:bodyPr>
          <a:lstStyle>
            <a:lvl1pPr marL="0" indent="0">
              <a:lnSpc>
                <a:spcPts val="1875"/>
              </a:lnSpc>
              <a:buNone/>
              <a:defRPr sz="2188"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285750" y="2286000"/>
            <a:ext cx="85725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86361" y="2365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3331174" y="2365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6220424" y="2365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86361" y="4270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3331174" y="4270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6220424" y="4270708"/>
            <a:ext cx="1494234" cy="173435"/>
          </a:xfrm>
          <a:prstGeom prst="rect">
            <a:avLst/>
          </a:prstGeom>
        </p:spPr>
        <p:txBody>
          <a:bodyPr/>
          <a:lstStyle>
            <a:lvl1pPr marL="0" indent="0">
              <a:buNone/>
              <a:defRPr sz="750" b="1" i="0">
                <a:solidFill>
                  <a:srgbClr val="FFFFFF"/>
                </a:solidFill>
                <a:latin typeface="IBM Eliot Sans Medium" panose="020B0703050000000000" pitchFamily="34" charset="0"/>
                <a:cs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9915" y="4572000"/>
            <a:ext cx="2140372" cy="1524000"/>
          </a:xfrm>
          <a:prstGeom prst="rect">
            <a:avLst/>
          </a:prstGeom>
        </p:spPr>
        <p:txBody>
          <a:bodyPr>
            <a:normAutofit/>
          </a:bodyPr>
          <a:lstStyle>
            <a:lvl1pPr marL="0" marR="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sz="75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3338788" y="4572000"/>
            <a:ext cx="2140372" cy="1524000"/>
          </a:xfrm>
          <a:prstGeom prst="rect">
            <a:avLst/>
          </a:prstGeom>
        </p:spPr>
        <p:txBody>
          <a:bodyPr>
            <a:normAutofit/>
          </a:bodyPr>
          <a:lstStyle>
            <a:lvl1pPr marL="0" marR="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sz="75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6223053" y="4572000"/>
            <a:ext cx="2140372" cy="1524000"/>
          </a:xfrm>
          <a:prstGeom prst="rect">
            <a:avLst/>
          </a:prstGeom>
        </p:spPr>
        <p:txBody>
          <a:bodyPr>
            <a:normAutofit/>
          </a:bodyPr>
          <a:lstStyle>
            <a:lvl1pPr marL="0" marR="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sz="75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6022927" y="2413000"/>
            <a:ext cx="0" cy="36830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8552735" y="6343906"/>
            <a:ext cx="361470" cy="133094"/>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553656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440" userDrawn="1">
          <p15:clr>
            <a:srgbClr val="FBAE40"/>
          </p15:clr>
        </p15:guide>
        <p15:guide id="2" pos="2040" userDrawn="1">
          <p15:clr>
            <a:srgbClr val="FBAE40"/>
          </p15:clr>
        </p15:guide>
        <p15:guide id="3" pos="3854"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9144000" cy="6858000"/>
          </a:xfrm>
          <a:prstGeom prst="rect">
            <a:avLst/>
          </a:prstGeom>
        </p:spPr>
        <p:txBody>
          <a:bodyPr anchor="ctr"/>
          <a:lstStyle>
            <a:lvl1pPr marL="0" marR="0" indent="0" algn="ctr" defTabSz="685749" rtl="0" eaLnBrk="1" fontAlgn="auto" latinLnBrk="0" hangingPunct="1">
              <a:lnSpc>
                <a:spcPct val="90000"/>
              </a:lnSpc>
              <a:spcBef>
                <a:spcPts val="750"/>
              </a:spcBef>
              <a:spcAft>
                <a:spcPts val="0"/>
              </a:spcAft>
              <a:buClrTx/>
              <a:buSzTx/>
              <a:buFont typeface="Arial" panose="020B0604020202020204" pitchFamily="34" charset="0"/>
              <a:buNone/>
              <a:tabLst/>
              <a:defRPr>
                <a:solidFill>
                  <a:srgbClr val="002577"/>
                </a:solidFill>
                <a:latin typeface="IBM Eliot Sans Medium" panose="020B0703050000000000" pitchFamily="34" charset="0"/>
                <a:cs typeface="Segoe UI" panose="020B0502040204020203" pitchFamily="34" charset="0"/>
              </a:defRPr>
            </a:lvl1pPr>
          </a:lstStyle>
          <a:p>
            <a:pPr marL="0" marR="0" lvl="0" indent="0" algn="ctr"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8600860" y="6338882"/>
            <a:ext cx="312953" cy="138118"/>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5529299"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51342" y="382885"/>
            <a:ext cx="3500909" cy="825652"/>
          </a:xfrm>
          <a:prstGeom prst="rect">
            <a:avLst/>
          </a:prstGeom>
        </p:spPr>
        <p:txBody>
          <a:bodyPr>
            <a:noAutofit/>
          </a:bodyPr>
          <a:lstStyle>
            <a:lvl1pPr marL="0" indent="0">
              <a:lnSpc>
                <a:spcPts val="1875"/>
              </a:lnSpc>
              <a:buNone/>
              <a:defRPr sz="2188"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4095" y="2587021"/>
            <a:ext cx="2030016" cy="221528"/>
          </a:xfrm>
          <a:prstGeom prst="rect">
            <a:avLst/>
          </a:prstGeom>
        </p:spPr>
        <p:txBody>
          <a:bodyPr/>
          <a:lstStyle>
            <a:lvl1pPr marL="0" indent="0">
              <a:buNone/>
              <a:defRPr sz="750" b="1" i="0">
                <a:solidFill>
                  <a:srgbClr val="FFFFFF"/>
                </a:solidFill>
                <a:latin typeface="IBM Eliot Sans Medium" panose="020B0703050000000000"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2610" y="2831375"/>
            <a:ext cx="2867027" cy="194336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293370" y="6343897"/>
            <a:ext cx="1444943" cy="184867"/>
          </a:xfrm>
          <a:prstGeom prst="rect">
            <a:avLst/>
          </a:prstGeom>
        </p:spPr>
        <p:txBody>
          <a:bodyPr vert="horz" lIns="57150" tIns="28575" rIns="57150" bIns="28575"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600" dirty="0">
              <a:latin typeface="IBM Eliot Sans Medium" panose="020B0703050000000000" pitchFamily="34" charset="0"/>
            </a:endParaRPr>
          </a:p>
        </p:txBody>
      </p:sp>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660" userDrawn="1">
          <p15:clr>
            <a:srgbClr val="FBAE40"/>
          </p15:clr>
        </p15:guide>
        <p15:guide id="2" orient="horz" pos="1840"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2"/>
          <a:stretch>
            <a:fillRect/>
          </a:stretch>
        </p:blipFill>
        <p:spPr>
          <a:xfrm>
            <a:off x="1076960" y="1287781"/>
            <a:ext cx="6943725" cy="5207794"/>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720775" y="2888234"/>
            <a:ext cx="1111178" cy="365125"/>
          </a:xfrm>
          <a:prstGeom prst="rect">
            <a:avLst/>
          </a:prstGeom>
        </p:spPr>
        <p:txBody>
          <a:bodyPr anchor="ctr">
            <a:normAutofit/>
          </a:bodyPr>
          <a:lstStyle>
            <a:lvl1pPr marL="0" indent="0" algn="l">
              <a:buNone/>
              <a:defRPr sz="10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506598" y="2888234"/>
            <a:ext cx="279287" cy="365125"/>
          </a:xfrm>
          <a:prstGeom prst="rect">
            <a:avLst/>
          </a:prstGeom>
        </p:spPr>
        <p:txBody>
          <a:bodyPr anchor="ctr">
            <a:normAutofit/>
          </a:bodyPr>
          <a:lstStyle>
            <a:lvl1pPr marL="0" indent="0" algn="r">
              <a:buNone/>
              <a:defRPr sz="1000" b="1" i="0">
                <a:solidFill>
                  <a:srgbClr val="73C0FF"/>
                </a:solidFill>
                <a:latin typeface="IBM Eliot Sans" panose="020B0503050000000000" pitchFamily="34" charset="0"/>
                <a:cs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720775" y="5068401"/>
            <a:ext cx="1111178" cy="365125"/>
          </a:xfrm>
          <a:prstGeom prst="rect">
            <a:avLst/>
          </a:prstGeom>
        </p:spPr>
        <p:txBody>
          <a:bodyPr anchor="ctr">
            <a:normAutofit/>
          </a:bodyPr>
          <a:lstStyle>
            <a:lvl1pPr marL="0" indent="0" algn="l">
              <a:buNone/>
              <a:defRPr sz="10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506598" y="5068401"/>
            <a:ext cx="279287" cy="365125"/>
          </a:xfrm>
          <a:prstGeom prst="rect">
            <a:avLst/>
          </a:prstGeom>
        </p:spPr>
        <p:txBody>
          <a:bodyPr anchor="ctr">
            <a:normAutofit/>
          </a:bodyPr>
          <a:lstStyle>
            <a:lvl1pPr marL="0" indent="0" algn="r">
              <a:buNone/>
              <a:defRPr sz="1000" b="1" i="0">
                <a:solidFill>
                  <a:srgbClr val="73C0FF"/>
                </a:solidFill>
                <a:latin typeface="IBM Eliot Sans" panose="020B0503050000000000" pitchFamily="34" charset="0"/>
                <a:cs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7005555" y="3271062"/>
            <a:ext cx="1111178" cy="365125"/>
          </a:xfrm>
          <a:prstGeom prst="rect">
            <a:avLst/>
          </a:prstGeom>
        </p:spPr>
        <p:txBody>
          <a:bodyPr anchor="ctr">
            <a:normAutofit/>
          </a:bodyPr>
          <a:lstStyle>
            <a:lvl1pPr marL="0" indent="0" algn="l">
              <a:buNone/>
              <a:defRPr sz="10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6791378" y="3271062"/>
            <a:ext cx="279287" cy="365125"/>
          </a:xfrm>
          <a:prstGeom prst="rect">
            <a:avLst/>
          </a:prstGeom>
        </p:spPr>
        <p:txBody>
          <a:bodyPr anchor="ctr">
            <a:normAutofit/>
          </a:bodyPr>
          <a:lstStyle>
            <a:lvl1pPr marL="0" indent="0" algn="r">
              <a:buNone/>
              <a:defRPr sz="1000" b="1" i="0">
                <a:solidFill>
                  <a:srgbClr val="73C0FF"/>
                </a:solidFill>
                <a:latin typeface="IBM Eliot Sans" panose="020B0503050000000000" pitchFamily="34" charset="0"/>
                <a:cs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7400334" y="4738992"/>
            <a:ext cx="1111178" cy="365125"/>
          </a:xfrm>
          <a:prstGeom prst="rect">
            <a:avLst/>
          </a:prstGeom>
        </p:spPr>
        <p:txBody>
          <a:bodyPr anchor="ctr">
            <a:normAutofit/>
          </a:bodyPr>
          <a:lstStyle>
            <a:lvl1pPr marL="0" indent="0" algn="l">
              <a:buNone/>
              <a:defRPr sz="10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7186157" y="4738992"/>
            <a:ext cx="279287" cy="365125"/>
          </a:xfrm>
          <a:prstGeom prst="rect">
            <a:avLst/>
          </a:prstGeom>
        </p:spPr>
        <p:txBody>
          <a:bodyPr anchor="ctr">
            <a:normAutofit/>
          </a:bodyPr>
          <a:lstStyle>
            <a:lvl1pPr marL="0" indent="0" algn="r">
              <a:buNone/>
              <a:defRPr sz="1000" b="1" i="0">
                <a:solidFill>
                  <a:srgbClr val="73C0FF"/>
                </a:solidFill>
                <a:latin typeface="IBM Eliot Sans" panose="020B0503050000000000" pitchFamily="34" charset="0"/>
                <a:cs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436868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p slide_EQB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270329-E48C-584A-8D9E-A0256F6089BE}"/>
              </a:ext>
            </a:extLst>
          </p:cNvPr>
          <p:cNvPicPr>
            <a:picLocks noChangeAspect="1"/>
          </p:cNvPicPr>
          <p:nvPr userDrawn="1"/>
        </p:nvPicPr>
        <p:blipFill>
          <a:blip r:embed="rId2"/>
          <a:stretch>
            <a:fillRect/>
          </a:stretch>
        </p:blipFill>
        <p:spPr>
          <a:xfrm>
            <a:off x="805816" y="1211580"/>
            <a:ext cx="7298055" cy="5473542"/>
          </a:xfrm>
          <a:prstGeom prst="rect">
            <a:avLst/>
          </a:prstGeom>
        </p:spPr>
      </p:pic>
      <p:sp>
        <p:nvSpPr>
          <p:cNvPr id="22" name="Text Placeholder 4">
            <a:extLst>
              <a:ext uri="{FF2B5EF4-FFF2-40B4-BE49-F238E27FC236}">
                <a16:creationId xmlns:a16="http://schemas.microsoft.com/office/drawing/2014/main" id="{C48540CD-AA9F-C142-9158-E73E8A97C959}"/>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8" name="Text Placeholder 14">
            <a:extLst>
              <a:ext uri="{FF2B5EF4-FFF2-40B4-BE49-F238E27FC236}">
                <a16:creationId xmlns:a16="http://schemas.microsoft.com/office/drawing/2014/main" id="{4DF7846F-EB15-0949-A39B-D57E8F47E357}"/>
              </a:ext>
            </a:extLst>
          </p:cNvPr>
          <p:cNvSpPr>
            <a:spLocks noGrp="1"/>
          </p:cNvSpPr>
          <p:nvPr>
            <p:ph type="body" sz="quarter" idx="16" hasCustomPrompt="1"/>
          </p:nvPr>
        </p:nvSpPr>
        <p:spPr>
          <a:xfrm>
            <a:off x="430703" y="3214688"/>
            <a:ext cx="1111178" cy="365125"/>
          </a:xfrm>
          <a:prstGeom prst="rect">
            <a:avLst/>
          </a:prstGeom>
        </p:spPr>
        <p:txBody>
          <a:bodyPr anchor="ctr">
            <a:normAutofit/>
          </a:bodyPr>
          <a:lstStyle>
            <a:lvl1pPr marL="0" indent="0" algn="l">
              <a:buNone/>
              <a:defRPr sz="10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9" name="Text Placeholder 14">
            <a:extLst>
              <a:ext uri="{FF2B5EF4-FFF2-40B4-BE49-F238E27FC236}">
                <a16:creationId xmlns:a16="http://schemas.microsoft.com/office/drawing/2014/main" id="{CC2A54B3-2F8C-1A40-B7CB-05B79A702E0A}"/>
              </a:ext>
            </a:extLst>
          </p:cNvPr>
          <p:cNvSpPr>
            <a:spLocks noGrp="1"/>
          </p:cNvSpPr>
          <p:nvPr>
            <p:ph type="body" sz="quarter" idx="20" hasCustomPrompt="1"/>
          </p:nvPr>
        </p:nvSpPr>
        <p:spPr>
          <a:xfrm>
            <a:off x="213841" y="3214688"/>
            <a:ext cx="279287" cy="365125"/>
          </a:xfrm>
          <a:prstGeom prst="rect">
            <a:avLst/>
          </a:prstGeom>
        </p:spPr>
        <p:txBody>
          <a:bodyPr anchor="ctr">
            <a:normAutofit/>
          </a:bodyPr>
          <a:lstStyle>
            <a:lvl1pPr marL="0" indent="0" algn="r">
              <a:buNone/>
              <a:defRPr sz="10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0" name="Text Placeholder 14">
            <a:extLst>
              <a:ext uri="{FF2B5EF4-FFF2-40B4-BE49-F238E27FC236}">
                <a16:creationId xmlns:a16="http://schemas.microsoft.com/office/drawing/2014/main" id="{57F9853B-35CD-AE43-BCF7-0762A2692A7E}"/>
              </a:ext>
            </a:extLst>
          </p:cNvPr>
          <p:cNvSpPr>
            <a:spLocks noGrp="1"/>
          </p:cNvSpPr>
          <p:nvPr>
            <p:ph type="body" sz="quarter" idx="21" hasCustomPrompt="1"/>
          </p:nvPr>
        </p:nvSpPr>
        <p:spPr>
          <a:xfrm>
            <a:off x="1018078" y="5045604"/>
            <a:ext cx="1111178" cy="365125"/>
          </a:xfrm>
          <a:prstGeom prst="rect">
            <a:avLst/>
          </a:prstGeom>
        </p:spPr>
        <p:txBody>
          <a:bodyPr anchor="ctr">
            <a:normAutofit/>
          </a:bodyPr>
          <a:lstStyle>
            <a:lvl1pPr marL="0" indent="0" algn="l">
              <a:buNone/>
              <a:defRPr sz="10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1" name="Text Placeholder 14">
            <a:extLst>
              <a:ext uri="{FF2B5EF4-FFF2-40B4-BE49-F238E27FC236}">
                <a16:creationId xmlns:a16="http://schemas.microsoft.com/office/drawing/2014/main" id="{74769082-203C-D945-A5A8-915FA88B6567}"/>
              </a:ext>
            </a:extLst>
          </p:cNvPr>
          <p:cNvSpPr>
            <a:spLocks noGrp="1"/>
          </p:cNvSpPr>
          <p:nvPr>
            <p:ph type="body" sz="quarter" idx="22" hasCustomPrompt="1"/>
          </p:nvPr>
        </p:nvSpPr>
        <p:spPr>
          <a:xfrm>
            <a:off x="801216" y="5045604"/>
            <a:ext cx="279287" cy="365125"/>
          </a:xfrm>
          <a:prstGeom prst="rect">
            <a:avLst/>
          </a:prstGeom>
        </p:spPr>
        <p:txBody>
          <a:bodyPr anchor="ctr">
            <a:normAutofit/>
          </a:bodyPr>
          <a:lstStyle>
            <a:lvl1pPr marL="0" indent="0" algn="r">
              <a:buNone/>
              <a:defRPr sz="10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2" name="Text Placeholder 14">
            <a:extLst>
              <a:ext uri="{FF2B5EF4-FFF2-40B4-BE49-F238E27FC236}">
                <a16:creationId xmlns:a16="http://schemas.microsoft.com/office/drawing/2014/main" id="{C5E74914-8360-234F-9206-56B6C622ACE4}"/>
              </a:ext>
            </a:extLst>
          </p:cNvPr>
          <p:cNvSpPr>
            <a:spLocks noGrp="1"/>
          </p:cNvSpPr>
          <p:nvPr>
            <p:ph type="body" sz="quarter" idx="23" hasCustomPrompt="1"/>
          </p:nvPr>
        </p:nvSpPr>
        <p:spPr>
          <a:xfrm>
            <a:off x="7626525" y="4960938"/>
            <a:ext cx="1111178" cy="365125"/>
          </a:xfrm>
          <a:prstGeom prst="rect">
            <a:avLst/>
          </a:prstGeom>
        </p:spPr>
        <p:txBody>
          <a:bodyPr anchor="ctr">
            <a:normAutofit/>
          </a:bodyPr>
          <a:lstStyle>
            <a:lvl1pPr marL="0" indent="0" algn="l">
              <a:buNone/>
              <a:defRPr sz="10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3" name="Text Placeholder 14">
            <a:extLst>
              <a:ext uri="{FF2B5EF4-FFF2-40B4-BE49-F238E27FC236}">
                <a16:creationId xmlns:a16="http://schemas.microsoft.com/office/drawing/2014/main" id="{E41D87EE-3D8C-A245-8D18-D8F0C2E368D1}"/>
              </a:ext>
            </a:extLst>
          </p:cNvPr>
          <p:cNvSpPr>
            <a:spLocks noGrp="1"/>
          </p:cNvSpPr>
          <p:nvPr>
            <p:ph type="body" sz="quarter" idx="24" hasCustomPrompt="1"/>
          </p:nvPr>
        </p:nvSpPr>
        <p:spPr>
          <a:xfrm>
            <a:off x="7416898" y="4960938"/>
            <a:ext cx="279287" cy="365125"/>
          </a:xfrm>
          <a:prstGeom prst="rect">
            <a:avLst/>
          </a:prstGeom>
        </p:spPr>
        <p:txBody>
          <a:bodyPr anchor="ctr">
            <a:normAutofit/>
          </a:bodyPr>
          <a:lstStyle>
            <a:lvl1pPr marL="0" indent="0" algn="r">
              <a:buNone/>
              <a:defRPr sz="10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DB9A65C1-CA3B-8445-A62C-8ACDE32DAFF8}"/>
              </a:ext>
            </a:extLst>
          </p:cNvPr>
          <p:cNvSpPr>
            <a:spLocks noGrp="1"/>
          </p:cNvSpPr>
          <p:nvPr>
            <p:ph type="body" sz="quarter" idx="25" hasCustomPrompt="1"/>
          </p:nvPr>
        </p:nvSpPr>
        <p:spPr>
          <a:xfrm>
            <a:off x="7626525" y="3574521"/>
            <a:ext cx="1111178" cy="365125"/>
          </a:xfrm>
          <a:prstGeom prst="rect">
            <a:avLst/>
          </a:prstGeom>
        </p:spPr>
        <p:txBody>
          <a:bodyPr anchor="ctr">
            <a:normAutofit/>
          </a:bodyPr>
          <a:lstStyle>
            <a:lvl1pPr marL="0" indent="0" algn="l">
              <a:buNone/>
              <a:defRPr sz="10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EEED265C-8845-FC48-96B3-6771743EC33B}"/>
              </a:ext>
            </a:extLst>
          </p:cNvPr>
          <p:cNvSpPr>
            <a:spLocks noGrp="1"/>
          </p:cNvSpPr>
          <p:nvPr>
            <p:ph type="body" sz="quarter" idx="26" hasCustomPrompt="1"/>
          </p:nvPr>
        </p:nvSpPr>
        <p:spPr>
          <a:xfrm>
            <a:off x="7416898" y="3574521"/>
            <a:ext cx="279287" cy="365125"/>
          </a:xfrm>
          <a:prstGeom prst="rect">
            <a:avLst/>
          </a:prstGeom>
        </p:spPr>
        <p:txBody>
          <a:bodyPr anchor="ctr">
            <a:normAutofit/>
          </a:bodyPr>
          <a:lstStyle>
            <a:lvl1pPr marL="0" indent="0" algn="r">
              <a:buNone/>
              <a:defRPr sz="10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14" name="Slide Number Placeholder 5">
            <a:extLst>
              <a:ext uri="{FF2B5EF4-FFF2-40B4-BE49-F238E27FC236}">
                <a16:creationId xmlns:a16="http://schemas.microsoft.com/office/drawing/2014/main" id="{CC53045E-983F-F84B-B049-87D0C80FC761}"/>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329E02F2-CA2F-624C-B91D-28BBB479EAFD}"/>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9342548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279477" y="2479966"/>
            <a:ext cx="8585048" cy="1898069"/>
          </a:xfrm>
          <a:prstGeom prst="rect">
            <a:avLst/>
          </a:prstGeom>
        </p:spPr>
        <p:txBody>
          <a:bodyPr anchor="ctr" anchorCtr="0"/>
          <a:lstStyle>
            <a:lvl1pPr marL="0" indent="0" algn="ctr">
              <a:buNone/>
              <a:defRPr sz="5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8605070" y="6352296"/>
            <a:ext cx="318064" cy="235657"/>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5527534" y="636008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485209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8538983" y="6359171"/>
            <a:ext cx="393691" cy="235657"/>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5527534" y="6360082"/>
            <a:ext cx="2995766"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pic>
        <p:nvPicPr>
          <p:cNvPr id="8" name="Picture 7">
            <a:extLst>
              <a:ext uri="{FF2B5EF4-FFF2-40B4-BE49-F238E27FC236}">
                <a16:creationId xmlns:a16="http://schemas.microsoft.com/office/drawing/2014/main" id="{233A5F51-0EC6-3A4D-8892-F5F79680107A}"/>
              </a:ext>
            </a:extLst>
          </p:cNvPr>
          <p:cNvPicPr>
            <a:picLocks noChangeAspect="1"/>
          </p:cNvPicPr>
          <p:nvPr userDrawn="1"/>
        </p:nvPicPr>
        <p:blipFill>
          <a:blip r:embed="rId2"/>
          <a:stretch>
            <a:fillRect/>
          </a:stretch>
        </p:blipFill>
        <p:spPr>
          <a:xfrm>
            <a:off x="3142871" y="2520956"/>
            <a:ext cx="2915029" cy="1692336"/>
          </a:xfrm>
          <a:prstGeom prst="rect">
            <a:avLst/>
          </a:prstGeom>
        </p:spPr>
      </p:pic>
    </p:spTree>
    <p:extLst>
      <p:ext uri="{BB962C8B-B14F-4D97-AF65-F5344CB8AC3E}">
        <p14:creationId xmlns:p14="http://schemas.microsoft.com/office/powerpoint/2010/main" val="33344801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76024" y="420563"/>
            <a:ext cx="1978683" cy="254382"/>
          </a:xfrm>
          <a:prstGeom prst="rect">
            <a:avLst/>
          </a:prstGeom>
        </p:spPr>
        <p:txBody>
          <a:bodyPr anchor="b">
            <a:noAutofit/>
          </a:bodyPr>
          <a:lstStyle>
            <a:lvl1pPr algn="l">
              <a:defRPr sz="10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62100" y="1062708"/>
            <a:ext cx="3503900" cy="589400"/>
          </a:xfrm>
          <a:prstGeom prst="rect">
            <a:avLst/>
          </a:prstGeom>
        </p:spPr>
        <p:txBody>
          <a:bodyPr>
            <a:noAutofit/>
          </a:bodyPr>
          <a:lstStyle>
            <a:lvl1pPr marL="0" indent="0" algn="l">
              <a:buNone/>
              <a:defRPr sz="3438" b="1" i="0">
                <a:solidFill>
                  <a:srgbClr val="FFFFFF"/>
                </a:solidFill>
                <a:latin typeface="IBM Eliot Sans Medium" panose="020B07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62102" y="1755246"/>
            <a:ext cx="3503899" cy="1673756"/>
          </a:xfrm>
          <a:prstGeom prst="rect">
            <a:avLst/>
          </a:prstGeom>
        </p:spPr>
        <p:txBody>
          <a:bodyPr/>
          <a:lstStyle>
            <a:lvl1pPr marL="0" indent="0">
              <a:buNone/>
              <a:defRPr sz="3438" b="1" i="0">
                <a:solidFill>
                  <a:srgbClr val="002577"/>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8607735" y="6362613"/>
            <a:ext cx="340845" cy="228774"/>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5570941" y="636008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294"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7256" y="65048"/>
            <a:ext cx="1527372" cy="1905000"/>
          </a:xfrm>
          <a:prstGeom prst="rect">
            <a:avLst/>
          </a:prstGeom>
        </p:spPr>
        <p:txBody>
          <a:bodyPr anchor="b">
            <a:normAutofit/>
          </a:bodyPr>
          <a:lstStyle>
            <a:lvl1pPr algn="l">
              <a:defRPr sz="9375" b="0" i="0">
                <a:solidFill>
                  <a:srgbClr val="002577"/>
                </a:solidFill>
                <a:latin typeface="IBM Eliot Sans" panose="020B0503050000000000"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52408" y="2211660"/>
            <a:ext cx="3506718" cy="2233341"/>
          </a:xfrm>
          <a:prstGeom prst="rect">
            <a:avLst/>
          </a:prstGeom>
        </p:spPr>
        <p:txBody>
          <a:bodyPr>
            <a:noAutofit/>
          </a:bodyPr>
          <a:lstStyle>
            <a:lvl1pPr marL="0" indent="0" algn="l">
              <a:buNone/>
              <a:defRPr sz="3438" b="1" i="0">
                <a:solidFill>
                  <a:srgbClr val="FFFFFF"/>
                </a:solidFill>
                <a:latin typeface="IBM Eliot Sans Medium" panose="020B07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8580236" y="6355738"/>
            <a:ext cx="361470" cy="215023"/>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5591566" y="636008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9351021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4572000" y="0"/>
            <a:ext cx="4572000" cy="68580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62274" y="416077"/>
            <a:ext cx="1978683" cy="254382"/>
          </a:xfrm>
          <a:prstGeom prst="rect">
            <a:avLst/>
          </a:prstGeom>
        </p:spPr>
        <p:txBody>
          <a:bodyPr anchor="b">
            <a:noAutofit/>
          </a:bodyPr>
          <a:lstStyle>
            <a:lvl1pPr algn="l">
              <a:defRPr sz="10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48350" y="1062708"/>
            <a:ext cx="3503900" cy="589400"/>
          </a:xfrm>
          <a:prstGeom prst="rect">
            <a:avLst/>
          </a:prstGeom>
        </p:spPr>
        <p:txBody>
          <a:bodyPr>
            <a:noAutofit/>
          </a:bodyPr>
          <a:lstStyle>
            <a:lvl1pPr marL="0" indent="0" algn="l">
              <a:buNone/>
              <a:defRPr sz="3438" b="1" i="0">
                <a:solidFill>
                  <a:srgbClr val="FFFFFF"/>
                </a:solidFill>
                <a:latin typeface="IBM Eliot Sans Medium" panose="020B07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48352" y="1755246"/>
            <a:ext cx="3503899" cy="1673756"/>
          </a:xfrm>
          <a:prstGeom prst="rect">
            <a:avLst/>
          </a:prstGeom>
        </p:spPr>
        <p:txBody>
          <a:bodyPr/>
          <a:lstStyle>
            <a:lvl1pPr marL="0" indent="0">
              <a:buNone/>
              <a:defRPr sz="3438" b="1" i="0">
                <a:solidFill>
                  <a:srgbClr val="002577"/>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294"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3273" y="1840515"/>
            <a:ext cx="3945431" cy="1295173"/>
          </a:xfrm>
          <a:prstGeom prst="rect">
            <a:avLst/>
          </a:prstGeom>
        </p:spPr>
        <p:txBody>
          <a:bodyPr/>
          <a:lstStyle>
            <a:lvl1pPr marL="0" indent="0">
              <a:buNone/>
              <a:defRPr sz="2813"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46345" y="3365500"/>
            <a:ext cx="3930702" cy="2349500"/>
          </a:xfrm>
          <a:prstGeom prst="rect">
            <a:avLst/>
          </a:prstGeom>
        </p:spPr>
        <p:txBody>
          <a:bodyPr/>
          <a:lstStyle>
            <a:lvl1pPr marL="0" indent="0">
              <a:lnSpc>
                <a:spcPts val="1250"/>
              </a:lnSpc>
              <a:spcBef>
                <a:spcPts val="0"/>
              </a:spcBef>
              <a:buNone/>
              <a:defRPr sz="1000" b="0" i="0" spc="7"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8621487" y="6343906"/>
            <a:ext cx="292718" cy="133094"/>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555031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4686701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2939" y="1840515"/>
            <a:ext cx="3945431" cy="1295173"/>
          </a:xfrm>
          <a:prstGeom prst="rect">
            <a:avLst/>
          </a:prstGeom>
        </p:spPr>
        <p:txBody>
          <a:bodyPr/>
          <a:lstStyle>
            <a:lvl1pPr marL="0" indent="0">
              <a:buNone/>
              <a:defRPr sz="2813"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8530927" y="6361600"/>
            <a:ext cx="291526" cy="20835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5443715"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46011" y="3365500"/>
            <a:ext cx="3930702" cy="2349500"/>
          </a:xfrm>
          <a:prstGeom prst="rect">
            <a:avLst/>
          </a:prstGeom>
        </p:spPr>
        <p:txBody>
          <a:bodyPr/>
          <a:lstStyle>
            <a:lvl1pPr marL="0" indent="0">
              <a:lnSpc>
                <a:spcPts val="1250"/>
              </a:lnSpc>
              <a:spcBef>
                <a:spcPts val="0"/>
              </a:spcBef>
              <a:buNone/>
              <a:defRPr sz="1000" b="0" i="0" spc="7"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748731364"/>
      </p:ext>
    </p:extLst>
  </p:cSld>
  <p:clrMapOvr>
    <a:masterClrMapping/>
  </p:clrMapOvr>
  <p:extLst>
    <p:ext uri="{DCECCB84-F9BA-43D5-87BE-67443E8EF086}">
      <p15:sldGuideLst xmlns:p15="http://schemas.microsoft.com/office/powerpoint/2012/main">
        <p15:guide id="1" orient="horz" pos="2120" userDrawn="1">
          <p15:clr>
            <a:srgbClr val="FBAE40"/>
          </p15:clr>
        </p15:guide>
        <p15:guide id="2" orient="horz" pos="360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8647883" y="6347590"/>
            <a:ext cx="233450" cy="291340"/>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5552411" y="6261813"/>
            <a:ext cx="3086100" cy="365125"/>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4568428" y="5948"/>
            <a:ext cx="4575572" cy="6852053"/>
          </a:xfrm>
          <a:prstGeom prst="rect">
            <a:avLst/>
          </a:prstGeom>
          <a:solidFill>
            <a:schemeClr val="bg1">
              <a:lumMod val="95000"/>
            </a:schemeClr>
          </a:solidFill>
          <a:ln>
            <a:noFill/>
          </a:ln>
        </p:spPr>
        <p:txBody>
          <a:bodyPr anchor="ctr"/>
          <a:lstStyle>
            <a:lvl1pPr marL="0" indent="0" algn="ctr">
              <a:buNone/>
              <a:defRPr sz="10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53898" y="1840515"/>
            <a:ext cx="3945431" cy="1295173"/>
          </a:xfrm>
          <a:prstGeom prst="rect">
            <a:avLst/>
          </a:prstGeom>
        </p:spPr>
        <p:txBody>
          <a:bodyPr/>
          <a:lstStyle>
            <a:lvl1pPr marL="0" indent="0">
              <a:buNone/>
              <a:defRPr sz="2813"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66970" y="3365500"/>
            <a:ext cx="3930702" cy="2349500"/>
          </a:xfrm>
          <a:prstGeom prst="rect">
            <a:avLst/>
          </a:prstGeom>
        </p:spPr>
        <p:txBody>
          <a:bodyPr/>
          <a:lstStyle>
            <a:lvl1pPr marL="0" indent="0">
              <a:lnSpc>
                <a:spcPts val="1250"/>
              </a:lnSpc>
              <a:spcBef>
                <a:spcPts val="0"/>
              </a:spcBef>
              <a:buNone/>
              <a:defRPr sz="1000" b="0" i="0" spc="7"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Take Away_LB_0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5784E16-54A4-5749-9787-C19890A6B986}"/>
              </a:ext>
            </a:extLst>
          </p:cNvPr>
          <p:cNvSpPr>
            <a:spLocks noGrp="1"/>
          </p:cNvSpPr>
          <p:nvPr>
            <p:ph type="body" sz="quarter" idx="12" hasCustomPrompt="1"/>
          </p:nvPr>
        </p:nvSpPr>
        <p:spPr>
          <a:xfrm>
            <a:off x="209523" y="1840515"/>
            <a:ext cx="3945431" cy="1295173"/>
          </a:xfrm>
          <a:prstGeom prst="rect">
            <a:avLst/>
          </a:prstGeom>
        </p:spPr>
        <p:txBody>
          <a:bodyPr/>
          <a:lstStyle>
            <a:lvl1pPr marL="0" indent="0">
              <a:lnSpc>
                <a:spcPct val="85000"/>
              </a:lnSpc>
              <a:buNone/>
              <a:defRPr sz="2813"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4" name="Text Placeholder 3">
            <a:extLst>
              <a:ext uri="{FF2B5EF4-FFF2-40B4-BE49-F238E27FC236}">
                <a16:creationId xmlns:a16="http://schemas.microsoft.com/office/drawing/2014/main" id="{B2869647-7650-C74B-A047-92E7266794C6}"/>
              </a:ext>
            </a:extLst>
          </p:cNvPr>
          <p:cNvSpPr>
            <a:spLocks noGrp="1"/>
          </p:cNvSpPr>
          <p:nvPr>
            <p:ph type="body" sz="quarter" idx="14" hasCustomPrompt="1"/>
          </p:nvPr>
        </p:nvSpPr>
        <p:spPr>
          <a:xfrm>
            <a:off x="222595" y="3365500"/>
            <a:ext cx="3945431" cy="2349500"/>
          </a:xfrm>
          <a:prstGeom prst="rect">
            <a:avLst/>
          </a:prstGeom>
        </p:spPr>
        <p:txBody>
          <a:bodyPr/>
          <a:lstStyle>
            <a:lvl1pPr marL="0" indent="0">
              <a:lnSpc>
                <a:spcPts val="1250"/>
              </a:lnSpc>
              <a:spcBef>
                <a:spcPts val="0"/>
              </a:spcBef>
              <a:buNone/>
              <a:defRPr sz="1000" b="0" i="0" spc="7"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62BFCF0B-F5B5-884C-AB70-4F0D255DE319}"/>
              </a:ext>
            </a:extLst>
          </p:cNvPr>
          <p:cNvSpPr>
            <a:spLocks noGrp="1"/>
          </p:cNvSpPr>
          <p:nvPr>
            <p:ph type="sldNum" sz="quarter" idx="4"/>
          </p:nvPr>
        </p:nvSpPr>
        <p:spPr>
          <a:xfrm>
            <a:off x="8600861" y="6343906"/>
            <a:ext cx="313344" cy="133094"/>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A036E336-9A20-B64F-A76C-FE1BB8E7356E}"/>
              </a:ext>
            </a:extLst>
          </p:cNvPr>
          <p:cNvSpPr>
            <a:spLocks noGrp="1"/>
          </p:cNvSpPr>
          <p:nvPr>
            <p:ph type="ftr" sz="quarter" idx="3"/>
          </p:nvPr>
        </p:nvSpPr>
        <p:spPr>
          <a:xfrm>
            <a:off x="5543441"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79146645"/>
      </p:ext>
    </p:extLst>
  </p:cSld>
  <p:clrMapOvr>
    <a:masterClrMapping/>
  </p:clrMapOvr>
  <p:extLst>
    <p:ext uri="{DCECCB84-F9BA-43D5-87BE-67443E8EF086}">
      <p15:sldGuideLst xmlns:p15="http://schemas.microsoft.com/office/powerpoint/2012/main">
        <p15:guide id="1" pos="2616"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Key Take Away_LB_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3032FDD-FC9E-AB4C-8234-3D0D62778D5E}"/>
              </a:ext>
            </a:extLst>
          </p:cNvPr>
          <p:cNvSpPr>
            <a:spLocks noGrp="1"/>
          </p:cNvSpPr>
          <p:nvPr>
            <p:ph type="pic" sz="quarter" idx="14"/>
          </p:nvPr>
        </p:nvSpPr>
        <p:spPr>
          <a:xfrm>
            <a:off x="4568428" y="0"/>
            <a:ext cx="4575572" cy="6858000"/>
          </a:xfrm>
          <a:prstGeom prst="rect">
            <a:avLst/>
          </a:prstGeom>
          <a:solidFill>
            <a:schemeClr val="bg1">
              <a:lumMod val="95000"/>
            </a:schemeClr>
          </a:solidFill>
          <a:ln>
            <a:noFill/>
          </a:ln>
        </p:spPr>
        <p:txBody>
          <a:bodyPr anchor="ctr"/>
          <a:lstStyle>
            <a:lvl1pPr marL="0" indent="0" algn="ctr">
              <a:buNone/>
              <a:defRPr sz="100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6" name="Text Placeholder 2">
            <a:extLst>
              <a:ext uri="{FF2B5EF4-FFF2-40B4-BE49-F238E27FC236}">
                <a16:creationId xmlns:a16="http://schemas.microsoft.com/office/drawing/2014/main" id="{8384CAD2-BB35-2441-9FC3-D2010114F9A8}"/>
              </a:ext>
            </a:extLst>
          </p:cNvPr>
          <p:cNvSpPr>
            <a:spLocks noGrp="1"/>
          </p:cNvSpPr>
          <p:nvPr>
            <p:ph type="body" sz="quarter" idx="12" hasCustomPrompt="1"/>
          </p:nvPr>
        </p:nvSpPr>
        <p:spPr>
          <a:xfrm>
            <a:off x="209523" y="1840515"/>
            <a:ext cx="3945431" cy="1295173"/>
          </a:xfrm>
          <a:prstGeom prst="rect">
            <a:avLst/>
          </a:prstGeom>
        </p:spPr>
        <p:txBody>
          <a:bodyPr/>
          <a:lstStyle>
            <a:lvl1pPr marL="0" indent="0">
              <a:lnSpc>
                <a:spcPct val="85000"/>
              </a:lnSpc>
              <a:buNone/>
              <a:defRPr sz="2813"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5" name="Text Placeholder 3">
            <a:extLst>
              <a:ext uri="{FF2B5EF4-FFF2-40B4-BE49-F238E27FC236}">
                <a16:creationId xmlns:a16="http://schemas.microsoft.com/office/drawing/2014/main" id="{E4C60CCA-485D-8445-9A7C-885EF35C594B}"/>
              </a:ext>
            </a:extLst>
          </p:cNvPr>
          <p:cNvSpPr>
            <a:spLocks noGrp="1"/>
          </p:cNvSpPr>
          <p:nvPr>
            <p:ph type="body" sz="quarter" idx="15"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7" name="Slide Number Placeholder 5">
            <a:extLst>
              <a:ext uri="{FF2B5EF4-FFF2-40B4-BE49-F238E27FC236}">
                <a16:creationId xmlns:a16="http://schemas.microsoft.com/office/drawing/2014/main" id="{08AAA384-1BA9-204E-9201-2EE77A99345A}"/>
              </a:ext>
            </a:extLst>
          </p:cNvPr>
          <p:cNvSpPr>
            <a:spLocks noGrp="1"/>
          </p:cNvSpPr>
          <p:nvPr>
            <p:ph type="sldNum" sz="quarter" idx="4"/>
          </p:nvPr>
        </p:nvSpPr>
        <p:spPr>
          <a:xfrm>
            <a:off x="3218380"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38C8224F-49B7-2648-BF9F-F857E67B3F62}"/>
              </a:ext>
            </a:extLst>
          </p:cNvPr>
          <p:cNvSpPr>
            <a:spLocks noGrp="1"/>
          </p:cNvSpPr>
          <p:nvPr>
            <p:ph type="ftr" sz="quarter" idx="3"/>
          </p:nvPr>
        </p:nvSpPr>
        <p:spPr>
          <a:xfrm>
            <a:off x="127037"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5528161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Introduction slide_WT_01">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3137080" y="5661378"/>
            <a:ext cx="2879581" cy="261460"/>
          </a:xfrm>
          <a:prstGeom prst="rect">
            <a:avLst/>
          </a:prstGeom>
        </p:spPr>
        <p:txBody>
          <a:bodyPr/>
          <a:lstStyle>
            <a:lvl1pPr marL="0" indent="0" algn="ctr">
              <a:buNone/>
              <a:defRPr sz="1125" b="1" i="0">
                <a:solidFill>
                  <a:srgbClr val="002677"/>
                </a:solidFill>
                <a:latin typeface="IBM Eliot Sans Medium" panose="020B0703050000000000" pitchFamily="34" charset="0"/>
              </a:defRPr>
            </a:lvl1pPr>
          </a:lstStyle>
          <a:p>
            <a:pPr lvl="0"/>
            <a:r>
              <a:rPr lang="en-US" dirty="0"/>
              <a:t>Presentation Subtitle Here</a:t>
            </a:r>
          </a:p>
        </p:txBody>
      </p:sp>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285750" y="2479972"/>
            <a:ext cx="8572500" cy="1898069"/>
          </a:xfrm>
          <a:prstGeom prst="rect">
            <a:avLst/>
          </a:prstGeom>
        </p:spPr>
        <p:txBody>
          <a:bodyPr anchor="ctr" anchorCtr="0"/>
          <a:lstStyle>
            <a:lvl1pPr marL="0" indent="0" algn="ctr">
              <a:buNone/>
              <a:defRPr lang="en-US" sz="5000" b="1" i="0" dirty="0">
                <a:solidFill>
                  <a:srgbClr val="002577"/>
                </a:solidFill>
                <a:latin typeface="IBM Plex Sans" panose="020B0503050203000203" pitchFamily="34" charset="0"/>
              </a:defRPr>
            </a:lvl1pPr>
          </a:lstStyle>
          <a:p>
            <a:pPr marL="171438" lvl="0" indent="-171438"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3401674" y="5881430"/>
            <a:ext cx="2353388" cy="261460"/>
          </a:xfrm>
          <a:prstGeom prst="rect">
            <a:avLst/>
          </a:prstGeom>
        </p:spPr>
        <p:txBody>
          <a:bodyPr/>
          <a:lstStyle>
            <a:lvl1pPr marL="0" indent="0" algn="ctr">
              <a:buNone/>
              <a:defRPr sz="1125" b="0" i="0">
                <a:solidFill>
                  <a:srgbClr val="002577"/>
                </a:solidFill>
                <a:latin typeface="IBM Eliot Sans Medium" panose="020B0703050000000000"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AF2D83FA-AC05-9741-9C22-6EFB7916BF04}"/>
              </a:ext>
            </a:extLst>
          </p:cNvPr>
          <p:cNvPicPr>
            <a:picLocks noChangeAspect="1"/>
          </p:cNvPicPr>
          <p:nvPr userDrawn="1"/>
        </p:nvPicPr>
        <p:blipFill>
          <a:blip r:embed="rId2"/>
          <a:stretch>
            <a:fillRect/>
          </a:stretch>
        </p:blipFill>
        <p:spPr>
          <a:xfrm>
            <a:off x="3770431" y="381000"/>
            <a:ext cx="1603138" cy="930711"/>
          </a:xfrm>
          <a:prstGeom prst="rect">
            <a:avLst/>
          </a:prstGeom>
        </p:spPr>
      </p:pic>
    </p:spTree>
    <p:extLst>
      <p:ext uri="{BB962C8B-B14F-4D97-AF65-F5344CB8AC3E}">
        <p14:creationId xmlns:p14="http://schemas.microsoft.com/office/powerpoint/2010/main" val="25710112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8408358" y="6355734"/>
            <a:ext cx="416081" cy="242532"/>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5439924" y="636008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285750" y="2479966"/>
            <a:ext cx="8522494" cy="1898069"/>
          </a:xfrm>
          <a:prstGeom prst="rect">
            <a:avLst/>
          </a:prstGeom>
        </p:spPr>
        <p:txBody>
          <a:bodyPr anchor="ctr" anchorCtr="0"/>
          <a:lstStyle>
            <a:lvl1pPr>
              <a:defRPr lang="en-US" sz="5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563577033"/>
      </p:ext>
    </p:extLst>
  </p:cSld>
  <p:clrMapOvr>
    <a:masterClrMapping/>
  </p:clrMapOvr>
  <p:extLst>
    <p:ext uri="{DCECCB84-F9BA-43D5-87BE-67443E8EF086}">
      <p15:sldGuideLst xmlns:p15="http://schemas.microsoft.com/office/powerpoint/2012/main">
        <p15:guide id="1" orient="horz" pos="1980"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8465654" y="6358934"/>
            <a:ext cx="336398"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5376284" y="6365159"/>
            <a:ext cx="2986241"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pic>
        <p:nvPicPr>
          <p:cNvPr id="8" name="Picture 7">
            <a:extLst>
              <a:ext uri="{FF2B5EF4-FFF2-40B4-BE49-F238E27FC236}">
                <a16:creationId xmlns:a16="http://schemas.microsoft.com/office/drawing/2014/main" id="{94B9F3BA-FC1F-924E-A9E1-CE7729614DCF}"/>
              </a:ext>
            </a:extLst>
          </p:cNvPr>
          <p:cNvPicPr>
            <a:picLocks noChangeAspect="1"/>
          </p:cNvPicPr>
          <p:nvPr userDrawn="1"/>
        </p:nvPicPr>
        <p:blipFill>
          <a:blip r:embed="rId2"/>
          <a:stretch>
            <a:fillRect/>
          </a:stretch>
        </p:blipFill>
        <p:spPr>
          <a:xfrm>
            <a:off x="3125918" y="2571883"/>
            <a:ext cx="2892163" cy="1679061"/>
          </a:xfrm>
          <a:prstGeom prst="rect">
            <a:avLst/>
          </a:prstGeom>
        </p:spPr>
      </p:pic>
    </p:spTree>
    <p:extLst>
      <p:ext uri="{BB962C8B-B14F-4D97-AF65-F5344CB8AC3E}">
        <p14:creationId xmlns:p14="http://schemas.microsoft.com/office/powerpoint/2010/main" val="327821291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dirty="0"/>
              <a:t>Presentation Title Here – Month 00, 000</a:t>
            </a:r>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285751" y="4939220"/>
            <a:ext cx="8572499" cy="1291040"/>
          </a:xfrm>
          <a:prstGeom prst="rect">
            <a:avLst/>
          </a:prstGeom>
        </p:spPr>
        <p:txBody>
          <a:bodyPr anchor="ctr" anchorCtr="0"/>
          <a:lstStyle>
            <a:lvl1pPr>
              <a:defRPr lang="en-US" sz="3375"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1604671950"/>
      </p:ext>
    </p:extLst>
  </p:cSld>
  <p:clrMapOvr>
    <a:masterClrMapping/>
  </p:clrMapOvr>
  <p:extLst>
    <p:ext uri="{DCECCB84-F9BA-43D5-87BE-67443E8EF086}">
      <p15:sldGuideLst xmlns:p15="http://schemas.microsoft.com/office/powerpoint/2012/main">
        <p15:guide id="1" orient="horz" pos="4320" userDrawn="1">
          <p15:clr>
            <a:srgbClr val="FBAE40"/>
          </p15:clr>
        </p15:guide>
        <p15:guide id="2" orient="horz" userDrawn="1">
          <p15:clr>
            <a:srgbClr val="FBAE40"/>
          </p15:clr>
        </p15:guide>
        <p15:guide id="3" userDrawn="1">
          <p15:clr>
            <a:srgbClr val="FBAE40"/>
          </p15:clr>
        </p15:guide>
        <p15:guide id="4" pos="5760"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355398" y="381000"/>
            <a:ext cx="1978683" cy="254382"/>
          </a:xfrm>
          <a:prstGeom prst="rect">
            <a:avLst/>
          </a:prstGeom>
        </p:spPr>
        <p:txBody>
          <a:bodyPr anchor="b">
            <a:noAutofit/>
          </a:bodyPr>
          <a:lstStyle>
            <a:lvl1pPr algn="l">
              <a:defRPr sz="10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362100" y="1062708"/>
            <a:ext cx="3503900" cy="589400"/>
          </a:xfrm>
          <a:prstGeom prst="rect">
            <a:avLst/>
          </a:prstGeom>
        </p:spPr>
        <p:txBody>
          <a:bodyPr anchor="ctr" anchorCtr="0">
            <a:noAutofit/>
          </a:bodyPr>
          <a:lstStyle>
            <a:lvl1pPr marL="0" indent="0" algn="l">
              <a:buNone/>
              <a:defRPr sz="3438" b="1" i="0">
                <a:solidFill>
                  <a:srgbClr val="002677"/>
                </a:solidFill>
                <a:latin typeface="IBM Eliot Sans" panose="020B05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362102" y="1755246"/>
            <a:ext cx="3503899" cy="1673756"/>
          </a:xfrm>
          <a:prstGeom prst="rect">
            <a:avLst/>
          </a:prstGeom>
        </p:spPr>
        <p:txBody>
          <a:bodyPr/>
          <a:lstStyle>
            <a:lvl1pPr marL="0" indent="0">
              <a:buNone/>
              <a:defRPr sz="3438"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8483986" y="6352674"/>
            <a:ext cx="333578" cy="199380"/>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5460549" y="636008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769244498"/>
      </p:ext>
    </p:extLst>
  </p:cSld>
  <p:clrMapOvr>
    <a:masterClrMapping/>
  </p:clrMapOvr>
  <p:extLst>
    <p:ext uri="{DCECCB84-F9BA-43D5-87BE-67443E8EF086}">
      <p15:sldGuideLst xmlns:p15="http://schemas.microsoft.com/office/powerpoint/2012/main">
        <p15:guide id="1" orient="horz" pos="294" userDrawn="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242881" y="65048"/>
            <a:ext cx="1527372" cy="1905000"/>
          </a:xfrm>
          <a:prstGeom prst="rect">
            <a:avLst/>
          </a:prstGeom>
        </p:spPr>
        <p:txBody>
          <a:bodyPr anchor="b">
            <a:normAutofit/>
          </a:bodyPr>
          <a:lstStyle>
            <a:lvl1pPr algn="l">
              <a:defRPr sz="9375"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24908" y="2211660"/>
            <a:ext cx="3506718" cy="2233341"/>
          </a:xfrm>
          <a:prstGeom prst="rect">
            <a:avLst/>
          </a:prstGeom>
        </p:spPr>
        <p:txBody>
          <a:bodyPr>
            <a:noAutofit/>
          </a:bodyPr>
          <a:lstStyle>
            <a:lvl1pPr marL="0" indent="0" algn="l">
              <a:buNone/>
              <a:defRPr sz="3438" b="1" i="0">
                <a:solidFill>
                  <a:srgbClr val="002677"/>
                </a:solidFill>
                <a:latin typeface="IBM Eliot Sans" panose="020B05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8532111" y="6343898"/>
            <a:ext cx="283688" cy="133102"/>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5479409"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15849932"/>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4572000" y="0"/>
            <a:ext cx="4572000" cy="68580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224775" y="417849"/>
            <a:ext cx="3489976" cy="422711"/>
          </a:xfrm>
          <a:prstGeom prst="rect">
            <a:avLst/>
          </a:prstGeom>
        </p:spPr>
        <p:txBody>
          <a:bodyPr anchor="t">
            <a:noAutofit/>
          </a:bodyPr>
          <a:lstStyle>
            <a:lvl1pPr algn="l">
              <a:defRPr sz="10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210850" y="1062708"/>
            <a:ext cx="3503900" cy="589400"/>
          </a:xfrm>
          <a:prstGeom prst="rect">
            <a:avLst/>
          </a:prstGeom>
        </p:spPr>
        <p:txBody>
          <a:bodyPr>
            <a:noAutofit/>
          </a:bodyPr>
          <a:lstStyle>
            <a:lvl1pPr marL="0" indent="0" algn="l">
              <a:buNone/>
              <a:defRPr sz="3438" b="1" i="0">
                <a:solidFill>
                  <a:srgbClr val="002677"/>
                </a:solidFill>
                <a:latin typeface="IBM Eliot Sans Medium" panose="020B0703050000000000"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210853" y="1755246"/>
            <a:ext cx="3503898" cy="1673756"/>
          </a:xfrm>
          <a:prstGeom prst="rect">
            <a:avLst/>
          </a:prstGeom>
        </p:spPr>
        <p:txBody>
          <a:bodyPr/>
          <a:lstStyle>
            <a:lvl1pPr marL="0" indent="0">
              <a:buNone/>
              <a:defRPr sz="3438"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3443679205"/>
      </p:ext>
    </p:extLst>
  </p:cSld>
  <p:clrMapOvr>
    <a:masterClrMapping/>
  </p:clrMapOvr>
  <p:extLst>
    <p:ext uri="{DCECCB84-F9BA-43D5-87BE-67443E8EF086}">
      <p15:sldGuideLst xmlns:p15="http://schemas.microsoft.com/office/powerpoint/2012/main">
        <p15:guide id="1" orient="horz" pos="29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8689262" y="6346402"/>
            <a:ext cx="280210" cy="291340"/>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4572000" y="0"/>
            <a:ext cx="4572000" cy="6858000"/>
          </a:xfrm>
          <a:prstGeom prst="rect">
            <a:avLst/>
          </a:prstGeom>
          <a:solidFill>
            <a:schemeClr val="bg1">
              <a:lumMod val="95000"/>
            </a:schemeClr>
          </a:solidFill>
        </p:spPr>
        <p:txBody>
          <a:bodyPr anchor="ctr"/>
          <a:lstStyle>
            <a:lvl1pPr marL="0" indent="0" algn="ctr">
              <a:buNone/>
              <a:defRPr sz="10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8549" y="1840515"/>
            <a:ext cx="3945431" cy="1295173"/>
          </a:xfrm>
          <a:prstGeom prst="rect">
            <a:avLst/>
          </a:prstGeom>
        </p:spPr>
        <p:txBody>
          <a:bodyPr/>
          <a:lstStyle>
            <a:lvl1pPr marL="0" indent="0">
              <a:buNone/>
              <a:defRPr sz="2813"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1621" y="3365500"/>
            <a:ext cx="3930702" cy="2349500"/>
          </a:xfrm>
          <a:prstGeom prst="rect">
            <a:avLst/>
          </a:prstGeom>
        </p:spPr>
        <p:txBody>
          <a:bodyPr/>
          <a:lstStyle>
            <a:lvl1pPr marL="0" indent="0">
              <a:lnSpc>
                <a:spcPts val="1250"/>
              </a:lnSpc>
              <a:spcBef>
                <a:spcPts val="0"/>
              </a:spcBef>
              <a:buNone/>
              <a:defRPr sz="1000" b="0" i="0" spc="7"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777212515"/>
      </p:ext>
    </p:extLst>
  </p:cSld>
  <p:clrMapOvr>
    <a:masterClrMapping/>
  </p:clrMapOvr>
  <p:extLst>
    <p:ext uri="{DCECCB84-F9BA-43D5-87BE-67443E8EF086}">
      <p15:sldGuideLst xmlns:p15="http://schemas.microsoft.com/office/powerpoint/2012/main">
        <p15:guide id="1" pos="2616"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626062046"/>
      </p:ext>
    </p:extLst>
  </p:cSld>
  <p:clrMapOvr>
    <a:masterClrMapping/>
  </p:clrMapOvr>
  <p:extLst>
    <p:ext uri="{DCECCB84-F9BA-43D5-87BE-67443E8EF086}">
      <p15:sldGuideLst xmlns:p15="http://schemas.microsoft.com/office/powerpoint/2012/main">
        <p15:guide id="1" orient="horz" pos="2120" userDrawn="1">
          <p15:clr>
            <a:srgbClr val="FBAE40"/>
          </p15:clr>
        </p15:guide>
        <p15:guide id="2" orient="horz" pos="3600"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8689262" y="6346402"/>
            <a:ext cx="280210" cy="291340"/>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4572000" y="0"/>
            <a:ext cx="4572000" cy="6858000"/>
          </a:xfrm>
          <a:prstGeom prst="rect">
            <a:avLst/>
          </a:prstGeom>
          <a:solidFill>
            <a:schemeClr val="bg1">
              <a:lumMod val="95000"/>
            </a:schemeClr>
          </a:solidFill>
        </p:spPr>
        <p:txBody>
          <a:bodyPr anchor="ctr"/>
          <a:lstStyle>
            <a:lvl1pPr marL="0" indent="0" algn="ctr">
              <a:buNone/>
              <a:defRPr sz="10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996009655"/>
      </p:ext>
    </p:extLst>
  </p:cSld>
  <p:clrMapOvr>
    <a:masterClrMapping/>
  </p:clrMapOvr>
  <p:extLst>
    <p:ext uri="{DCECCB84-F9BA-43D5-87BE-67443E8EF086}">
      <p15:sldGuideLst xmlns:p15="http://schemas.microsoft.com/office/powerpoint/2012/main">
        <p15:guide id="1" pos="2616"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3856120"/>
            <a:ext cx="9144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226033" y="3058636"/>
            <a:ext cx="194188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3713663" y="1684420"/>
            <a:ext cx="0" cy="43434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6692429" y="1684420"/>
            <a:ext cx="0" cy="43434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228041" y="333737"/>
            <a:ext cx="3629586"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208861" y="2059218"/>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2526773" y="3048053"/>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4812773" y="3048053"/>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7098773" y="3048053"/>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2494861" y="2059218"/>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4780861" y="2059218"/>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7066861" y="2059218"/>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226033" y="5132969"/>
            <a:ext cx="194188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208861" y="4133551"/>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2526773" y="5122386"/>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4812773" y="5122386"/>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7098773" y="5122386"/>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2494861" y="4133551"/>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4780861" y="4133551"/>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7066861" y="4133551"/>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927306491"/>
      </p:ext>
    </p:extLst>
  </p:cSld>
  <p:clrMapOvr>
    <a:masterClrMapping/>
  </p:clrMapOvr>
  <p:extLst>
    <p:ext uri="{DCECCB84-F9BA-43D5-87BE-67443E8EF086}">
      <p15:sldGuideLst xmlns:p15="http://schemas.microsoft.com/office/powerpoint/2012/main">
        <p15:guide id="1" pos="1635" userDrawn="1">
          <p15:clr>
            <a:srgbClr val="FBAE40"/>
          </p15:clr>
        </p15:guide>
        <p15:guide id="2" pos="3075" userDrawn="1">
          <p15:clr>
            <a:srgbClr val="FBAE40"/>
          </p15:clr>
        </p15:guide>
        <p15:guide id="3" pos="4515" userDrawn="1">
          <p15:clr>
            <a:srgbClr val="FBAE40"/>
          </p15:clr>
        </p15:guide>
        <p15:guide id="4" orient="horz" pos="2600"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1905000"/>
            <a:ext cx="9144000" cy="4191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000500"/>
            <a:ext cx="914732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2281807" y="1822962"/>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343663" y="3930319"/>
            <a:ext cx="415188" cy="777145"/>
          </a:xfrm>
          <a:prstGeom prst="rect">
            <a:avLst/>
          </a:prstGeom>
        </p:spPr>
        <p:txBody>
          <a:bodyPr vert="horz" lIns="68580" tIns="34290" rIns="68580" bIns="34290"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4876"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4570913" y="1808472"/>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6854615" y="1773483"/>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228040" y="333737"/>
            <a:ext cx="3629585"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226033" y="3058636"/>
            <a:ext cx="194188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208861"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2526773" y="3048053"/>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4812773" y="3048053"/>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7098773" y="3048053"/>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2494861"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4780861"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7066861"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226033" y="5132969"/>
            <a:ext cx="194188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208861" y="4133551"/>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2526773" y="5122386"/>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4812773" y="5122386"/>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7098773" y="5122386"/>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2494861" y="4133551"/>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4780861" y="4133551"/>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7066861" y="4133551"/>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38804775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6103619" y="1904998"/>
            <a:ext cx="3051810" cy="41910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3051809" y="1904998"/>
            <a:ext cx="3051810" cy="41910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1905000"/>
            <a:ext cx="3051810" cy="4191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3050068" y="1752600"/>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6103619" y="1829103"/>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8573361" y="6359175"/>
            <a:ext cx="367954" cy="263150"/>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5556799" y="6363318"/>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221166" y="292486"/>
            <a:ext cx="3629586"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208861"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3222224" y="2059218"/>
            <a:ext cx="825624" cy="825498"/>
          </a:xfrm>
          <a:prstGeom prst="rect">
            <a:avLst/>
          </a:prstGeom>
        </p:spPr>
        <p:txBody>
          <a:bodyPr/>
          <a:lstStyle>
            <a:lvl1pPr marL="0" indent="0" algn="l">
              <a:buNone/>
              <a:defRPr sz="4688"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6270224" y="2059218"/>
            <a:ext cx="825624" cy="825498"/>
          </a:xfrm>
          <a:prstGeom prst="rect">
            <a:avLst/>
          </a:prstGeom>
        </p:spPr>
        <p:txBody>
          <a:bodyPr/>
          <a:lstStyle>
            <a:lvl1pPr marL="0" indent="0" algn="l">
              <a:buNone/>
              <a:defRPr sz="4688"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226031" y="3058636"/>
            <a:ext cx="2612522"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3226406" y="3058636"/>
            <a:ext cx="2612522"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6265748" y="3058636"/>
            <a:ext cx="2612522" cy="727080"/>
          </a:xfrm>
          <a:prstGeom prst="rect">
            <a:avLst/>
          </a:prstGeom>
        </p:spPr>
        <p:txBody>
          <a:bodyPr/>
          <a:lstStyle>
            <a:lvl1pPr marL="0" indent="0">
              <a:lnSpc>
                <a:spcPts val="750"/>
              </a:lnSpc>
              <a:buNone/>
              <a:defRPr sz="1125" b="1" i="0">
                <a:solidFill>
                  <a:srgbClr val="0025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2467537232"/>
      </p:ext>
    </p:extLst>
  </p:cSld>
  <p:clrMapOvr>
    <a:masterClrMapping/>
  </p:clrMapOvr>
  <p:extLst>
    <p:ext uri="{DCECCB84-F9BA-43D5-87BE-67443E8EF086}">
      <p15:sldGuideLst xmlns:p15="http://schemas.microsoft.com/office/powerpoint/2012/main">
        <p15:guide id="1" orient="horz" pos="3835" userDrawn="1">
          <p15:clr>
            <a:srgbClr val="FBAE40"/>
          </p15:clr>
        </p15:guide>
        <p15:guide id="2" orient="horz" pos="1200"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5" y="1905000"/>
            <a:ext cx="2283714" cy="4191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2280309" y="1904998"/>
            <a:ext cx="2283714" cy="41910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4560611" y="1904998"/>
            <a:ext cx="2283714" cy="41910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6848012" y="1904998"/>
            <a:ext cx="2298334" cy="41910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2280303" y="1838882"/>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4554562" y="1818288"/>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6844320" y="1828585"/>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8648987" y="6355738"/>
            <a:ext cx="306078" cy="228774"/>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5570549" y="636008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228041" y="333737"/>
            <a:ext cx="3629586"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226033" y="3058636"/>
            <a:ext cx="194188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208861" y="2059218"/>
            <a:ext cx="825624" cy="825498"/>
          </a:xfrm>
          <a:prstGeom prst="rect">
            <a:avLst/>
          </a:prstGeom>
        </p:spPr>
        <p:txBody>
          <a:bodyPr/>
          <a:lstStyle>
            <a:lvl1pPr marL="0" indent="0" algn="l">
              <a:buNone/>
              <a:defRPr sz="4688"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2526773" y="3048053"/>
            <a:ext cx="1847926" cy="727080"/>
          </a:xfrm>
          <a:prstGeom prst="rect">
            <a:avLst/>
          </a:prstGeom>
        </p:spPr>
        <p:txBody>
          <a:bodyPr/>
          <a:lstStyle>
            <a:lvl1pPr marL="0" indent="0">
              <a:lnSpc>
                <a:spcPts val="750"/>
              </a:lnSpc>
              <a:buNone/>
              <a:defRPr sz="1125" b="1" i="0">
                <a:solidFill>
                  <a:srgbClr val="FFFFFF"/>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4812773" y="3048053"/>
            <a:ext cx="1847926" cy="727080"/>
          </a:xfrm>
          <a:prstGeom prst="rect">
            <a:avLst/>
          </a:prstGeom>
        </p:spPr>
        <p:txBody>
          <a:bodyPr/>
          <a:lstStyle>
            <a:lvl1pPr marL="0" indent="0">
              <a:lnSpc>
                <a:spcPts val="750"/>
              </a:lnSpc>
              <a:buNone/>
              <a:defRPr sz="1125" b="1" i="0">
                <a:solidFill>
                  <a:srgbClr val="0025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7098773" y="3048053"/>
            <a:ext cx="1847926" cy="727080"/>
          </a:xfrm>
          <a:prstGeom prst="rect">
            <a:avLst/>
          </a:prstGeom>
        </p:spPr>
        <p:txBody>
          <a:bodyPr/>
          <a:lstStyle>
            <a:lvl1pPr marL="0" indent="0">
              <a:lnSpc>
                <a:spcPts val="750"/>
              </a:lnSpc>
              <a:buNone/>
              <a:defRPr sz="1125" b="1" i="0">
                <a:solidFill>
                  <a:srgbClr val="0025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2494861" y="2059218"/>
            <a:ext cx="825624" cy="825498"/>
          </a:xfrm>
          <a:prstGeom prst="rect">
            <a:avLst/>
          </a:prstGeom>
        </p:spPr>
        <p:txBody>
          <a:bodyPr/>
          <a:lstStyle>
            <a:lvl1pPr marL="0" indent="0" algn="l">
              <a:buNone/>
              <a:defRPr sz="4688"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4780861" y="2059218"/>
            <a:ext cx="825624" cy="825498"/>
          </a:xfrm>
          <a:prstGeom prst="rect">
            <a:avLst/>
          </a:prstGeom>
        </p:spPr>
        <p:txBody>
          <a:bodyPr/>
          <a:lstStyle>
            <a:lvl1pPr marL="0" indent="0" algn="l">
              <a:buNone/>
              <a:defRPr sz="4688"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7066861" y="2059218"/>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8563932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3108097" y="365044"/>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3447180" y="359195"/>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3447517" y="649557"/>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228041" y="333737"/>
            <a:ext cx="2730739"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3108097" y="1150670"/>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3447180" y="1144822"/>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3447517" y="1435184"/>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3108097" y="1912670"/>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3447180" y="1906821"/>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3447517" y="2197183"/>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3108097" y="2674670"/>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3447180" y="2668821"/>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3447517" y="2959183"/>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6018756" y="365044"/>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6357838" y="359195"/>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6358176" y="649557"/>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6018756" y="1150670"/>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6357838" y="1144822"/>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6358176" y="1435184"/>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6018756" y="1912670"/>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6357838" y="1906821"/>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6358176" y="2197183"/>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6018756" y="2674670"/>
            <a:ext cx="320519" cy="278416"/>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6357838" y="2668821"/>
            <a:ext cx="2190092" cy="278416"/>
          </a:xfrm>
          <a:prstGeom prst="rect">
            <a:avLst/>
          </a:prstGeom>
        </p:spPr>
        <p:txBody>
          <a:bodyPr/>
          <a:lstStyle>
            <a:lvl1pPr marL="0" indent="0">
              <a:buNone/>
              <a:defRPr sz="137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6358176" y="2959183"/>
            <a:ext cx="2190092" cy="327608"/>
          </a:xfrm>
          <a:prstGeom prst="rect">
            <a:avLst/>
          </a:prstGeom>
        </p:spPr>
        <p:txBody>
          <a:bodyPr/>
          <a:lstStyle>
            <a:lvl1pPr marL="0" indent="0">
              <a:buNone/>
              <a:defRPr sz="137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Tree>
    <p:extLst>
      <p:ext uri="{BB962C8B-B14F-4D97-AF65-F5344CB8AC3E}">
        <p14:creationId xmlns:p14="http://schemas.microsoft.com/office/powerpoint/2010/main" val="992145174"/>
      </p:ext>
    </p:extLst>
  </p:cSld>
  <p:clrMapOvr>
    <a:masterClrMapping/>
  </p:clrMapOvr>
  <p:extLst>
    <p:ext uri="{DCECCB84-F9BA-43D5-87BE-67443E8EF086}">
      <p15:sldGuideLst xmlns:p15="http://schemas.microsoft.com/office/powerpoint/2012/main">
        <p15:guide id="1" pos="2147" userDrawn="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6157913" y="714534"/>
            <a:ext cx="2433965" cy="544883"/>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8477110" y="6343905"/>
            <a:ext cx="340454" cy="187523"/>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5543049"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31168" y="333737"/>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6157913" y="1857534"/>
            <a:ext cx="2433965" cy="544883"/>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6157913" y="3000534"/>
            <a:ext cx="2433965" cy="544883"/>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6157913" y="4143534"/>
            <a:ext cx="2433965" cy="544883"/>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6157913" y="5286534"/>
            <a:ext cx="2433965" cy="544883"/>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5235489" y="552331"/>
            <a:ext cx="831504" cy="766497"/>
          </a:xfrm>
          <a:prstGeom prst="rect">
            <a:avLst/>
          </a:prstGeom>
        </p:spPr>
        <p:txBody>
          <a:bodyPr/>
          <a:lstStyle>
            <a:lvl1pPr marL="0" indent="0">
              <a:buNone/>
              <a:defRPr sz="4688"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5235489" y="1703991"/>
            <a:ext cx="831504" cy="766497"/>
          </a:xfrm>
          <a:prstGeom prst="rect">
            <a:avLst/>
          </a:prstGeom>
        </p:spPr>
        <p:txBody>
          <a:bodyPr/>
          <a:lstStyle>
            <a:lvl1pPr marL="0" indent="0">
              <a:buNone/>
              <a:defRPr sz="4688"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5235489" y="2855650"/>
            <a:ext cx="831504" cy="766497"/>
          </a:xfrm>
          <a:prstGeom prst="rect">
            <a:avLst/>
          </a:prstGeom>
        </p:spPr>
        <p:txBody>
          <a:bodyPr/>
          <a:lstStyle>
            <a:lvl1pPr marL="0" indent="0">
              <a:buNone/>
              <a:defRPr sz="4688"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5235489" y="3989991"/>
            <a:ext cx="831504" cy="766497"/>
          </a:xfrm>
          <a:prstGeom prst="rect">
            <a:avLst/>
          </a:prstGeom>
        </p:spPr>
        <p:txBody>
          <a:bodyPr/>
          <a:lstStyle>
            <a:lvl1pPr marL="0" indent="0">
              <a:buNone/>
              <a:defRPr sz="4688"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5235489" y="5132991"/>
            <a:ext cx="831504" cy="766497"/>
          </a:xfrm>
          <a:prstGeom prst="rect">
            <a:avLst/>
          </a:prstGeom>
        </p:spPr>
        <p:txBody>
          <a:bodyPr/>
          <a:lstStyle>
            <a:lvl1pPr marL="0" indent="0">
              <a:buNone/>
              <a:defRPr sz="4688"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1523567184"/>
      </p:ext>
    </p:extLst>
  </p:cSld>
  <p:clrMapOvr>
    <a:masterClrMapping/>
  </p:clrMapOvr>
  <p:extLst>
    <p:ext uri="{DCECCB84-F9BA-43D5-87BE-67443E8EF086}">
      <p15:sldGuideLst xmlns:p15="http://schemas.microsoft.com/office/powerpoint/2012/main">
        <p15:guide id="1" pos="3360" userDrawn="1">
          <p15:clr>
            <a:srgbClr val="FBAE40"/>
          </p15:clr>
        </p15:guide>
        <p15:guide id="2" pos="3915" userDrawn="1">
          <p15:clr>
            <a:srgbClr val="FBAE40"/>
          </p15:clr>
        </p15:guide>
        <p15:guide id="3" orient="horz" pos="440" userDrawn="1">
          <p15:clr>
            <a:srgbClr val="FBAE40"/>
          </p15:clr>
        </p15:guide>
        <p15:guide id="10" orient="horz" pos="800" userDrawn="1">
          <p15:clr>
            <a:srgbClr val="FBAE40"/>
          </p15:clr>
        </p15:guide>
        <p15:guide id="11" orient="horz" pos="1520" userDrawn="1">
          <p15:clr>
            <a:srgbClr val="FBAE40"/>
          </p15:clr>
        </p15:guide>
        <p15:guide id="12" orient="horz" pos="1160" userDrawn="1">
          <p15:clr>
            <a:srgbClr val="FBAE40"/>
          </p15:clr>
        </p15:guide>
        <p15:guide id="13" orient="horz" pos="1880" userDrawn="1">
          <p15:clr>
            <a:srgbClr val="FBAE40"/>
          </p15:clr>
        </p15:guide>
        <p15:guide id="14" orient="horz" pos="2240" userDrawn="1">
          <p15:clr>
            <a:srgbClr val="FBAE40"/>
          </p15:clr>
        </p15:guide>
        <p15:guide id="15" orient="horz" pos="2600" userDrawn="1">
          <p15:clr>
            <a:srgbClr val="FBAE40"/>
          </p15:clr>
        </p15:guide>
        <p15:guide id="16" orient="horz" pos="2960" userDrawn="1">
          <p15:clr>
            <a:srgbClr val="FBAE40"/>
          </p15:clr>
        </p15:guide>
        <p15:guide id="17" orient="horz" pos="3320" userDrawn="1">
          <p15:clr>
            <a:srgbClr val="FBAE40"/>
          </p15:clr>
        </p15:guide>
        <p15:guide id="18" orient="horz" pos="3680"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5058544" y="676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228041" y="333737"/>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5058544" y="1819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5058544" y="299329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5058544" y="4105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5058544" y="5248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7213099" y="676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7213099" y="1819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7213099" y="299329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7213099" y="4105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7213099" y="5248811"/>
            <a:ext cx="1632769" cy="409041"/>
          </a:xfrm>
          <a:prstGeom prst="rect">
            <a:avLst/>
          </a:prstGeom>
        </p:spPr>
        <p:txBody>
          <a:bodyPr/>
          <a:lstStyle>
            <a:lvl1pPr marL="0" indent="0">
              <a:lnSpc>
                <a:spcPts val="750"/>
              </a:lnSpc>
              <a:buNone/>
              <a:defRPr sz="1000"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4585260" y="590603"/>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4585260" y="1750922"/>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4585260" y="2919898"/>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4585260" y="4028262"/>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4585260" y="5171262"/>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6774584" y="590603"/>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6774584" y="1750922"/>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6774584" y="2919898"/>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6774584" y="4028262"/>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6774584" y="5171262"/>
            <a:ext cx="473284" cy="41275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2196949786"/>
      </p:ext>
    </p:extLst>
  </p:cSld>
  <p:clrMapOvr>
    <a:masterClrMapping/>
  </p:clrMapOvr>
  <p:extLst>
    <p:ext uri="{DCECCB84-F9BA-43D5-87BE-67443E8EF086}">
      <p15:sldGuideLst xmlns:p15="http://schemas.microsoft.com/office/powerpoint/2012/main">
        <p15:guide id="12" orient="horz" pos="420" userDrawn="1">
          <p15:clr>
            <a:srgbClr val="FBAE40"/>
          </p15:clr>
        </p15:guide>
        <p15:guide id="14" orient="horz" pos="1140" userDrawn="1">
          <p15:clr>
            <a:srgbClr val="FBAE40"/>
          </p15:clr>
        </p15:guide>
        <p15:guide id="16" orient="horz" pos="2500" userDrawn="1">
          <p15:clr>
            <a:srgbClr val="FBAE40"/>
          </p15:clr>
        </p15:guide>
        <p15:guide id="17" orient="horz" pos="3220" userDrawn="1">
          <p15:clr>
            <a:srgbClr val="FBAE40"/>
          </p15:clr>
        </p15:guide>
        <p15:guide id="19" orient="horz" pos="1800"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3312677" y="2236763"/>
            <a:ext cx="2468879" cy="278416"/>
          </a:xfrm>
          <a:prstGeom prst="rect">
            <a:avLst/>
          </a:prstGeom>
        </p:spPr>
        <p:txBody>
          <a:bodyPr/>
          <a:lstStyle>
            <a:lvl1pPr marL="0" indent="0">
              <a:buNone/>
              <a:defRPr sz="1563"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3313012" y="2560346"/>
            <a:ext cx="2468879" cy="376739"/>
          </a:xfrm>
          <a:prstGeom prst="rect">
            <a:avLst/>
          </a:prstGeom>
        </p:spPr>
        <p:txBody>
          <a:bodyPr/>
          <a:lstStyle>
            <a:lvl1pPr marL="0" indent="0">
              <a:buNone/>
              <a:defRPr sz="1563"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8483984" y="6343906"/>
            <a:ext cx="347329" cy="133094"/>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552242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38041" y="333737"/>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3127376" y="2236763"/>
            <a:ext cx="199354" cy="278416"/>
          </a:xfrm>
          <a:prstGeom prst="rect">
            <a:avLst/>
          </a:prstGeom>
        </p:spPr>
        <p:txBody>
          <a:bodyPr/>
          <a:lstStyle>
            <a:lvl1pPr marL="0" indent="0">
              <a:buNone/>
              <a:defRPr sz="1563"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6217802" y="2236763"/>
            <a:ext cx="2468879" cy="278416"/>
          </a:xfrm>
          <a:prstGeom prst="rect">
            <a:avLst/>
          </a:prstGeom>
        </p:spPr>
        <p:txBody>
          <a:bodyPr/>
          <a:lstStyle>
            <a:lvl1pPr marL="0" indent="0">
              <a:buNone/>
              <a:defRPr sz="1563"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6218137" y="2560346"/>
            <a:ext cx="2468879" cy="376739"/>
          </a:xfrm>
          <a:prstGeom prst="rect">
            <a:avLst/>
          </a:prstGeom>
        </p:spPr>
        <p:txBody>
          <a:bodyPr/>
          <a:lstStyle>
            <a:lvl1pPr marL="0" indent="0">
              <a:buNone/>
              <a:defRPr sz="1563"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6032501" y="2236763"/>
            <a:ext cx="199354" cy="278416"/>
          </a:xfrm>
          <a:prstGeom prst="rect">
            <a:avLst/>
          </a:prstGeom>
        </p:spPr>
        <p:txBody>
          <a:bodyPr/>
          <a:lstStyle>
            <a:lvl1pPr marL="0" indent="0">
              <a:buNone/>
              <a:defRPr sz="1563"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3312677" y="3760763"/>
            <a:ext cx="2468879" cy="278416"/>
          </a:xfrm>
          <a:prstGeom prst="rect">
            <a:avLst/>
          </a:prstGeom>
        </p:spPr>
        <p:txBody>
          <a:bodyPr/>
          <a:lstStyle>
            <a:lvl1pPr marL="0" indent="0">
              <a:buNone/>
              <a:defRPr sz="1563"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3313012" y="4084346"/>
            <a:ext cx="2468879" cy="376739"/>
          </a:xfrm>
          <a:prstGeom prst="rect">
            <a:avLst/>
          </a:prstGeom>
        </p:spPr>
        <p:txBody>
          <a:bodyPr/>
          <a:lstStyle>
            <a:lvl1pPr marL="0" indent="0">
              <a:buNone/>
              <a:defRPr sz="1563"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3127376" y="3760763"/>
            <a:ext cx="199354" cy="278416"/>
          </a:xfrm>
          <a:prstGeom prst="rect">
            <a:avLst/>
          </a:prstGeom>
        </p:spPr>
        <p:txBody>
          <a:bodyPr/>
          <a:lstStyle>
            <a:lvl1pPr marL="0" indent="0">
              <a:buNone/>
              <a:defRPr sz="1563"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6241224" y="3760763"/>
            <a:ext cx="2468879" cy="278416"/>
          </a:xfrm>
          <a:prstGeom prst="rect">
            <a:avLst/>
          </a:prstGeom>
        </p:spPr>
        <p:txBody>
          <a:bodyPr/>
          <a:lstStyle>
            <a:lvl1pPr marL="0" indent="0">
              <a:buNone/>
              <a:defRPr sz="1563"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6241559" y="4084346"/>
            <a:ext cx="2468879" cy="376739"/>
          </a:xfrm>
          <a:prstGeom prst="rect">
            <a:avLst/>
          </a:prstGeom>
        </p:spPr>
        <p:txBody>
          <a:bodyPr/>
          <a:lstStyle>
            <a:lvl1pPr marL="0" indent="0">
              <a:buNone/>
              <a:defRPr sz="1563"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6032501" y="3760763"/>
            <a:ext cx="199354" cy="278416"/>
          </a:xfrm>
          <a:prstGeom prst="rect">
            <a:avLst/>
          </a:prstGeom>
        </p:spPr>
        <p:txBody>
          <a:bodyPr/>
          <a:lstStyle>
            <a:lvl1pPr marL="0" indent="0">
              <a:buNone/>
              <a:defRPr sz="1563"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3312677" y="5284763"/>
            <a:ext cx="2468879" cy="278416"/>
          </a:xfrm>
          <a:prstGeom prst="rect">
            <a:avLst/>
          </a:prstGeom>
        </p:spPr>
        <p:txBody>
          <a:bodyPr/>
          <a:lstStyle>
            <a:lvl1pPr marL="0" indent="0">
              <a:buNone/>
              <a:defRPr sz="1563"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3313012" y="5608346"/>
            <a:ext cx="2468879" cy="376739"/>
          </a:xfrm>
          <a:prstGeom prst="rect">
            <a:avLst/>
          </a:prstGeom>
        </p:spPr>
        <p:txBody>
          <a:bodyPr/>
          <a:lstStyle>
            <a:lvl1pPr marL="0" indent="0">
              <a:buNone/>
              <a:defRPr sz="1563"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3127376" y="5284763"/>
            <a:ext cx="199354" cy="278416"/>
          </a:xfrm>
          <a:prstGeom prst="rect">
            <a:avLst/>
          </a:prstGeom>
        </p:spPr>
        <p:txBody>
          <a:bodyPr/>
          <a:lstStyle>
            <a:lvl1pPr marL="0" indent="0">
              <a:buNone/>
              <a:defRPr sz="1563"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6217802" y="5284763"/>
            <a:ext cx="2468879" cy="278416"/>
          </a:xfrm>
          <a:prstGeom prst="rect">
            <a:avLst/>
          </a:prstGeom>
        </p:spPr>
        <p:txBody>
          <a:bodyPr/>
          <a:lstStyle>
            <a:lvl1pPr marL="0" indent="0">
              <a:buNone/>
              <a:defRPr sz="1563"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6218137" y="5608346"/>
            <a:ext cx="2468879" cy="376739"/>
          </a:xfrm>
          <a:prstGeom prst="rect">
            <a:avLst/>
          </a:prstGeom>
        </p:spPr>
        <p:txBody>
          <a:bodyPr/>
          <a:lstStyle>
            <a:lvl1pPr marL="0" indent="0">
              <a:buNone/>
              <a:defRPr sz="1563"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6032501" y="5284763"/>
            <a:ext cx="199354" cy="278416"/>
          </a:xfrm>
          <a:prstGeom prst="rect">
            <a:avLst/>
          </a:prstGeom>
        </p:spPr>
        <p:txBody>
          <a:bodyPr/>
          <a:lstStyle>
            <a:lvl1pPr marL="0" indent="0">
              <a:buNone/>
              <a:defRPr sz="1563"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6</a:t>
            </a:r>
          </a:p>
        </p:txBody>
      </p:sp>
    </p:spTree>
    <p:extLst>
      <p:ext uri="{BB962C8B-B14F-4D97-AF65-F5344CB8AC3E}">
        <p14:creationId xmlns:p14="http://schemas.microsoft.com/office/powerpoint/2010/main" val="853319872"/>
      </p:ext>
    </p:extLst>
  </p:cSld>
  <p:clrMapOvr>
    <a:masterClrMapping/>
  </p:clrMapOvr>
  <p:extLst>
    <p:ext uri="{DCECCB84-F9BA-43D5-87BE-67443E8EF086}">
      <p15:sldGuideLst xmlns:p15="http://schemas.microsoft.com/office/powerpoint/2012/main">
        <p15:guide id="1" orient="horz" pos="1340" userDrawn="1">
          <p15:clr>
            <a:srgbClr val="FBAE40"/>
          </p15:clr>
        </p15:guide>
        <p15:guide id="2" orient="horz" pos="2300" userDrawn="1">
          <p15:clr>
            <a:srgbClr val="FBAE40"/>
          </p15:clr>
        </p15:guide>
        <p15:guide id="3" orient="horz" pos="32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3856120"/>
            <a:ext cx="9144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27013" y="3058636"/>
            <a:ext cx="194188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3713663" y="1684420"/>
            <a:ext cx="0" cy="43434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6692429" y="1684420"/>
            <a:ext cx="0" cy="43434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228041" y="333737"/>
            <a:ext cx="3629586"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8507224" y="6359484"/>
            <a:ext cx="297136"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5436841" y="636316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09841" y="2059218"/>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2582873" y="3048053"/>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4868873" y="3048053"/>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7154873" y="3048053"/>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2550961" y="2059218"/>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4836961" y="2059218"/>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7122961" y="2059218"/>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27013" y="5132969"/>
            <a:ext cx="194188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09841" y="4133551"/>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2582873" y="5122386"/>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4863263" y="5122386"/>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7154873" y="5122386"/>
            <a:ext cx="1847926" cy="727080"/>
          </a:xfrm>
          <a:prstGeom prst="rect">
            <a:avLst/>
          </a:prstGeom>
        </p:spPr>
        <p:txBody>
          <a:bodyPr/>
          <a:lstStyle>
            <a:lvl1pPr marL="0" indent="0">
              <a:lnSpc>
                <a:spcPts val="750"/>
              </a:lnSpc>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2550961" y="4133551"/>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4831351" y="4133551"/>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7122961" y="4133551"/>
            <a:ext cx="825624" cy="825498"/>
          </a:xfrm>
          <a:prstGeom prst="rect">
            <a:avLst/>
          </a:prstGeom>
        </p:spPr>
        <p:txBody>
          <a:bodyPr/>
          <a:lstStyle>
            <a:lvl1pPr marL="0" indent="0" algn="l">
              <a:buNone/>
              <a:defRPr sz="4688"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604860886"/>
      </p:ext>
    </p:extLst>
  </p:cSld>
  <p:clrMapOvr>
    <a:masterClrMapping/>
  </p:clrMapOvr>
  <p:extLst>
    <p:ext uri="{DCECCB84-F9BA-43D5-87BE-67443E8EF086}">
      <p15:sldGuideLst xmlns:p15="http://schemas.microsoft.com/office/powerpoint/2012/main">
        <p15:guide id="1" pos="1635" userDrawn="1">
          <p15:clr>
            <a:srgbClr val="FBAE40"/>
          </p15:clr>
        </p15:guide>
        <p15:guide id="2" pos="3075" userDrawn="1">
          <p15:clr>
            <a:srgbClr val="FBAE40"/>
          </p15:clr>
        </p15:guide>
        <p15:guide id="3" pos="4515" userDrawn="1">
          <p15:clr>
            <a:srgbClr val="FBAE40"/>
          </p15:clr>
        </p15:guide>
        <p15:guide id="4" orient="horz" pos="260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314564" y="2996234"/>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27156" y="3000203"/>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27491" y="3238602"/>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409953" y="2394429"/>
            <a:ext cx="812257" cy="263058"/>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8490859" y="6343906"/>
            <a:ext cx="347329" cy="133094"/>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554992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31166" y="333737"/>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314564" y="3643525"/>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27156" y="3647494"/>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27491" y="3885893"/>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314564" y="4274427"/>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27156" y="4278396"/>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27491" y="4516795"/>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3204927" y="2996234"/>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3409236" y="3000203"/>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3409571" y="3238602"/>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3292033" y="2394429"/>
            <a:ext cx="812257" cy="263058"/>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3204927" y="3643525"/>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3409236" y="3647494"/>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3409571" y="3885893"/>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3204927" y="4274427"/>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3409236" y="4278396"/>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3409571" y="4516795"/>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6109450" y="2996234"/>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6150167" y="3000203"/>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6150503" y="3238602"/>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6204840" y="2394429"/>
            <a:ext cx="812257" cy="263058"/>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6109450" y="3643525"/>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6150167" y="3647494"/>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6150503" y="3885893"/>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6109450" y="4274427"/>
            <a:ext cx="276363" cy="327026"/>
          </a:xfrm>
          <a:prstGeom prst="rect">
            <a:avLst/>
          </a:prstGeom>
        </p:spPr>
        <p:txBody>
          <a:bodyPr/>
          <a:lstStyle>
            <a:lvl1pPr marL="0" indent="0" algn="r">
              <a:buNone/>
              <a:defRPr sz="1125" b="1" i="0">
                <a:solidFill>
                  <a:srgbClr val="3369FF"/>
                </a:solidFill>
                <a:latin typeface="IBM Eliot Sans" panose="020B05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6150167" y="4278396"/>
            <a:ext cx="2262931" cy="211986"/>
          </a:xfrm>
          <a:prstGeom prst="rect">
            <a:avLst/>
          </a:prstGeom>
        </p:spPr>
        <p:txBody>
          <a:bodyPr/>
          <a:lstStyle>
            <a:lvl1pPr marL="0" indent="0">
              <a:buNone/>
              <a:defRPr sz="1125" b="1"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6150503" y="4516795"/>
            <a:ext cx="2262931" cy="327025"/>
          </a:xfrm>
          <a:prstGeom prst="rect">
            <a:avLst/>
          </a:prstGeom>
        </p:spPr>
        <p:txBody>
          <a:bodyPr/>
          <a:lstStyle>
            <a:lvl1pPr marL="0" indent="0">
              <a:buNone/>
              <a:defRPr sz="1125" b="0" i="0">
                <a:solidFill>
                  <a:srgbClr val="002677"/>
                </a:solidFill>
                <a:latin typeface="IBM Eliot Sans Medium" panose="020B0703050000000000"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Tree>
    <p:extLst>
      <p:ext uri="{BB962C8B-B14F-4D97-AF65-F5344CB8AC3E}">
        <p14:creationId xmlns:p14="http://schemas.microsoft.com/office/powerpoint/2010/main" val="1408452843"/>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1600" userDrawn="1">
          <p15:clr>
            <a:srgbClr val="FBAE40"/>
          </p15:clr>
        </p15:guide>
        <p15:guide id="3" orient="horz" pos="1920" userDrawn="1">
          <p15:clr>
            <a:srgbClr val="FBAE40"/>
          </p15:clr>
        </p15:guide>
        <p15:guide id="4" orient="horz" pos="2320" userDrawn="1">
          <p15:clr>
            <a:srgbClr val="FBAE40"/>
          </p15:clr>
        </p15:guide>
        <p15:guide id="5" orient="horz" pos="2720"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4076144" y="2571752"/>
            <a:ext cx="0" cy="677088"/>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6303369" y="2571752"/>
            <a:ext cx="0" cy="677088"/>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551865"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1086" y="4106190"/>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02626" y="3142309"/>
            <a:ext cx="8585048" cy="226613"/>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434065"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1719261" y="2571752"/>
            <a:ext cx="0" cy="677088"/>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524025" y="3377313"/>
            <a:ext cx="2629" cy="559687"/>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2874658" y="3377313"/>
            <a:ext cx="2342" cy="559687"/>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5263446" y="3248839"/>
            <a:ext cx="0" cy="688163"/>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7391271" y="3248839"/>
            <a:ext cx="0" cy="688163"/>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8552736" y="6343905"/>
            <a:ext cx="292327" cy="201273"/>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554992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228041" y="333737"/>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2914980"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2684201" y="4106190"/>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1753826" y="2236275"/>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1523048" y="2236275"/>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4103338" y="2236275"/>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3872560" y="2236275"/>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6320671" y="2236275"/>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6089893" y="2236275"/>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5303418"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5072641" y="4106190"/>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7430365"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7199587" y="4106190"/>
            <a:ext cx="292932" cy="277911"/>
          </a:xfrm>
          <a:prstGeom prst="rect">
            <a:avLst/>
          </a:prstGeom>
        </p:spPr>
        <p:txBody>
          <a:bodyPr/>
          <a:lstStyle>
            <a:lvl1pPr marL="0" indent="0" algn="r">
              <a:buNone/>
              <a:defRPr sz="1125"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1627987"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2784555"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3984870"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5172173"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6212095"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7299997" y="3133918"/>
            <a:ext cx="182548" cy="243398"/>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Tree>
    <p:extLst>
      <p:ext uri="{BB962C8B-B14F-4D97-AF65-F5344CB8AC3E}">
        <p14:creationId xmlns:p14="http://schemas.microsoft.com/office/powerpoint/2010/main" val="1744820204"/>
      </p:ext>
    </p:extLst>
  </p:cSld>
  <p:clrMapOvr>
    <a:masterClrMapping/>
  </p:clrMapOvr>
  <p:extLst>
    <p:ext uri="{DCECCB84-F9BA-43D5-87BE-67443E8EF086}">
      <p15:sldGuideLst xmlns:p15="http://schemas.microsoft.com/office/powerpoint/2012/main">
        <p15:guide id="4" orient="horz" pos="1440" userDrawn="1">
          <p15:clr>
            <a:srgbClr val="FBAE40"/>
          </p15:clr>
        </p15:guide>
        <p15:guide id="5" orient="horz" pos="2800" userDrawn="1">
          <p15:clr>
            <a:srgbClr val="FBAE40"/>
          </p15:clr>
        </p15:guide>
        <p15:guide id="6" orient="horz" pos="2580" userDrawn="1">
          <p15:clr>
            <a:srgbClr val="FBAE40"/>
          </p15:clr>
        </p15:guide>
        <p15:guide id="7" pos="1005" userDrawn="1">
          <p15:clr>
            <a:srgbClr val="FBAE40"/>
          </p15:clr>
        </p15:guide>
        <p15:guide id="8" pos="1740" userDrawn="1">
          <p15:clr>
            <a:srgbClr val="FBAE40"/>
          </p15:clr>
        </p15:guide>
        <p15:guide id="9" pos="2490" userDrawn="1">
          <p15:clr>
            <a:srgbClr val="FBAE40"/>
          </p15:clr>
        </p15:guide>
        <p15:guide id="10" pos="255" userDrawn="1">
          <p15:clr>
            <a:srgbClr val="FBAE40"/>
          </p15:clr>
        </p15:guide>
        <p15:guide id="11" pos="3240" userDrawn="1">
          <p15:clr>
            <a:srgbClr val="FBAE40"/>
          </p15:clr>
        </p15:guide>
        <p15:guide id="12" pos="3975" userDrawn="1">
          <p15:clr>
            <a:srgbClr val="FBAE40"/>
          </p15:clr>
        </p15:guide>
        <p15:guide id="13" orient="horz" pos="1980" userDrawn="1">
          <p15:clr>
            <a:srgbClr val="FBAE40"/>
          </p15:clr>
        </p15:guide>
        <p15:guide id="14" orient="horz" pos="1600" userDrawn="1">
          <p15:clr>
            <a:srgbClr val="FBAE40"/>
          </p15:clr>
        </p15:guide>
        <p15:guide id="15" orient="horz" pos="2500" userDrawn="1">
          <p15:clr>
            <a:srgbClr val="FBAE40"/>
          </p15:clr>
        </p15:guide>
        <p15:guide id="17" pos="4725"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285751" y="3143798"/>
            <a:ext cx="8585048" cy="226613"/>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36081"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IBM Eliot Sans" panose="020B05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36081" y="3674699"/>
            <a:ext cx="1494252" cy="204254"/>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36087"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2451408" y="3118638"/>
            <a:ext cx="107577" cy="276933"/>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8483985" y="6343906"/>
            <a:ext cx="354204" cy="194398"/>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5529299"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228041" y="333737"/>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2495081"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IBM Eliot Sans" panose="020B05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2495081" y="3674699"/>
            <a:ext cx="1494252" cy="204254"/>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2495087"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4669956"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IBM Eliot Sans" panose="020B05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4669956" y="3674699"/>
            <a:ext cx="1494252" cy="204254"/>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4669962"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6789268"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IBM Eliot Sans" panose="020B05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6789268" y="3674699"/>
            <a:ext cx="1494252" cy="204254"/>
          </a:xfrm>
          <a:prstGeom prst="rect">
            <a:avLst/>
          </a:prstGeom>
        </p:spPr>
        <p:txBody>
          <a:bodyPr/>
          <a:lstStyle>
            <a:lvl1pPr marL="0" indent="0">
              <a:buNone/>
              <a:defRPr sz="75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6789275"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IBM Eliot Sans Medium" panose="020B0703050000000000"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4621830" y="3118638"/>
            <a:ext cx="107577" cy="276933"/>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6728753" y="3118638"/>
            <a:ext cx="107577" cy="276933"/>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02606221"/>
      </p:ext>
    </p:extLst>
  </p:cSld>
  <p:clrMapOvr>
    <a:masterClrMapping/>
  </p:clrMapOvr>
  <p:extLst>
    <p:ext uri="{DCECCB84-F9BA-43D5-87BE-67443E8EF086}">
      <p15:sldGuideLst xmlns:p15="http://schemas.microsoft.com/office/powerpoint/2012/main">
        <p15:guide id="1" orient="horz" pos="2400" userDrawn="1">
          <p15:clr>
            <a:srgbClr val="FBAE40"/>
          </p15:clr>
        </p15:guide>
        <p15:guide id="2" orient="horz" pos="2500" userDrawn="1">
          <p15:clr>
            <a:srgbClr val="FBAE40"/>
          </p15:clr>
        </p15:guide>
        <p15:guide id="3" pos="1545" userDrawn="1">
          <p15:clr>
            <a:srgbClr val="FBAE40"/>
          </p15:clr>
        </p15:guide>
        <p15:guide id="4" pos="2910" userDrawn="1">
          <p15:clr>
            <a:srgbClr val="FBAE40"/>
          </p15:clr>
        </p15:guide>
        <p15:guide id="5" pos="4245" userDrawn="1">
          <p15:clr>
            <a:srgbClr val="FBAE40"/>
          </p15:clr>
        </p15:guide>
        <p15:guide id="6" orient="horz" pos="2160" userDrawn="1">
          <p15:clr>
            <a:srgbClr val="FBAE40"/>
          </p15:clr>
        </p15:guide>
        <p15:guide id="7" orient="horz" pos="2740" userDrawn="1">
          <p15:clr>
            <a:srgbClr val="FBAE40"/>
          </p15:clr>
        </p15:guide>
        <p15:guide id="8" orient="horz" pos="2880" userDrawn="1">
          <p15:clr>
            <a:srgbClr val="FBAE40"/>
          </p15:clr>
        </p15:guide>
        <p15:guide id="9" orient="horz" pos="2040" userDrawn="1">
          <p15:clr>
            <a:srgbClr val="FBAE40"/>
          </p15:clr>
        </p15:guide>
        <p15:guide id="10" orient="horz" pos="2060"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2453426" y="1849182"/>
            <a:ext cx="3204082" cy="275242"/>
          </a:xfrm>
          <a:prstGeom prst="rect">
            <a:avLst/>
          </a:prstGeom>
        </p:spPr>
        <p:txBody>
          <a:bodyPr/>
          <a:lstStyle>
            <a:lvl1pPr marL="0" indent="0">
              <a:buNone/>
              <a:defRPr sz="1563"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2453426" y="2166758"/>
            <a:ext cx="3204082" cy="278069"/>
          </a:xfrm>
          <a:prstGeom prst="rect">
            <a:avLst/>
          </a:prstGeom>
        </p:spPr>
        <p:txBody>
          <a:bodyPr/>
          <a:lstStyle>
            <a:lvl1pPr marL="0" indent="0">
              <a:buNone/>
              <a:defRPr sz="1563"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346333" y="1817430"/>
            <a:ext cx="1708740" cy="1743333"/>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8463359" y="6343906"/>
            <a:ext cx="361079" cy="133094"/>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5556799"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228041" y="333737"/>
            <a:ext cx="3486711" cy="479861"/>
          </a:xfrm>
          <a:prstGeom prst="rect">
            <a:avLst/>
          </a:prstGeom>
        </p:spPr>
        <p:txBody>
          <a:bodyPr anchor="t">
            <a:noAutofit/>
          </a:bodyPr>
          <a:lstStyle>
            <a:lvl1pPr algn="l">
              <a:defRPr sz="2188"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2453047" y="2825750"/>
            <a:ext cx="4347766" cy="3270250"/>
          </a:xfrm>
          <a:prstGeom prst="rect">
            <a:avLst/>
          </a:prstGeom>
        </p:spPr>
        <p:txBody>
          <a:bodyPr/>
          <a:lstStyle>
            <a:lvl1pPr marL="0" indent="0">
              <a:lnSpc>
                <a:spcPts val="1250"/>
              </a:lnSpc>
              <a:spcBef>
                <a:spcPts val="0"/>
              </a:spcBef>
              <a:buNone/>
              <a:defRPr lang="en-US" sz="10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342409966"/>
      </p:ext>
    </p:extLst>
  </p:cSld>
  <p:clrMapOvr>
    <a:masterClrMapping/>
  </p:clrMapOvr>
  <p:extLst>
    <p:ext uri="{DCECCB84-F9BA-43D5-87BE-67443E8EF086}">
      <p15:sldGuideLst xmlns:p15="http://schemas.microsoft.com/office/powerpoint/2012/main">
        <p15:guide id="1" orient="horz" pos="1200" userDrawn="1">
          <p15:clr>
            <a:srgbClr val="FBAE40"/>
          </p15:clr>
        </p15:guide>
        <p15:guide id="2" orient="horz" pos="1520" userDrawn="1">
          <p15:clr>
            <a:srgbClr val="FBAE40"/>
          </p15:clr>
        </p15:guide>
        <p15:guide id="3" orient="horz" pos="1780" userDrawn="1">
          <p15:clr>
            <a:srgbClr val="FBAE40"/>
          </p15:clr>
        </p15:guide>
        <p15:guide id="6" pos="1260" userDrawn="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132746" y="2053001"/>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132746" y="2268544"/>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299563" y="1987791"/>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228041" y="333737"/>
            <a:ext cx="3486711" cy="479861"/>
          </a:xfrm>
          <a:prstGeom prst="rect">
            <a:avLst/>
          </a:prstGeom>
        </p:spPr>
        <p:txBody>
          <a:bodyPr anchor="b">
            <a:noAutofit/>
          </a:bodyPr>
          <a:lstStyle>
            <a:lvl1pPr algn="l">
              <a:defRPr sz="2188"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137176" y="2538948"/>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4012397" y="2053001"/>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4012397" y="2268544"/>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3179214" y="1987791"/>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4016827" y="2538823"/>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6896355" y="2053001"/>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6896355" y="2271273"/>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6063173" y="1987791"/>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6900785" y="2532840"/>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6900785" y="5533584"/>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132746" y="3565541"/>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132746" y="3781085"/>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299563" y="3500332"/>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137176" y="4051489"/>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4012397" y="3565541"/>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4012397" y="3781085"/>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3179214" y="3500332"/>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4016827" y="4051364"/>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6896355" y="3565541"/>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6896355" y="3783814"/>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6063173" y="3500332"/>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6900785" y="4045381"/>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132746" y="5055166"/>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132746" y="5270709"/>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299563" y="4989956"/>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137176" y="5541113"/>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4012397" y="5055166"/>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4012397" y="5270709"/>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3179214" y="4989956"/>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4016827" y="5540988"/>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6896355" y="5055166"/>
            <a:ext cx="1851775" cy="216254"/>
          </a:xfrm>
          <a:prstGeom prst="rect">
            <a:avLst/>
          </a:prstGeom>
        </p:spPr>
        <p:txBody>
          <a:bodyPr/>
          <a:lstStyle>
            <a:lvl1pPr marL="0" indent="0">
              <a:buNone/>
              <a:defRPr sz="10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6896355" y="5273438"/>
            <a:ext cx="1851775" cy="216254"/>
          </a:xfrm>
          <a:prstGeom prst="rect">
            <a:avLst/>
          </a:prstGeom>
        </p:spPr>
        <p:txBody>
          <a:bodyPr/>
          <a:lstStyle>
            <a:lvl1pPr marL="0" indent="0">
              <a:buNone/>
              <a:defRPr sz="10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6063173" y="4989956"/>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6900785" y="5535005"/>
            <a:ext cx="1851775" cy="491784"/>
          </a:xfrm>
          <a:prstGeom prst="rect">
            <a:avLst/>
          </a:prstGeom>
        </p:spPr>
        <p:txBody>
          <a:bodyPr anchor="t"/>
          <a:lstStyle>
            <a:lvl1pPr marL="0" indent="0">
              <a:lnSpc>
                <a:spcPts val="900"/>
              </a:lnSpc>
              <a:spcBef>
                <a:spcPts val="0"/>
              </a:spcBef>
              <a:buNone/>
              <a:defRPr sz="75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4194999267"/>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8483983" y="6343905"/>
            <a:ext cx="333578" cy="187523"/>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5556799"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419099" y="1785933"/>
            <a:ext cx="6063853" cy="4310067"/>
          </a:xfrm>
          <a:prstGeom prst="rect">
            <a:avLst/>
          </a:prstGeom>
        </p:spPr>
        <p:txBody>
          <a:bodyPr/>
          <a:lstStyle>
            <a:lvl1pPr marL="0" indent="7938">
              <a:lnSpc>
                <a:spcPts val="3438"/>
              </a:lnSpc>
              <a:buNone/>
              <a:tabLst/>
              <a:defRPr sz="2813"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422368566"/>
      </p:ext>
    </p:extLst>
  </p:cSld>
  <p:clrMapOvr>
    <a:masterClrMapping/>
  </p:clrMapOvr>
  <p:extLst>
    <p:ext uri="{DCECCB84-F9BA-43D5-87BE-67443E8EF086}">
      <p15:sldGuideLst xmlns:p15="http://schemas.microsoft.com/office/powerpoint/2012/main">
        <p15:guide id="1" orient="horz" pos="1200" userDrawn="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8538988" y="6359175"/>
            <a:ext cx="299202" cy="23564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5460549" y="636008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78601" y="1785933"/>
            <a:ext cx="6241852" cy="4310067"/>
          </a:xfrm>
          <a:prstGeom prst="rect">
            <a:avLst/>
          </a:prstGeom>
        </p:spPr>
        <p:txBody>
          <a:bodyPr/>
          <a:lstStyle>
            <a:lvl1pPr marL="0" indent="0">
              <a:lnSpc>
                <a:spcPts val="3438"/>
              </a:lnSpc>
              <a:buNone/>
              <a:defRPr sz="2813"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236892" y="-115958"/>
            <a:ext cx="1143000" cy="1524000"/>
          </a:xfrm>
          <a:prstGeom prst="rect">
            <a:avLst/>
          </a:prstGeom>
        </p:spPr>
      </p:pic>
    </p:spTree>
    <p:extLst>
      <p:ext uri="{BB962C8B-B14F-4D97-AF65-F5344CB8AC3E}">
        <p14:creationId xmlns:p14="http://schemas.microsoft.com/office/powerpoint/2010/main" val="255140473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8470234" y="6343905"/>
            <a:ext cx="361079" cy="187523"/>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5529299"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36237" y="382885"/>
            <a:ext cx="4090026" cy="1166343"/>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418852" y="3770901"/>
            <a:ext cx="2140148"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3299918" y="3770901"/>
            <a:ext cx="2140148"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6228120" y="3770901"/>
            <a:ext cx="2140148"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424289"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3297664" y="2560320"/>
            <a:ext cx="857250" cy="1143000"/>
          </a:xfrm>
          <a:prstGeom prst="rect">
            <a:avLst/>
          </a:prstGeom>
        </p:spPr>
        <p:txBody>
          <a:bodyPr/>
          <a:lstStyle>
            <a:lvl2pPr>
              <a:defRPr sz="5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6225679" y="2560320"/>
            <a:ext cx="857250" cy="1143000"/>
          </a:xfrm>
          <a:prstGeom prst="rect">
            <a:avLst/>
          </a:prstGeom>
        </p:spPr>
        <p:txBody>
          <a:bodyPr/>
          <a:lstStyle>
            <a:lvl2pPr>
              <a:defRPr sz="5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415578"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3290754"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6224847"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62423856"/>
      </p:ext>
    </p:extLst>
  </p:cSld>
  <p:clrMapOvr>
    <a:masterClrMapping/>
  </p:clrMapOvr>
  <p:extLst>
    <p:ext uri="{DCECCB84-F9BA-43D5-87BE-67443E8EF086}">
      <p15:sldGuideLst xmlns:p15="http://schemas.microsoft.com/office/powerpoint/2012/main">
        <p15:guide id="5" orient="horz" pos="1720" userDrawn="1">
          <p15:clr>
            <a:srgbClr val="FBAE40"/>
          </p15:clr>
        </p15:guide>
        <p15:guide id="6" orient="horz" pos="2220" userDrawn="1">
          <p15:clr>
            <a:srgbClr val="FBAE40"/>
          </p15:clr>
        </p15:guide>
        <p15:guide id="9" orient="horz" pos="2400" userDrawn="1">
          <p15:clr>
            <a:srgbClr val="FBAE40"/>
          </p15:clr>
        </p15:guide>
        <p15:guide id="10" orient="horz" pos="2520" userDrawn="1">
          <p15:clr>
            <a:srgbClr val="FBAE40"/>
          </p15:clr>
        </p15:guide>
        <p15:guide id="11" orient="horz" pos="1580" userDrawn="1">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213842" y="382885"/>
            <a:ext cx="3500909" cy="1166343"/>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233227" y="3770901"/>
            <a:ext cx="1892754"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2389609" y="3770901"/>
            <a:ext cx="1892754"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4563665" y="3770901"/>
            <a:ext cx="1892754"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6731830" y="3770901"/>
            <a:ext cx="1892754" cy="227542"/>
          </a:xfrm>
          <a:prstGeom prst="rect">
            <a:avLst/>
          </a:prstGeom>
        </p:spPr>
        <p:txBody>
          <a:bodyPr/>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23866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239766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4564602"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6731539"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2398118" y="4016865"/>
            <a:ext cx="1720218" cy="2079136"/>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229954" y="4016866"/>
            <a:ext cx="1720218" cy="2079136"/>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4566284" y="4016863"/>
            <a:ext cx="1720218" cy="2079137"/>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6734449" y="4016863"/>
            <a:ext cx="1720218" cy="2079137"/>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79138858"/>
      </p:ext>
    </p:extLst>
  </p:cSld>
  <p:clrMapOvr>
    <a:masterClrMapping/>
  </p:clrMapOvr>
  <p:extLst>
    <p:ext uri="{DCECCB84-F9BA-43D5-87BE-67443E8EF086}">
      <p15:sldGuideLst xmlns:p15="http://schemas.microsoft.com/office/powerpoint/2012/main">
        <p15:guide id="7" orient="horz" pos="1740" userDrawn="1">
          <p15:clr>
            <a:srgbClr val="FBAE40"/>
          </p15:clr>
        </p15:guide>
        <p15:guide id="8" orient="horz" pos="2220" userDrawn="1">
          <p15:clr>
            <a:srgbClr val="FBAE40"/>
          </p15:clr>
        </p15:guide>
        <p15:guide id="9" orient="horz" pos="2400" userDrawn="1">
          <p15:clr>
            <a:srgbClr val="FBAE40"/>
          </p15:clr>
        </p15:guide>
        <p15:guide id="10" orient="horz" pos="2520" userDrawn="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285749" y="2508250"/>
            <a:ext cx="2851785" cy="358775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6004081" y="2508251"/>
            <a:ext cx="2851785" cy="358774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3151407" y="2508250"/>
            <a:ext cx="2851785" cy="358775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8497735" y="6350780"/>
            <a:ext cx="326703" cy="187523"/>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5536174"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419100" y="382885"/>
            <a:ext cx="3500909" cy="825652"/>
          </a:xfrm>
          <a:prstGeom prst="rect">
            <a:avLst/>
          </a:prstGeom>
        </p:spPr>
        <p:txBody>
          <a:bodyPr>
            <a:noAutofit/>
          </a:bodyPr>
          <a:lstStyle>
            <a:lvl1pPr marL="0" indent="0">
              <a:lnSpc>
                <a:spcPts val="1875"/>
              </a:lnSpc>
              <a:buNone/>
              <a:defRPr sz="2188"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419100" y="1209634"/>
            <a:ext cx="3500909" cy="397498"/>
          </a:xfrm>
          <a:prstGeom prst="rect">
            <a:avLst/>
          </a:prstGeom>
        </p:spPr>
        <p:txBody>
          <a:bodyPr>
            <a:noAutofit/>
          </a:bodyPr>
          <a:lstStyle>
            <a:lvl1pPr marL="0" indent="0">
              <a:lnSpc>
                <a:spcPts val="1875"/>
              </a:lnSpc>
              <a:buNone/>
              <a:defRPr sz="1125"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442679" y="4148417"/>
            <a:ext cx="2140148" cy="227542"/>
          </a:xfrm>
          <a:prstGeom prst="rect">
            <a:avLst/>
          </a:prstGeom>
        </p:spPr>
        <p:txBody>
          <a:bodyPr anchor="t"/>
          <a:lstStyle>
            <a:lvl1pPr marL="0" indent="0">
              <a:buNone/>
              <a:defRPr sz="75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3323745" y="4148417"/>
            <a:ext cx="2140148" cy="227542"/>
          </a:xfrm>
          <a:prstGeom prst="rect">
            <a:avLst/>
          </a:prstGeom>
        </p:spPr>
        <p:txBody>
          <a:bodyPr anchor="t"/>
          <a:lstStyle>
            <a:lvl1pPr marL="0" indent="0">
              <a:buNone/>
              <a:defRPr sz="75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6181245" y="4148417"/>
            <a:ext cx="2140148" cy="227542"/>
          </a:xfrm>
          <a:prstGeom prst="rect">
            <a:avLst/>
          </a:prstGeom>
        </p:spPr>
        <p:txBody>
          <a:bodyPr anchor="t"/>
          <a:lstStyle>
            <a:lvl1pPr marL="0" indent="0">
              <a:buNone/>
              <a:defRPr sz="75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460375" y="2785918"/>
            <a:ext cx="857250" cy="1143000"/>
          </a:xfrm>
          <a:prstGeom prst="rect">
            <a:avLst/>
          </a:prstGeom>
        </p:spPr>
        <p:txBody>
          <a:bodyPr/>
          <a:lstStyle>
            <a:lvl1pPr marL="0" indent="0" algn="ctr">
              <a:buNone/>
              <a:defRPr sz="5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3309938" y="2785918"/>
            <a:ext cx="857250" cy="1143000"/>
          </a:xfrm>
          <a:prstGeom prst="rect">
            <a:avLst/>
          </a:prstGeom>
        </p:spPr>
        <p:txBody>
          <a:bodyPr/>
          <a:lstStyle>
            <a:lvl1pPr marL="0" indent="0" algn="ctr">
              <a:buNone/>
              <a:defRPr sz="5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6167438" y="2785918"/>
            <a:ext cx="857250" cy="1143000"/>
          </a:xfrm>
          <a:prstGeom prst="rect">
            <a:avLst/>
          </a:prstGeom>
        </p:spPr>
        <p:txBody>
          <a:bodyPr/>
          <a:lstStyle>
            <a:lvl1pPr marL="0" indent="0" algn="ctr">
              <a:buNone/>
              <a:defRPr sz="5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460375" y="4396901"/>
            <a:ext cx="2231390" cy="1343501"/>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3317875" y="4396901"/>
            <a:ext cx="2231390" cy="1343501"/>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6169660" y="4396901"/>
            <a:ext cx="2231390" cy="1343501"/>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75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75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750" dirty="0">
                <a:effectLst/>
                <a:latin typeface="Segoe UI" panose="020B0502040204020203" pitchFamily="34" charset="0"/>
                <a:ea typeface="Calibri" panose="020F0502020204030204" pitchFamily="34" charset="0"/>
                <a:cs typeface="Times New Roman" panose="02020603050405020304" pitchFamily="18" charset="0"/>
              </a:rPr>
              <a:t> quo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750" dirty="0">
                <a:effectLst/>
                <a:latin typeface="Segoe UI" panose="020B0502040204020203" pitchFamily="34" charset="0"/>
                <a:ea typeface="Calibri" panose="020F0502020204030204" pitchFamily="34" charset="0"/>
                <a:cs typeface="Times New Roman" panose="02020603050405020304" pitchFamily="18" charset="0"/>
              </a:rPr>
              <a:t>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75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750" dirty="0">
                <a:effectLst/>
                <a:latin typeface="Segoe UI" panose="020B0502040204020203" pitchFamily="34" charset="0"/>
                <a:ea typeface="Calibri" panose="020F0502020204030204" pitchFamily="34" charset="0"/>
                <a:cs typeface="Times New Roman" panose="02020603050405020304" pitchFamily="18" charset="0"/>
              </a:rPr>
              <a:t> ex </a:t>
            </a:r>
            <a:r>
              <a:rPr lang="en-US" sz="75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750" dirty="0">
                <a:effectLst/>
                <a:latin typeface="Segoe UI" panose="020B0502040204020203" pitchFamily="34" charset="0"/>
                <a:ea typeface="Calibri" panose="020F0502020204030204" pitchFamily="34" charset="0"/>
                <a:cs typeface="Times New Roman" panose="02020603050405020304" pitchFamily="18" charset="0"/>
              </a:rPr>
              <a:t>.</a:t>
            </a:r>
            <a:endParaRPr lang="en-US" sz="75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83244354"/>
      </p:ext>
    </p:extLst>
  </p:cSld>
  <p:clrMapOvr>
    <a:masterClrMapping/>
  </p:clrMapOvr>
  <p:extLst>
    <p:ext uri="{DCECCB84-F9BA-43D5-87BE-67443E8EF086}">
      <p15:sldGuideLst xmlns:p15="http://schemas.microsoft.com/office/powerpoint/2012/main">
        <p15:guide id="1" orient="horz" pos="1740" userDrawn="1">
          <p15:clr>
            <a:srgbClr val="FBAE40"/>
          </p15:clr>
        </p15:guide>
        <p15:guide id="3" orient="horz" pos="2640" userDrawn="1">
          <p15:clr>
            <a:srgbClr val="FBAE40"/>
          </p15:clr>
        </p15:guide>
        <p15:guide id="9" pos="315" userDrawn="1">
          <p15:clr>
            <a:srgbClr val="FBAE40"/>
          </p15:clr>
        </p15:guide>
        <p15:guide id="11" orient="horz" pos="364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image" Target="../media/image1.emf"/><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oleObject" Target="../embeddings/oleObject6.bin"/><Relationship Id="rId2" Type="http://schemas.openxmlformats.org/officeDocument/2006/relationships/slideLayout" Target="../slideLayouts/slideLayout199.xml"/><Relationship Id="rId16" Type="http://schemas.openxmlformats.org/officeDocument/2006/relationships/tags" Target="../tags/tag11.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5" Type="http://schemas.openxmlformats.org/officeDocument/2006/relationships/vmlDrawing" Target="../drawings/vmlDrawing10.vml"/><Relationship Id="rId10" Type="http://schemas.openxmlformats.org/officeDocument/2006/relationships/slideLayout" Target="../slideLayouts/slideLayout207.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theme" Target="../theme/theme11.xml"/><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image" Target="../media/image1.emf"/><Relationship Id="rId2" Type="http://schemas.openxmlformats.org/officeDocument/2006/relationships/slideLayout" Target="../slideLayouts/slideLayout212.xml"/><Relationship Id="rId16" Type="http://schemas.openxmlformats.org/officeDocument/2006/relationships/oleObject" Target="../embeddings/oleObject1.bin"/><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tags" Target="../tags/tag12.xml"/><Relationship Id="rId10" Type="http://schemas.openxmlformats.org/officeDocument/2006/relationships/slideLayout" Target="../slideLayouts/slideLayout220.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vmlDrawing" Target="../drawings/vmlDrawing1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theme" Target="../theme/theme2.xml"/><Relationship Id="rId3" Type="http://schemas.openxmlformats.org/officeDocument/2006/relationships/slideLayout" Target="../slideLayouts/slideLayout51.xml"/><Relationship Id="rId21" Type="http://schemas.openxmlformats.org/officeDocument/2006/relationships/oleObject" Target="../embeddings/oleObject2.bin"/><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tags" Target="../tags/tag3.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vmlDrawing" Target="../drawings/vmlDrawing2.v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68.xml"/><Relationship Id="rId7" Type="http://schemas.openxmlformats.org/officeDocument/2006/relationships/vmlDrawing" Target="../drawings/vmlDrawing3.v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heme" Target="../theme/theme3.xml"/><Relationship Id="rId5" Type="http://schemas.openxmlformats.org/officeDocument/2006/relationships/slideLayout" Target="../slideLayouts/slideLayout70.xml"/><Relationship Id="rId10" Type="http://schemas.openxmlformats.org/officeDocument/2006/relationships/image" Target="../media/image1.emf"/><Relationship Id="rId4" Type="http://schemas.openxmlformats.org/officeDocument/2006/relationships/slideLayout" Target="../slideLayouts/slideLayout69.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slideLayout" Target="../slideLayouts/slideLayout111.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42" Type="http://schemas.openxmlformats.org/officeDocument/2006/relationships/slideLayout" Target="../slideLayouts/slideLayout114.xml"/><Relationship Id="rId47" Type="http://schemas.openxmlformats.org/officeDocument/2006/relationships/slideLayout" Target="../slideLayouts/slideLayout119.xml"/><Relationship Id="rId50" Type="http://schemas.openxmlformats.org/officeDocument/2006/relationships/slideLayout" Target="../slideLayouts/slideLayout122.xml"/><Relationship Id="rId55" Type="http://schemas.openxmlformats.org/officeDocument/2006/relationships/image" Target="../media/image1.emf"/><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slideLayout" Target="../slideLayouts/slideLayout110.xml"/><Relationship Id="rId46" Type="http://schemas.openxmlformats.org/officeDocument/2006/relationships/slideLayout" Target="../slideLayouts/slideLayout118.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41" Type="http://schemas.openxmlformats.org/officeDocument/2006/relationships/slideLayout" Target="../slideLayouts/slideLayout113.xml"/><Relationship Id="rId54" Type="http://schemas.openxmlformats.org/officeDocument/2006/relationships/oleObject" Target="../embeddings/oleObject5.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slideLayout" Target="../slideLayouts/slideLayout112.xml"/><Relationship Id="rId45" Type="http://schemas.openxmlformats.org/officeDocument/2006/relationships/slideLayout" Target="../slideLayouts/slideLayout117.xml"/><Relationship Id="rId53" Type="http://schemas.openxmlformats.org/officeDocument/2006/relationships/tags" Target="../tags/tag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49" Type="http://schemas.openxmlformats.org/officeDocument/2006/relationships/slideLayout" Target="../slideLayouts/slideLayout121.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4" Type="http://schemas.openxmlformats.org/officeDocument/2006/relationships/slideLayout" Target="../slideLayouts/slideLayout116.xml"/><Relationship Id="rId52" Type="http://schemas.openxmlformats.org/officeDocument/2006/relationships/vmlDrawing" Target="../drawings/vmlDrawing5.v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43" Type="http://schemas.openxmlformats.org/officeDocument/2006/relationships/slideLayout" Target="../slideLayouts/slideLayout115.xml"/><Relationship Id="rId48" Type="http://schemas.openxmlformats.org/officeDocument/2006/relationships/slideLayout" Target="../slideLayouts/slideLayout120.xml"/><Relationship Id="rId8" Type="http://schemas.openxmlformats.org/officeDocument/2006/relationships/slideLayout" Target="../slideLayouts/slideLayout80.xml"/><Relationship Id="rId51" Type="http://schemas.openxmlformats.org/officeDocument/2006/relationships/theme" Target="../theme/theme5.xml"/><Relationship Id="rId3"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47" Type="http://schemas.openxmlformats.org/officeDocument/2006/relationships/slideLayout" Target="../slideLayouts/slideLayout169.xml"/><Relationship Id="rId50" Type="http://schemas.openxmlformats.org/officeDocument/2006/relationships/slideLayout" Target="../slideLayouts/slideLayout172.xml"/><Relationship Id="rId55" Type="http://schemas.openxmlformats.org/officeDocument/2006/relationships/image" Target="../media/image1.emf"/><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46" Type="http://schemas.openxmlformats.org/officeDocument/2006/relationships/slideLayout" Target="../slideLayouts/slideLayout168.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41" Type="http://schemas.openxmlformats.org/officeDocument/2006/relationships/slideLayout" Target="../slideLayouts/slideLayout163.xml"/><Relationship Id="rId54" Type="http://schemas.openxmlformats.org/officeDocument/2006/relationships/oleObject" Target="../embeddings/oleObject6.bin"/><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45" Type="http://schemas.openxmlformats.org/officeDocument/2006/relationships/slideLayout" Target="../slideLayouts/slideLayout167.xml"/><Relationship Id="rId53" Type="http://schemas.openxmlformats.org/officeDocument/2006/relationships/tags" Target="../tags/tag7.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49" Type="http://schemas.openxmlformats.org/officeDocument/2006/relationships/slideLayout" Target="../slideLayouts/slideLayout171.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slideLayout" Target="../slideLayouts/slideLayout166.xml"/><Relationship Id="rId52" Type="http://schemas.openxmlformats.org/officeDocument/2006/relationships/vmlDrawing" Target="../drawings/vmlDrawing6.v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48" Type="http://schemas.openxmlformats.org/officeDocument/2006/relationships/slideLayout" Target="../slideLayouts/slideLayout170.xml"/><Relationship Id="rId8" Type="http://schemas.openxmlformats.org/officeDocument/2006/relationships/slideLayout" Target="../slideLayouts/slideLayout130.xml"/><Relationship Id="rId51" Type="http://schemas.openxmlformats.org/officeDocument/2006/relationships/theme" Target="../theme/theme6.xml"/><Relationship Id="rId3" Type="http://schemas.openxmlformats.org/officeDocument/2006/relationships/slideLayout" Target="../slideLayouts/slideLayout1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3" Type="http://schemas.openxmlformats.org/officeDocument/2006/relationships/slideLayout" Target="../slideLayouts/slideLayout175.xml"/><Relationship Id="rId21" Type="http://schemas.openxmlformats.org/officeDocument/2006/relationships/tags" Target="../tags/tag8.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vmlDrawing" Target="../drawings/vmlDrawing7.v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image" Target="../media/image1.emf"/><Relationship Id="rId10" Type="http://schemas.openxmlformats.org/officeDocument/2006/relationships/slideLayout" Target="../slideLayouts/slideLayout182.xml"/><Relationship Id="rId19" Type="http://schemas.openxmlformats.org/officeDocument/2006/relationships/theme" Target="../theme/theme7.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oleObject" Target="../embeddings/oleObject7.bin"/></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193.xml"/><Relationship Id="rId7" Type="http://schemas.openxmlformats.org/officeDocument/2006/relationships/vmlDrawing" Target="../drawings/vmlDrawing8.v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theme" Target="../theme/theme8.xml"/><Relationship Id="rId5" Type="http://schemas.openxmlformats.org/officeDocument/2006/relationships/slideLayout" Target="../slideLayouts/slideLayout195.xml"/><Relationship Id="rId10" Type="http://schemas.openxmlformats.org/officeDocument/2006/relationships/image" Target="../media/image1.emf"/><Relationship Id="rId4" Type="http://schemas.openxmlformats.org/officeDocument/2006/relationships/slideLayout" Target="../slideLayouts/slideLayout194.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7" Type="http://schemas.openxmlformats.org/officeDocument/2006/relationships/image" Target="../media/image1.emf"/><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oleObject" Target="../embeddings/oleObject9.bin"/><Relationship Id="rId5" Type="http://schemas.openxmlformats.org/officeDocument/2006/relationships/tags" Target="../tags/tag10.xml"/><Relationship Id="rId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DE0337-A0E6-4565-8E16-F129C22833B2}"/>
              </a:ext>
            </a:extLst>
          </p:cNvPr>
          <p:cNvGraphicFramePr>
            <a:graphicFrameLocks noChangeAspect="1"/>
          </p:cNvGraphicFramePr>
          <p:nvPr userDrawn="1">
            <p:custDataLst>
              <p:tags r:id="rId51"/>
            </p:custDataLst>
            <p:extLst>
              <p:ext uri="{D42A27DB-BD31-4B8C-83A1-F6EECF244321}">
                <p14:modId xmlns:p14="http://schemas.microsoft.com/office/powerpoint/2010/main" val="3218024875"/>
              </p:ext>
            </p:extLst>
          </p:nvPr>
        </p:nvGraphicFramePr>
        <p:xfrm>
          <a:off x="992" y="1323"/>
          <a:ext cx="993" cy="1323"/>
        </p:xfrm>
        <a:graphic>
          <a:graphicData uri="http://schemas.openxmlformats.org/presentationml/2006/ole">
            <mc:AlternateContent xmlns:mc="http://schemas.openxmlformats.org/markup-compatibility/2006">
              <mc:Choice xmlns:v="urn:schemas-microsoft-com:vml" Requires="v">
                <p:oleObj spid="_x0000_s1912" name="think-cell Slide" r:id="rId52" imgW="216" imgH="216" progId="TCLayout.ActiveDocument.1">
                  <p:embed/>
                </p:oleObj>
              </mc:Choice>
              <mc:Fallback>
                <p:oleObj name="think-cell Slide" r:id="rId52" imgW="216" imgH="216" progId="TCLayout.ActiveDocument.1">
                  <p:embed/>
                  <p:pic>
                    <p:nvPicPr>
                      <p:cNvPr id="2" name="Object 1" hidden="1">
                        <a:extLst>
                          <a:ext uri="{FF2B5EF4-FFF2-40B4-BE49-F238E27FC236}">
                            <a16:creationId xmlns:a16="http://schemas.microsoft.com/office/drawing/2014/main" id="{15DE0337-A0E6-4565-8E16-F129C22833B2}"/>
                          </a:ext>
                        </a:extLst>
                      </p:cNvPr>
                      <p:cNvPicPr/>
                      <p:nvPr/>
                    </p:nvPicPr>
                    <p:blipFill>
                      <a:blip r:embed="rId53"/>
                      <a:stretch>
                        <a:fillRect/>
                      </a:stretch>
                    </p:blipFill>
                    <p:spPr>
                      <a:xfrm>
                        <a:off x="992" y="1323"/>
                        <a:ext cx="993" cy="1323"/>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8379421" y="6367906"/>
            <a:ext cx="424629" cy="133094"/>
          </a:xfrm>
          <a:prstGeom prst="rect">
            <a:avLst/>
          </a:prstGeom>
          <a:noFill/>
        </p:spPr>
        <p:txBody>
          <a:bodyPr/>
          <a:lstStyle>
            <a:lvl1pPr algn="r">
              <a:defRPr sz="600" b="1" i="0">
                <a:solidFill>
                  <a:srgbClr val="002677"/>
                </a:solidFill>
                <a:latin typeface="Segoe UI" panose="020B0502040204020203" pitchFamily="34" charset="0"/>
                <a:ea typeface="Segoe UI" panose="020B0502040204020203" pitchFamily="34" charset="0"/>
                <a:cs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5735552" y="6364448"/>
            <a:ext cx="2544549"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240180" y="6359307"/>
            <a:ext cx="1416244" cy="182432"/>
          </a:xfrm>
          <a:prstGeom prst="rect">
            <a:avLst/>
          </a:prstGeom>
        </p:spPr>
        <p:txBody>
          <a:bodyPr vert="horz" lIns="57150" tIns="28575" rIns="57150" bIns="28575"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19063" indent="0" algn="l">
              <a:tabLst/>
            </a:pPr>
            <a:r>
              <a:rPr lang="en-US" sz="600" dirty="0">
                <a:latin typeface="Segoe UI" panose="020B0502040204020203" pitchFamily="34" charset="0"/>
                <a:ea typeface="Segoe UI" panose="020B0502040204020203" pitchFamily="34" charset="0"/>
                <a:cs typeface="Segoe UI" panose="020B0502040204020203" pitchFamily="34" charset="0"/>
              </a:rPr>
              <a:t>Equitable</a:t>
            </a:r>
          </a:p>
        </p:txBody>
      </p:sp>
    </p:spTree>
    <p:extLst>
      <p:ext uri="{BB962C8B-B14F-4D97-AF65-F5344CB8AC3E}">
        <p14:creationId xmlns:p14="http://schemas.microsoft.com/office/powerpoint/2010/main" val="3383135393"/>
      </p:ext>
    </p:extLst>
  </p:cSld>
  <p:clrMap bg1="lt1" tx1="dk1" bg2="lt2" tx2="dk2" accent1="accent1" accent2="accent2" accent3="accent3" accent4="accent4" accent5="accent5" accent6="accent6" hlink="hlink" folHlink="folHlink"/>
  <p:sldLayoutIdLst>
    <p:sldLayoutId id="2147483740" r:id="rId1"/>
    <p:sldLayoutId id="2147483953" r:id="rId2"/>
    <p:sldLayoutId id="2147483969"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968" r:id="rId14"/>
    <p:sldLayoutId id="2147483704" r:id="rId15"/>
    <p:sldLayoutId id="2147483705" r:id="rId16"/>
    <p:sldLayoutId id="2147483706" r:id="rId17"/>
    <p:sldLayoutId id="2147483707" r:id="rId18"/>
    <p:sldLayoutId id="2147483708" r:id="rId19"/>
    <p:sldLayoutId id="2147483970" r:id="rId20"/>
    <p:sldLayoutId id="2147483710" r:id="rId21"/>
    <p:sldLayoutId id="2147483711" r:id="rId22"/>
    <p:sldLayoutId id="2147483712" r:id="rId23"/>
    <p:sldLayoutId id="2147483967" r:id="rId24"/>
    <p:sldLayoutId id="2147483966" r:id="rId25"/>
    <p:sldLayoutId id="2147483715" r:id="rId26"/>
    <p:sldLayoutId id="2147483716" r:id="rId27"/>
    <p:sldLayoutId id="2147483717" r:id="rId28"/>
    <p:sldLayoutId id="2147483718" r:id="rId29"/>
    <p:sldLayoutId id="2147483719" r:id="rId30"/>
    <p:sldLayoutId id="2147483720" r:id="rId31"/>
    <p:sldLayoutId id="2147483961" r:id="rId32"/>
    <p:sldLayoutId id="2147483722" r:id="rId33"/>
    <p:sldLayoutId id="2147483723" r:id="rId34"/>
    <p:sldLayoutId id="2147483725" r:id="rId35"/>
    <p:sldLayoutId id="2147483726" r:id="rId36"/>
    <p:sldLayoutId id="2147483724" r:id="rId37"/>
    <p:sldLayoutId id="2147483727" r:id="rId38"/>
    <p:sldLayoutId id="2147483729" r:id="rId39"/>
    <p:sldLayoutId id="2147483733" r:id="rId40"/>
    <p:sldLayoutId id="2147483962" r:id="rId41"/>
    <p:sldLayoutId id="2147483963" r:id="rId42"/>
    <p:sldLayoutId id="2147483731" r:id="rId43"/>
    <p:sldLayoutId id="2147483734" r:id="rId44"/>
    <p:sldLayoutId id="2147483736" r:id="rId45"/>
    <p:sldLayoutId id="2147483739" r:id="rId46"/>
    <p:sldLayoutId id="2147483964" r:id="rId47"/>
    <p:sldLayoutId id="2147483965" r:id="rId48"/>
  </p:sldLayoutIdLst>
  <p:hf hdr="0" dt="0"/>
  <p:txStyles>
    <p:titleStyle>
      <a:lvl1pPr algn="l" defTabSz="685749"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1" indent="-171438" algn="l" defTabSz="685749" rtl="0" eaLnBrk="1" latinLnBrk="0" hangingPunct="1">
        <a:lnSpc>
          <a:spcPct val="90000"/>
        </a:lnSpc>
        <a:spcBef>
          <a:spcPts val="376"/>
        </a:spcBef>
        <a:buFont typeface="Arial" panose="020B0604020202020204" pitchFamily="34" charset="0"/>
        <a:buChar char="•"/>
        <a:defRPr sz="1800" kern="1200">
          <a:solidFill>
            <a:schemeClr val="tx1"/>
          </a:solidFill>
          <a:latin typeface="+mn-lt"/>
          <a:ea typeface="+mn-ea"/>
          <a:cs typeface="+mn-cs"/>
        </a:defRPr>
      </a:lvl2pPr>
      <a:lvl3pPr marL="857185" indent="-171438" algn="l" defTabSz="685749" rtl="0" eaLnBrk="1" latinLnBrk="0" hangingPunct="1">
        <a:lnSpc>
          <a:spcPct val="90000"/>
        </a:lnSpc>
        <a:spcBef>
          <a:spcPts val="376"/>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8pPr>
      <a:lvl9pPr marL="2914431"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1" algn="l" defTabSz="685749" rtl="0" eaLnBrk="1" latinLnBrk="0" hangingPunct="1">
        <a:defRPr sz="1350" kern="1200">
          <a:solidFill>
            <a:schemeClr val="tx1"/>
          </a:solidFill>
          <a:latin typeface="+mn-lt"/>
          <a:ea typeface="+mn-ea"/>
          <a:cs typeface="+mn-cs"/>
        </a:defRPr>
      </a:lvl6pPr>
      <a:lvl7pPr marL="2057245"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userDrawn="1">
          <p15:clr>
            <a:srgbClr val="FDE53C"/>
          </p15:clr>
        </p15:guide>
        <p15:guide id="8" pos="1551" userDrawn="1">
          <p15:clr>
            <a:srgbClr val="FDE53C"/>
          </p15:clr>
        </p15:guide>
        <p15:guide id="15" orient="horz" pos="4080" userDrawn="1">
          <p15:clr>
            <a:srgbClr val="F26B43"/>
          </p15:clr>
        </p15:guide>
        <p15:guide id="16" pos="5496" userDrawn="1">
          <p15:clr>
            <a:srgbClr val="FDE53C"/>
          </p15:clr>
        </p15:guide>
        <p15:guide id="17" pos="264" userDrawn="1">
          <p15:clr>
            <a:srgbClr val="FDE53C"/>
          </p15:clr>
        </p15:guide>
        <p15:guide id="19" orient="horz" pos="240" userDrawn="1">
          <p15:clr>
            <a:srgbClr val="F26B43"/>
          </p15:clr>
        </p15:guide>
        <p15:guide id="20" pos="2854" userDrawn="1">
          <p15:clr>
            <a:srgbClr val="FDE53C"/>
          </p15:clr>
        </p15:guide>
        <p15:guide id="21" pos="2914" userDrawn="1">
          <p15:clr>
            <a:srgbClr val="FDE53C"/>
          </p15:clr>
        </p15:guide>
        <p15:guide id="22" pos="4221" userDrawn="1">
          <p15:clr>
            <a:srgbClr val="FDE53C"/>
          </p15:clr>
        </p15:guide>
        <p15:guide id="23" pos="4296" userDrawn="1">
          <p15:clr>
            <a:srgbClr val="FDE53C"/>
          </p15:clr>
        </p15:guide>
        <p15:guide id="24" pos="1500" userDrawn="1">
          <p15:clr>
            <a:srgbClr val="FDE53C"/>
          </p15:clr>
        </p15:guide>
        <p15:guide id="25" pos="1037" userDrawn="1">
          <p15:clr>
            <a:srgbClr val="FDE53C"/>
          </p15:clr>
        </p15:guide>
        <p15:guide id="26" pos="1096" userDrawn="1">
          <p15:clr>
            <a:srgbClr val="FDE53C"/>
          </p15:clr>
        </p15:guide>
        <p15:guide id="27" pos="1944" userDrawn="1">
          <p15:clr>
            <a:srgbClr val="FDE53C"/>
          </p15:clr>
        </p15:guide>
        <p15:guide id="28" pos="2003" userDrawn="1">
          <p15:clr>
            <a:srgbClr val="FDE53C"/>
          </p15:clr>
        </p15:guide>
        <p15:guide id="29" pos="3760" userDrawn="1">
          <p15:clr>
            <a:srgbClr val="FDE53C"/>
          </p15:clr>
        </p15:guide>
        <p15:guide id="30" pos="3814" userDrawn="1">
          <p15:clr>
            <a:srgbClr val="FDE53C"/>
          </p15:clr>
        </p15:guide>
        <p15:guide id="31" pos="4664" userDrawn="1">
          <p15:clr>
            <a:srgbClr val="FDE53C"/>
          </p15:clr>
        </p15:guide>
        <p15:guide id="32" pos="4723" userDrawn="1">
          <p15:clr>
            <a:srgbClr val="FDE53C"/>
          </p15:clr>
        </p15:guide>
        <p15:guide id="33" pos="4528" userDrawn="1">
          <p15:clr>
            <a:srgbClr val="FDE53C"/>
          </p15:clr>
        </p15:guide>
        <p15:guide id="34" orient="horz" pos="2243" userDrawn="1">
          <p15:clr>
            <a:srgbClr val="F26B43"/>
          </p15:clr>
        </p15:guide>
        <p15:guide id="35" pos="288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5772150" y="6248717"/>
            <a:ext cx="30861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r>
              <a:rPr lang="en-US" dirty="0"/>
              <a:t>Presentation Title Here – Month 00, 000</a:t>
            </a:r>
          </a:p>
        </p:txBody>
      </p:sp>
      <p:sp>
        <p:nvSpPr>
          <p:cNvPr id="6" name="Slide Number Placeholder 5"/>
          <p:cNvSpPr>
            <a:spLocks noGrp="1"/>
          </p:cNvSpPr>
          <p:nvPr>
            <p:ph type="sldNum" sz="quarter" idx="4"/>
          </p:nvPr>
        </p:nvSpPr>
        <p:spPr>
          <a:xfrm>
            <a:off x="6617970" y="6256337"/>
            <a:ext cx="24003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AFF3D-0B71-614B-ACB6-7F45BDA6A838}" type="slidenum">
              <a:rPr lang="en-US" smtClean="0"/>
              <a:pPr/>
              <a:t>‹#›</a:t>
            </a:fld>
            <a:endParaRPr lang="en-US" dirty="0"/>
          </a:p>
        </p:txBody>
      </p:sp>
      <p:graphicFrame>
        <p:nvGraphicFramePr>
          <p:cNvPr id="7" name="Object 6" hidden="1">
            <a:extLst>
              <a:ext uri="{FF2B5EF4-FFF2-40B4-BE49-F238E27FC236}">
                <a16:creationId xmlns:a16="http://schemas.microsoft.com/office/drawing/2014/main" id="{0B038626-5951-5644-AE8D-13D1EC640B4D}"/>
              </a:ext>
            </a:extLst>
          </p:cNvPr>
          <p:cNvGraphicFramePr>
            <a:graphicFrameLocks noChangeAspect="1"/>
          </p:cNvGraphicFramePr>
          <p:nvPr userDrawn="1">
            <p:custDataLst>
              <p:tags r:id="rId16"/>
            </p:custDataLst>
          </p:nvPr>
        </p:nvGraphicFramePr>
        <p:xfrm>
          <a:off x="992" y="1323"/>
          <a:ext cx="993" cy="1323"/>
        </p:xfrm>
        <a:graphic>
          <a:graphicData uri="http://schemas.openxmlformats.org/presentationml/2006/ole">
            <mc:AlternateContent xmlns:mc="http://schemas.openxmlformats.org/markup-compatibility/2006">
              <mc:Choice xmlns:v="urn:schemas-microsoft-com:vml" Requires="v">
                <p:oleObj spid="_x0000_s64238" name="think-cell Slide" r:id="rId17" imgW="216" imgH="216" progId="TCLayout.ActiveDocument.1">
                  <p:embed/>
                </p:oleObj>
              </mc:Choice>
              <mc:Fallback>
                <p:oleObj name="think-cell Slide" r:id="rId17"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18"/>
                      <a:stretch>
                        <a:fillRect/>
                      </a:stretch>
                    </p:blipFill>
                    <p:spPr>
                      <a:xfrm>
                        <a:off x="992" y="1323"/>
                        <a:ext cx="993" cy="1323"/>
                      </a:xfrm>
                      <a:prstGeom prst="rect">
                        <a:avLst/>
                      </a:prstGeom>
                    </p:spPr>
                  </p:pic>
                </p:oleObj>
              </mc:Fallback>
            </mc:AlternateContent>
          </a:graphicData>
        </a:graphic>
      </p:graphicFrame>
      <p:sp>
        <p:nvSpPr>
          <p:cNvPr id="8" name="Footer Placeholder 3">
            <a:extLst>
              <a:ext uri="{FF2B5EF4-FFF2-40B4-BE49-F238E27FC236}">
                <a16:creationId xmlns:a16="http://schemas.microsoft.com/office/drawing/2014/main" id="{8F902FA0-4443-1242-BBF3-C8377C8970B7}"/>
              </a:ext>
            </a:extLst>
          </p:cNvPr>
          <p:cNvSpPr txBox="1">
            <a:spLocks/>
          </p:cNvSpPr>
          <p:nvPr userDrawn="1"/>
        </p:nvSpPr>
        <p:spPr>
          <a:xfrm>
            <a:off x="364906" y="6358284"/>
            <a:ext cx="1416244" cy="182432"/>
          </a:xfrm>
          <a:prstGeom prst="rect">
            <a:avLst/>
          </a:prstGeom>
        </p:spPr>
        <p:txBody>
          <a:bodyPr vert="horz" lIns="57150" tIns="28575" rIns="57150" bIns="28575"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600" dirty="0">
                <a:latin typeface="IBM Eliot Sans Medium" panose="020B0703050000000000" pitchFamily="34" charset="0"/>
              </a:rPr>
              <a:t>Equitable</a:t>
            </a:r>
          </a:p>
        </p:txBody>
      </p:sp>
      <p:sp>
        <p:nvSpPr>
          <p:cNvPr id="9" name="Footer Placeholder 3">
            <a:extLst>
              <a:ext uri="{FF2B5EF4-FFF2-40B4-BE49-F238E27FC236}">
                <a16:creationId xmlns:a16="http://schemas.microsoft.com/office/drawing/2014/main" id="{6BFAD4ED-C566-FD4F-A24A-C7417F403918}"/>
              </a:ext>
            </a:extLst>
          </p:cNvPr>
          <p:cNvSpPr txBox="1">
            <a:spLocks/>
          </p:cNvSpPr>
          <p:nvPr userDrawn="1"/>
        </p:nvSpPr>
        <p:spPr>
          <a:xfrm>
            <a:off x="2432055" y="6304940"/>
            <a:ext cx="4197340" cy="225402"/>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Segoe UI" panose="020B0502040204020203" pitchFamily="34" charset="0"/>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600" b="0" dirty="0">
                <a:solidFill>
                  <a:schemeClr val="bg2">
                    <a:lumMod val="65000"/>
                  </a:schemeClr>
                </a:solidFill>
              </a:rPr>
              <a:t>For Financial Professional Use Only</a:t>
            </a:r>
          </a:p>
        </p:txBody>
      </p:sp>
    </p:spTree>
    <p:extLst>
      <p:ext uri="{BB962C8B-B14F-4D97-AF65-F5344CB8AC3E}">
        <p14:creationId xmlns:p14="http://schemas.microsoft.com/office/powerpoint/2010/main" val="3159609307"/>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DE53C"/>
          </p15:clr>
        </p15:guide>
        <p15:guide id="2" pos="1551" userDrawn="1">
          <p15:clr>
            <a:srgbClr val="FDE53C"/>
          </p15:clr>
        </p15:guide>
        <p15:guide id="3" orient="horz" pos="4080" userDrawn="1">
          <p15:clr>
            <a:srgbClr val="F26B43"/>
          </p15:clr>
        </p15:guide>
        <p15:guide id="4" pos="5580" userDrawn="1">
          <p15:clr>
            <a:srgbClr val="FDE53C"/>
          </p15:clr>
        </p15:guide>
        <p15:guide id="5" pos="264" userDrawn="1">
          <p15:clr>
            <a:srgbClr val="FDE53C"/>
          </p15:clr>
        </p15:guide>
        <p15:guide id="6" orient="horz" pos="240" userDrawn="1">
          <p15:clr>
            <a:srgbClr val="F26B43"/>
          </p15:clr>
        </p15:guide>
        <p15:guide id="7" pos="2854" userDrawn="1">
          <p15:clr>
            <a:srgbClr val="FDE53C"/>
          </p15:clr>
        </p15:guide>
        <p15:guide id="8" pos="2914" userDrawn="1">
          <p15:clr>
            <a:srgbClr val="FDE53C"/>
          </p15:clr>
        </p15:guide>
        <p15:guide id="9" pos="4221" userDrawn="1">
          <p15:clr>
            <a:srgbClr val="FDE53C"/>
          </p15:clr>
        </p15:guide>
        <p15:guide id="10" pos="4281" userDrawn="1">
          <p15:clr>
            <a:srgbClr val="FDE53C"/>
          </p15:clr>
        </p15:guide>
        <p15:guide id="11" pos="1500" userDrawn="1">
          <p15:clr>
            <a:srgbClr val="FDE53C"/>
          </p15:clr>
        </p15:guide>
        <p15:guide id="12" pos="1037" userDrawn="1">
          <p15:clr>
            <a:srgbClr val="FDE53C"/>
          </p15:clr>
        </p15:guide>
        <p15:guide id="13" pos="1096" userDrawn="1">
          <p15:clr>
            <a:srgbClr val="FDE53C"/>
          </p15:clr>
        </p15:guide>
        <p15:guide id="14" pos="1944" userDrawn="1">
          <p15:clr>
            <a:srgbClr val="FDE53C"/>
          </p15:clr>
        </p15:guide>
        <p15:guide id="15" pos="2003" userDrawn="1">
          <p15:clr>
            <a:srgbClr val="FDE53C"/>
          </p15:clr>
        </p15:guide>
        <p15:guide id="16" pos="3760" userDrawn="1">
          <p15:clr>
            <a:srgbClr val="FDE53C"/>
          </p15:clr>
        </p15:guide>
        <p15:guide id="17" pos="3814" userDrawn="1">
          <p15:clr>
            <a:srgbClr val="FDE53C"/>
          </p15:clr>
        </p15:guide>
        <p15:guide id="18" pos="4664" userDrawn="1">
          <p15:clr>
            <a:srgbClr val="FDE53C"/>
          </p15:clr>
        </p15:guide>
        <p15:guide id="19" pos="4723" userDrawn="1">
          <p15:clr>
            <a:srgbClr val="FDE53C"/>
          </p15:clr>
        </p15:guide>
        <p15:guide id="20" pos="4528" userDrawn="1">
          <p15:clr>
            <a:srgbClr val="FDE53C"/>
          </p15:clr>
        </p15:guide>
        <p15:guide id="21" orient="horz" pos="2243" userDrawn="1">
          <p15:clr>
            <a:srgbClr val="F26B43"/>
          </p15:clr>
        </p15:guide>
        <p15:guide id="22" pos="2880"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2/19/2020</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Presentation Title Here – Month 00, 000</a:t>
            </a:r>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AFF3D-0B71-614B-ACB6-7F45BDA6A838}" type="slidenum">
              <a:rPr lang="en-US" smtClean="0"/>
              <a:pPr/>
              <a:t>‹#›</a:t>
            </a:fld>
            <a:endParaRPr lang="en-US" dirty="0"/>
          </a:p>
        </p:txBody>
      </p:sp>
      <p:graphicFrame>
        <p:nvGraphicFramePr>
          <p:cNvPr id="7" name="Object 6" hidden="1">
            <a:extLst>
              <a:ext uri="{FF2B5EF4-FFF2-40B4-BE49-F238E27FC236}">
                <a16:creationId xmlns:a16="http://schemas.microsoft.com/office/drawing/2014/main" id="{A9725C1D-06ED-8E4D-97E7-2139BAE034DF}"/>
              </a:ext>
            </a:extLst>
          </p:cNvPr>
          <p:cNvGraphicFramePr>
            <a:graphicFrameLocks noChangeAspect="1"/>
          </p:cNvGraphicFramePr>
          <p:nvPr userDrawn="1">
            <p:custDataLst>
              <p:tags r:id="rId15"/>
            </p:custDataLst>
            <p:extLst>
              <p:ext uri="{D42A27DB-BD31-4B8C-83A1-F6EECF244321}">
                <p14:modId xmlns:p14="http://schemas.microsoft.com/office/powerpoint/2010/main" val="3218024875"/>
              </p:ext>
            </p:extLst>
          </p:nvPr>
        </p:nvGraphicFramePr>
        <p:xfrm>
          <a:off x="992" y="1323"/>
          <a:ext cx="993" cy="1323"/>
        </p:xfrm>
        <a:graphic>
          <a:graphicData uri="http://schemas.openxmlformats.org/presentationml/2006/ole">
            <mc:AlternateContent xmlns:mc="http://schemas.openxmlformats.org/markup-compatibility/2006">
              <mc:Choice xmlns:v="urn:schemas-microsoft-com:vml" Requires="v">
                <p:oleObj spid="_x0000_s65262" name="think-cell Slide" r:id="rId16" imgW="216" imgH="216" progId="TCLayout.ActiveDocument.1">
                  <p:embed/>
                </p:oleObj>
              </mc:Choice>
              <mc:Fallback>
                <p:oleObj name="think-cell Slide" r:id="rId16" imgW="216" imgH="216" progId="TCLayout.ActiveDocument.1">
                  <p:embed/>
                  <p:pic>
                    <p:nvPicPr>
                      <p:cNvPr id="2" name="Object 1" hidden="1">
                        <a:extLst>
                          <a:ext uri="{FF2B5EF4-FFF2-40B4-BE49-F238E27FC236}">
                            <a16:creationId xmlns:a16="http://schemas.microsoft.com/office/drawing/2014/main" id="{15DE0337-A0E6-4565-8E16-F129C22833B2}"/>
                          </a:ext>
                        </a:extLst>
                      </p:cNvPr>
                      <p:cNvPicPr/>
                      <p:nvPr/>
                    </p:nvPicPr>
                    <p:blipFill>
                      <a:blip r:embed="rId17"/>
                      <a:stretch>
                        <a:fillRect/>
                      </a:stretch>
                    </p:blipFill>
                    <p:spPr>
                      <a:xfrm>
                        <a:off x="992" y="1323"/>
                        <a:ext cx="993" cy="1323"/>
                      </a:xfrm>
                      <a:prstGeom prst="rect">
                        <a:avLst/>
                      </a:prstGeom>
                    </p:spPr>
                  </p:pic>
                </p:oleObj>
              </mc:Fallback>
            </mc:AlternateContent>
          </a:graphicData>
        </a:graphic>
      </p:graphicFrame>
      <p:sp>
        <p:nvSpPr>
          <p:cNvPr id="8" name="Footer Placeholder 3">
            <a:extLst>
              <a:ext uri="{FF2B5EF4-FFF2-40B4-BE49-F238E27FC236}">
                <a16:creationId xmlns:a16="http://schemas.microsoft.com/office/drawing/2014/main" id="{54AADB37-D332-A54D-8CF1-AEEB2AD41471}"/>
              </a:ext>
            </a:extLst>
          </p:cNvPr>
          <p:cNvSpPr txBox="1">
            <a:spLocks/>
          </p:cNvSpPr>
          <p:nvPr userDrawn="1"/>
        </p:nvSpPr>
        <p:spPr>
          <a:xfrm>
            <a:off x="358031" y="6363318"/>
            <a:ext cx="1416244" cy="182432"/>
          </a:xfrm>
          <a:prstGeom prst="rect">
            <a:avLst/>
          </a:prstGeom>
        </p:spPr>
        <p:txBody>
          <a:bodyPr vert="horz" lIns="57150" tIns="28575" rIns="57150" bIns="28575"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600" dirty="0">
                <a:latin typeface="Segoe UI" panose="020B0502040204020203" pitchFamily="34" charset="0"/>
                <a:ea typeface="Segoe UI" panose="020B0502040204020203" pitchFamily="34" charset="0"/>
                <a:cs typeface="Segoe UI" panose="020B0502040204020203" pitchFamily="34" charset="0"/>
              </a:rPr>
              <a:t>Equitable</a:t>
            </a:r>
          </a:p>
        </p:txBody>
      </p:sp>
    </p:spTree>
    <p:extLst>
      <p:ext uri="{BB962C8B-B14F-4D97-AF65-F5344CB8AC3E}">
        <p14:creationId xmlns:p14="http://schemas.microsoft.com/office/powerpoint/2010/main" val="4111846978"/>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DE53C"/>
          </p15:clr>
        </p15:guide>
        <p15:guide id="2" pos="1551" userDrawn="1">
          <p15:clr>
            <a:srgbClr val="FDE53C"/>
          </p15:clr>
        </p15:guide>
        <p15:guide id="3" orient="horz" pos="4080" userDrawn="1">
          <p15:clr>
            <a:srgbClr val="F26B43"/>
          </p15:clr>
        </p15:guide>
        <p15:guide id="4" pos="5580" userDrawn="1">
          <p15:clr>
            <a:srgbClr val="FDE53C"/>
          </p15:clr>
        </p15:guide>
        <p15:guide id="5" pos="180" userDrawn="1">
          <p15:clr>
            <a:srgbClr val="FDE53C"/>
          </p15:clr>
        </p15:guide>
        <p15:guide id="6" orient="horz" pos="240" userDrawn="1">
          <p15:clr>
            <a:srgbClr val="F26B43"/>
          </p15:clr>
        </p15:guide>
        <p15:guide id="7" pos="2854" userDrawn="1">
          <p15:clr>
            <a:srgbClr val="FDE53C"/>
          </p15:clr>
        </p15:guide>
        <p15:guide id="8" pos="2914" userDrawn="1">
          <p15:clr>
            <a:srgbClr val="FDE53C"/>
          </p15:clr>
        </p15:guide>
        <p15:guide id="9" pos="4221" userDrawn="1">
          <p15:clr>
            <a:srgbClr val="FDE53C"/>
          </p15:clr>
        </p15:guide>
        <p15:guide id="10" pos="4281" userDrawn="1">
          <p15:clr>
            <a:srgbClr val="FDE53C"/>
          </p15:clr>
        </p15:guide>
        <p15:guide id="11" pos="1500" userDrawn="1">
          <p15:clr>
            <a:srgbClr val="FDE53C"/>
          </p15:clr>
        </p15:guide>
        <p15:guide id="12" pos="1037" userDrawn="1">
          <p15:clr>
            <a:srgbClr val="FDE53C"/>
          </p15:clr>
        </p15:guide>
        <p15:guide id="13" pos="1096" userDrawn="1">
          <p15:clr>
            <a:srgbClr val="FDE53C"/>
          </p15:clr>
        </p15:guide>
        <p15:guide id="14" pos="1944" userDrawn="1">
          <p15:clr>
            <a:srgbClr val="FDE53C"/>
          </p15:clr>
        </p15:guide>
        <p15:guide id="15" pos="2003" userDrawn="1">
          <p15:clr>
            <a:srgbClr val="FDE53C"/>
          </p15:clr>
        </p15:guide>
        <p15:guide id="16" pos="3760" userDrawn="1">
          <p15:clr>
            <a:srgbClr val="FDE53C"/>
          </p15:clr>
        </p15:guide>
        <p15:guide id="17" pos="3814" userDrawn="1">
          <p15:clr>
            <a:srgbClr val="FDE53C"/>
          </p15:clr>
        </p15:guide>
        <p15:guide id="18" pos="4664" userDrawn="1">
          <p15:clr>
            <a:srgbClr val="FDE53C"/>
          </p15:clr>
        </p15:guide>
        <p15:guide id="19" pos="4723" userDrawn="1">
          <p15:clr>
            <a:srgbClr val="FDE53C"/>
          </p15:clr>
        </p15:guide>
        <p15:guide id="20" pos="4528" userDrawn="1">
          <p15:clr>
            <a:srgbClr val="FDE53C"/>
          </p15:clr>
        </p15:guide>
        <p15:guide id="21" orient="horz" pos="2243" userDrawn="1">
          <p15:clr>
            <a:srgbClr val="F26B43"/>
          </p15:clr>
        </p15:guide>
        <p15:guide id="2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3D0782-540D-4152-88A3-F3D8BB559C2C}"/>
              </a:ext>
            </a:extLst>
          </p:cNvPr>
          <p:cNvGraphicFramePr>
            <a:graphicFrameLocks noChangeAspect="1"/>
          </p:cNvGraphicFramePr>
          <p:nvPr userDrawn="1">
            <p:custDataLst>
              <p:tags r:id="rId20"/>
            </p:custDataLst>
            <p:extLst>
              <p:ext uri="{D42A27DB-BD31-4B8C-83A1-F6EECF244321}">
                <p14:modId xmlns:p14="http://schemas.microsoft.com/office/powerpoint/2010/main" val="1830873589"/>
              </p:ext>
            </p:extLst>
          </p:nvPr>
        </p:nvGraphicFramePr>
        <p:xfrm>
          <a:off x="992" y="1323"/>
          <a:ext cx="993" cy="1323"/>
        </p:xfrm>
        <a:graphic>
          <a:graphicData uri="http://schemas.openxmlformats.org/presentationml/2006/ole">
            <mc:AlternateContent xmlns:mc="http://schemas.openxmlformats.org/markup-compatibility/2006">
              <mc:Choice xmlns:v="urn:schemas-microsoft-com:vml" Requires="v">
                <p:oleObj spid="_x0000_s2936" name="think-cell Slide" r:id="rId21" imgW="216" imgH="216" progId="TCLayout.ActiveDocument.1">
                  <p:embed/>
                </p:oleObj>
              </mc:Choice>
              <mc:Fallback>
                <p:oleObj name="think-cell Slide" r:id="rId21" imgW="216" imgH="216" progId="TCLayout.ActiveDocument.1">
                  <p:embed/>
                  <p:pic>
                    <p:nvPicPr>
                      <p:cNvPr id="2" name="Object 1" hidden="1">
                        <a:extLst>
                          <a:ext uri="{FF2B5EF4-FFF2-40B4-BE49-F238E27FC236}">
                            <a16:creationId xmlns:a16="http://schemas.microsoft.com/office/drawing/2014/main" id="{383D0782-540D-4152-88A3-F3D8BB559C2C}"/>
                          </a:ext>
                        </a:extLst>
                      </p:cNvPr>
                      <p:cNvPicPr/>
                      <p:nvPr/>
                    </p:nvPicPr>
                    <p:blipFill>
                      <a:blip r:embed="rId22"/>
                      <a:stretch>
                        <a:fillRect/>
                      </a:stretch>
                    </p:blipFill>
                    <p:spPr>
                      <a:xfrm>
                        <a:off x="992" y="1323"/>
                        <a:ext cx="993" cy="1323"/>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8625203" y="6360736"/>
            <a:ext cx="317051" cy="133094"/>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5520947" y="6362959"/>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
        <p:nvSpPr>
          <p:cNvPr id="7" name="Footer Placeholder 3">
            <a:extLst>
              <a:ext uri="{FF2B5EF4-FFF2-40B4-BE49-F238E27FC236}">
                <a16:creationId xmlns:a16="http://schemas.microsoft.com/office/drawing/2014/main" id="{411697F0-2D01-D44C-A95C-3F0F28B1C729}"/>
              </a:ext>
            </a:extLst>
          </p:cNvPr>
          <p:cNvSpPr txBox="1">
            <a:spLocks/>
          </p:cNvSpPr>
          <p:nvPr userDrawn="1"/>
        </p:nvSpPr>
        <p:spPr>
          <a:xfrm>
            <a:off x="363319" y="6365159"/>
            <a:ext cx="1416244" cy="182432"/>
          </a:xfrm>
          <a:prstGeom prst="rect">
            <a:avLst/>
          </a:prstGeom>
        </p:spPr>
        <p:txBody>
          <a:bodyPr vert="horz" lIns="57150" tIns="28575" rIns="57150" bIns="28575"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60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3971" r:id="rId1"/>
    <p:sldLayoutId id="2147483786" r:id="rId2"/>
    <p:sldLayoutId id="2147483787" r:id="rId3"/>
    <p:sldLayoutId id="2147483788" r:id="rId4"/>
    <p:sldLayoutId id="2147483789" r:id="rId5"/>
    <p:sldLayoutId id="2147483790" r:id="rId6"/>
    <p:sldLayoutId id="2147483791" r:id="rId7"/>
    <p:sldLayoutId id="2147483792" r:id="rId8"/>
    <p:sldLayoutId id="2147483960" r:id="rId9"/>
    <p:sldLayoutId id="2147483794" r:id="rId10"/>
    <p:sldLayoutId id="2147483795" r:id="rId11"/>
    <p:sldLayoutId id="2147483796" r:id="rId12"/>
    <p:sldLayoutId id="2147483728" r:id="rId13"/>
    <p:sldLayoutId id="2147483797" r:id="rId14"/>
    <p:sldLayoutId id="2147483798" r:id="rId15"/>
    <p:sldLayoutId id="2147483799" r:id="rId16"/>
    <p:sldLayoutId id="2147483800" r:id="rId17"/>
  </p:sldLayoutIdLst>
  <p:hf hdr="0" dt="0"/>
  <p:txStyles>
    <p:titleStyle>
      <a:lvl1pPr algn="l" defTabSz="685783" rtl="0" eaLnBrk="1" latinLnBrk="0" hangingPunct="1">
        <a:lnSpc>
          <a:spcPct val="90000"/>
        </a:lnSpc>
        <a:spcBef>
          <a:spcPct val="0"/>
        </a:spcBef>
        <a:buNone/>
        <a:defRPr sz="3300" kern="1200">
          <a:solidFill>
            <a:schemeClr val="bg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1"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4"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1"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4"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9"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1"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64" userDrawn="1">
          <p15:clr>
            <a:srgbClr val="FDE53C"/>
          </p15:clr>
        </p15:guide>
        <p15:guide id="4" pos="5580" userDrawn="1">
          <p15:clr>
            <a:srgbClr val="FDE53C"/>
          </p15:clr>
        </p15:guide>
        <p15:guide id="5" orient="horz" pos="240" userDrawn="1">
          <p15:clr>
            <a:srgbClr val="F26B43"/>
          </p15:clr>
        </p15:guide>
        <p15:guide id="6" orient="horz" pos="4080" userDrawn="1">
          <p15:clr>
            <a:srgbClr val="F26B43"/>
          </p15:clr>
        </p15:guide>
        <p15:guide id="7" orient="horz" pos="2160" userDrawn="1">
          <p15:clr>
            <a:srgbClr val="F26B43"/>
          </p15:clr>
        </p15:guide>
        <p15:guide id="8" pos="1035" userDrawn="1">
          <p15:clr>
            <a:srgbClr val="FDE53C"/>
          </p15:clr>
        </p15:guide>
        <p15:guide id="9" pos="1095" userDrawn="1">
          <p15:clr>
            <a:srgbClr val="FDE53C"/>
          </p15:clr>
        </p15:guide>
        <p15:guide id="10" pos="1493" userDrawn="1">
          <p15:clr>
            <a:srgbClr val="FDE53C"/>
          </p15:clr>
        </p15:guide>
        <p15:guide id="11" pos="1551" userDrawn="1">
          <p15:clr>
            <a:srgbClr val="FDE53C"/>
          </p15:clr>
        </p15:guide>
        <p15:guide id="12" pos="1939" userDrawn="1">
          <p15:clr>
            <a:srgbClr val="FDE53C"/>
          </p15:clr>
        </p15:guide>
        <p15:guide id="13" pos="2002" userDrawn="1">
          <p15:clr>
            <a:srgbClr val="FDE53C"/>
          </p15:clr>
        </p15:guide>
        <p15:guide id="14" pos="2851" userDrawn="1">
          <p15:clr>
            <a:srgbClr val="FDE53C"/>
          </p15:clr>
        </p15:guide>
        <p15:guide id="15" pos="2910" userDrawn="1">
          <p15:clr>
            <a:srgbClr val="FDE53C"/>
          </p15:clr>
        </p15:guide>
        <p15:guide id="16" pos="3758" userDrawn="1">
          <p15:clr>
            <a:srgbClr val="FDE53C"/>
          </p15:clr>
        </p15:guide>
        <p15:guide id="17" pos="3816" userDrawn="1">
          <p15:clr>
            <a:srgbClr val="FDE53C"/>
          </p15:clr>
        </p15:guide>
        <p15:guide id="18" pos="4219" userDrawn="1">
          <p15:clr>
            <a:srgbClr val="FDE53C"/>
          </p15:clr>
        </p15:guide>
        <p15:guide id="19" pos="4282" userDrawn="1">
          <p15:clr>
            <a:srgbClr val="FDE53C"/>
          </p15:clr>
        </p15:guide>
        <p15:guide id="20" pos="4666" userDrawn="1">
          <p15:clr>
            <a:srgbClr val="FDE53C"/>
          </p15:clr>
        </p15:guide>
        <p15:guide id="21" pos="4723" userDrawn="1">
          <p15:clr>
            <a:srgbClr val="FDE53C"/>
          </p15:clr>
        </p15:guide>
        <p15:guide id="2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4FBD2-022A-46D6-95B8-302D7E82D2A4}"/>
              </a:ext>
            </a:extLst>
          </p:cNvPr>
          <p:cNvGraphicFramePr>
            <a:graphicFrameLocks noChangeAspect="1"/>
          </p:cNvGraphicFramePr>
          <p:nvPr userDrawn="1">
            <p:custDataLst>
              <p:tags r:id="rId8"/>
            </p:custDataLst>
            <p:extLst>
              <p:ext uri="{D42A27DB-BD31-4B8C-83A1-F6EECF244321}">
                <p14:modId xmlns:p14="http://schemas.microsoft.com/office/powerpoint/2010/main" val="1067401065"/>
              </p:ext>
            </p:extLst>
          </p:nvPr>
        </p:nvGraphicFramePr>
        <p:xfrm>
          <a:off x="992" y="1323"/>
          <a:ext cx="993" cy="1323"/>
        </p:xfrm>
        <a:graphic>
          <a:graphicData uri="http://schemas.openxmlformats.org/presentationml/2006/ole">
            <mc:AlternateContent xmlns:mc="http://schemas.openxmlformats.org/markup-compatibility/2006">
              <mc:Choice xmlns:v="urn:schemas-microsoft-com:vml" Requires="v">
                <p:oleObj spid="_x0000_s3960" name="think-cell Slide" r:id="rId9" imgW="216" imgH="216" progId="TCLayout.ActiveDocument.1">
                  <p:embed/>
                </p:oleObj>
              </mc:Choice>
              <mc:Fallback>
                <p:oleObj name="think-cell Slide" r:id="rId9" imgW="216" imgH="216" progId="TCLayout.ActiveDocument.1">
                  <p:embed/>
                  <p:pic>
                    <p:nvPicPr>
                      <p:cNvPr id="2" name="Object 1" hidden="1">
                        <a:extLst>
                          <a:ext uri="{FF2B5EF4-FFF2-40B4-BE49-F238E27FC236}">
                            <a16:creationId xmlns:a16="http://schemas.microsoft.com/office/drawing/2014/main" id="{5F54FBD2-022A-46D6-95B8-302D7E82D2A4}"/>
                          </a:ext>
                        </a:extLst>
                      </p:cNvPr>
                      <p:cNvPicPr/>
                      <p:nvPr/>
                    </p:nvPicPr>
                    <p:blipFill>
                      <a:blip r:embed="rId10"/>
                      <a:stretch>
                        <a:fillRect/>
                      </a:stretch>
                    </p:blipFill>
                    <p:spPr>
                      <a:xfrm>
                        <a:off x="992" y="1323"/>
                        <a:ext cx="993" cy="1323"/>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8600860" y="6355738"/>
            <a:ext cx="354595" cy="228774"/>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5564066" y="6366957"/>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52152FE4-9E13-4042-9AA8-F6CFA664296B}"/>
              </a:ext>
            </a:extLst>
          </p:cNvPr>
          <p:cNvSpPr txBox="1">
            <a:spLocks/>
          </p:cNvSpPr>
          <p:nvPr userDrawn="1"/>
        </p:nvSpPr>
        <p:spPr>
          <a:xfrm>
            <a:off x="367300" y="6358284"/>
            <a:ext cx="1416244" cy="182432"/>
          </a:xfrm>
          <a:prstGeom prst="rect">
            <a:avLst/>
          </a:prstGeom>
        </p:spPr>
        <p:txBody>
          <a:bodyPr vert="horz" lIns="57150" tIns="28575" rIns="57150" bIns="28575"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60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9" r:id="rId5"/>
  </p:sldLayoutIdLst>
  <p:hf hdr="0" dt="0"/>
  <p:txStyles>
    <p:titleStyle>
      <a:lvl1pPr algn="l" defTabSz="685783" rtl="0" eaLnBrk="1" latinLnBrk="0" hangingPunct="1">
        <a:lnSpc>
          <a:spcPct val="90000"/>
        </a:lnSpc>
        <a:spcBef>
          <a:spcPct val="0"/>
        </a:spcBef>
        <a:buNone/>
        <a:defRPr sz="3300" b="0" i="0" kern="1200">
          <a:solidFill>
            <a:schemeClr val="tx1"/>
          </a:solidFill>
          <a:latin typeface="Segoe UI" panose="020B0502040204020203" pitchFamily="34" charset="0"/>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1"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4"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1"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4"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9"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1"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FDE53C"/>
          </p15:clr>
        </p15:guide>
        <p15:guide id="2" orient="horz" pos="2160" userDrawn="1">
          <p15:clr>
            <a:srgbClr val="FDE53C"/>
          </p15:clr>
        </p15:guide>
        <p15:guide id="3" pos="5580" userDrawn="1">
          <p15:clr>
            <a:srgbClr val="FDE53C"/>
          </p15:clr>
        </p15:guide>
        <p15:guide id="4" pos="264" userDrawn="1">
          <p15:clr>
            <a:srgbClr val="FDE53C"/>
          </p15:clr>
        </p15:guide>
        <p15:guide id="5" orient="horz" pos="4080" userDrawn="1">
          <p15:clr>
            <a:srgbClr val="F26B43"/>
          </p15:clr>
        </p15:guide>
        <p15:guide id="6" orient="horz" pos="2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6364E7-F026-4824-8F40-6AC78B99322C}"/>
              </a:ext>
            </a:extLst>
          </p:cNvPr>
          <p:cNvGraphicFramePr>
            <a:graphicFrameLocks noChangeAspect="1"/>
          </p:cNvGraphicFramePr>
          <p:nvPr userDrawn="1">
            <p:custDataLst>
              <p:tags r:id="rId5"/>
            </p:custDataLst>
            <p:extLst>
              <p:ext uri="{D42A27DB-BD31-4B8C-83A1-F6EECF244321}">
                <p14:modId xmlns:p14="http://schemas.microsoft.com/office/powerpoint/2010/main" val="3658529794"/>
              </p:ext>
            </p:extLst>
          </p:nvPr>
        </p:nvGraphicFramePr>
        <p:xfrm>
          <a:off x="992" y="1323"/>
          <a:ext cx="993" cy="1323"/>
        </p:xfrm>
        <a:graphic>
          <a:graphicData uri="http://schemas.openxmlformats.org/presentationml/2006/ole">
            <mc:AlternateContent xmlns:mc="http://schemas.openxmlformats.org/markup-compatibility/2006">
              <mc:Choice xmlns:v="urn:schemas-microsoft-com:vml" Requires="v">
                <p:oleObj spid="_x0000_s4984"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206364E7-F026-4824-8F40-6AC78B99322C}"/>
                          </a:ext>
                        </a:extLst>
                      </p:cNvPr>
                      <p:cNvPicPr/>
                      <p:nvPr/>
                    </p:nvPicPr>
                    <p:blipFill>
                      <a:blip r:embed="rId7"/>
                      <a:stretch>
                        <a:fillRect/>
                      </a:stretch>
                    </p:blipFill>
                    <p:spPr>
                      <a:xfrm>
                        <a:off x="992" y="1323"/>
                        <a:ext cx="993" cy="1323"/>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A1B5C7D9-1BA1-9F45-94FC-489A805C9B7F}"/>
              </a:ext>
            </a:extLst>
          </p:cNvPr>
          <p:cNvSpPr>
            <a:spLocks noGrp="1"/>
          </p:cNvSpPr>
          <p:nvPr>
            <p:ph type="sldNum" sz="quarter" idx="4"/>
          </p:nvPr>
        </p:nvSpPr>
        <p:spPr>
          <a:xfrm>
            <a:off x="8532108" y="6357655"/>
            <a:ext cx="402721" cy="235649"/>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6AFD8706-659A-B94F-B962-651685FF322A}"/>
              </a:ext>
            </a:extLst>
          </p:cNvPr>
          <p:cNvSpPr>
            <a:spLocks noGrp="1"/>
          </p:cNvSpPr>
          <p:nvPr>
            <p:ph type="ftr" sz="quarter" idx="3"/>
          </p:nvPr>
        </p:nvSpPr>
        <p:spPr>
          <a:xfrm>
            <a:off x="5570941" y="636008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27599D5F-A1E6-2147-9C2C-31AF1F05525B}"/>
              </a:ext>
            </a:extLst>
          </p:cNvPr>
          <p:cNvSpPr txBox="1">
            <a:spLocks/>
          </p:cNvSpPr>
          <p:nvPr userDrawn="1"/>
        </p:nvSpPr>
        <p:spPr>
          <a:xfrm>
            <a:off x="236671" y="6360082"/>
            <a:ext cx="1416244" cy="182432"/>
          </a:xfrm>
          <a:prstGeom prst="rect">
            <a:avLst/>
          </a:prstGeom>
        </p:spPr>
        <p:txBody>
          <a:bodyPr vert="horz" lIns="57150" tIns="28575" rIns="57150" bIns="28575"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600" dirty="0">
                <a:latin typeface="IBM Eliot Sans Medium" panose="020B0703050000000000" pitchFamily="34" charset="0"/>
              </a:rPr>
              <a:t>Equitable</a:t>
            </a:r>
          </a:p>
        </p:txBody>
      </p:sp>
    </p:spTree>
    <p:extLst>
      <p:ext uri="{BB962C8B-B14F-4D97-AF65-F5344CB8AC3E}">
        <p14:creationId xmlns:p14="http://schemas.microsoft.com/office/powerpoint/2010/main" val="3299972402"/>
      </p:ext>
    </p:extLst>
  </p:cSld>
  <p:clrMap bg1="lt1" tx1="dk1" bg2="lt2" tx2="dk2" accent1="accent1" accent2="accent2" accent3="accent3" accent4="accent4" accent5="accent5" accent6="accent6" hlink="hlink" folHlink="folHlink"/>
  <p:sldLayoutIdLst>
    <p:sldLayoutId id="2147483951" r:id="rId1"/>
    <p:sldLayoutId id="2147483950" r:id="rId2"/>
  </p:sldLayoutIdLst>
  <p:hf hdr="0" dt="0"/>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1"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4"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1"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4"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9"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1"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FDE53C"/>
          </p15:clr>
        </p15:guide>
        <p15:guide id="2" pos="5580" userDrawn="1">
          <p15:clr>
            <a:srgbClr val="FDE53C"/>
          </p15:clr>
        </p15:guide>
        <p15:guide id="3" pos="180" userDrawn="1">
          <p15:clr>
            <a:srgbClr val="FDE53C"/>
          </p15:clr>
        </p15:guide>
        <p15:guide id="4" orient="horz" pos="2160" userDrawn="1">
          <p15:clr>
            <a:srgbClr val="FDE53C"/>
          </p15:clr>
        </p15:guide>
        <p15:guide id="5" orient="horz" pos="240" userDrawn="1">
          <p15:clr>
            <a:srgbClr val="F26B43"/>
          </p15:clr>
        </p15:guide>
        <p15:guide id="6" orient="horz" pos="4080" userDrawn="1">
          <p15:clr>
            <a:srgbClr val="F26B43"/>
          </p15:clr>
        </p15:guide>
        <p15:guide id="7" pos="2616"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E8EB9C-E8E3-4AAD-B12A-E05878069847}"/>
              </a:ext>
            </a:extLst>
          </p:cNvPr>
          <p:cNvGraphicFramePr>
            <a:graphicFrameLocks noChangeAspect="1"/>
          </p:cNvGraphicFramePr>
          <p:nvPr userDrawn="1">
            <p:custDataLst>
              <p:tags r:id="rId53"/>
            </p:custDataLst>
            <p:extLst>
              <p:ext uri="{D42A27DB-BD31-4B8C-83A1-F6EECF244321}">
                <p14:modId xmlns:p14="http://schemas.microsoft.com/office/powerpoint/2010/main" val="1521685298"/>
              </p:ext>
            </p:extLst>
          </p:nvPr>
        </p:nvGraphicFramePr>
        <p:xfrm>
          <a:off x="992" y="1323"/>
          <a:ext cx="993" cy="1323"/>
        </p:xfrm>
        <a:graphic>
          <a:graphicData uri="http://schemas.openxmlformats.org/presentationml/2006/ole">
            <mc:AlternateContent xmlns:mc="http://schemas.openxmlformats.org/markup-compatibility/2006">
              <mc:Choice xmlns:v="urn:schemas-microsoft-com:vml" Requires="v">
                <p:oleObj spid="_x0000_s6008" name="think-cell Slide" r:id="rId54" imgW="216" imgH="216" progId="TCLayout.ActiveDocument.1">
                  <p:embed/>
                </p:oleObj>
              </mc:Choice>
              <mc:Fallback>
                <p:oleObj name="think-cell Slide" r:id="rId54"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55"/>
                      <a:stretch>
                        <a:fillRect/>
                      </a:stretch>
                    </p:blipFill>
                    <p:spPr>
                      <a:xfrm>
                        <a:off x="992" y="1323"/>
                        <a:ext cx="993" cy="1323"/>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8412407" y="6362613"/>
            <a:ext cx="409596" cy="256274"/>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5907125" y="6360082"/>
            <a:ext cx="2623338"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64906" y="6365159"/>
            <a:ext cx="1416244" cy="182432"/>
          </a:xfrm>
          <a:prstGeom prst="rect">
            <a:avLst/>
          </a:prstGeom>
        </p:spPr>
        <p:txBody>
          <a:bodyPr vert="horz" lIns="57150" tIns="28575" rIns="57150" bIns="28575"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600" dirty="0">
                <a:latin typeface="IBM Eliot Sans Medium" panose="020B0703050000000000" pitchFamily="34" charset="0"/>
              </a:rPr>
              <a:t>Equitable</a:t>
            </a:r>
          </a:p>
        </p:txBody>
      </p:sp>
    </p:spTree>
    <p:extLst>
      <p:ext uri="{BB962C8B-B14F-4D97-AF65-F5344CB8AC3E}">
        <p14:creationId xmlns:p14="http://schemas.microsoft.com/office/powerpoint/2010/main" val="3287573281"/>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 id="2147484016" r:id="rId38"/>
    <p:sldLayoutId id="2147484017" r:id="rId39"/>
    <p:sldLayoutId id="2147484018" r:id="rId40"/>
    <p:sldLayoutId id="2147484019" r:id="rId41"/>
    <p:sldLayoutId id="2147484020" r:id="rId42"/>
    <p:sldLayoutId id="2147484021" r:id="rId43"/>
    <p:sldLayoutId id="2147484022" r:id="rId44"/>
    <p:sldLayoutId id="2147484023" r:id="rId45"/>
    <p:sldLayoutId id="2147484024" r:id="rId46"/>
    <p:sldLayoutId id="2147484025" r:id="rId47"/>
    <p:sldLayoutId id="2147484026" r:id="rId48"/>
    <p:sldLayoutId id="2147484027" r:id="rId49"/>
    <p:sldLayoutId id="2147484030" r:id="rId50"/>
  </p:sldLayoutIdLst>
  <p:hf hdr="0" dt="0"/>
  <p:txStyles>
    <p:titleStyle>
      <a:lvl1pPr algn="l" defTabSz="685749"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1" indent="-171438" algn="l" defTabSz="685749" rtl="0" eaLnBrk="1" latinLnBrk="0" hangingPunct="1">
        <a:lnSpc>
          <a:spcPct val="90000"/>
        </a:lnSpc>
        <a:spcBef>
          <a:spcPts val="376"/>
        </a:spcBef>
        <a:buFont typeface="Arial" panose="020B0604020202020204" pitchFamily="34" charset="0"/>
        <a:buChar char="•"/>
        <a:defRPr sz="1800" kern="1200">
          <a:solidFill>
            <a:schemeClr val="tx1"/>
          </a:solidFill>
          <a:latin typeface="+mn-lt"/>
          <a:ea typeface="+mn-ea"/>
          <a:cs typeface="+mn-cs"/>
        </a:defRPr>
      </a:lvl2pPr>
      <a:lvl3pPr marL="857185" indent="-171438" algn="l" defTabSz="685749" rtl="0" eaLnBrk="1" latinLnBrk="0" hangingPunct="1">
        <a:lnSpc>
          <a:spcPct val="90000"/>
        </a:lnSpc>
        <a:spcBef>
          <a:spcPts val="376"/>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8pPr>
      <a:lvl9pPr marL="2914431"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1" algn="l" defTabSz="685749" rtl="0" eaLnBrk="1" latinLnBrk="0" hangingPunct="1">
        <a:defRPr sz="1350" kern="1200">
          <a:solidFill>
            <a:schemeClr val="tx1"/>
          </a:solidFill>
          <a:latin typeface="+mn-lt"/>
          <a:ea typeface="+mn-ea"/>
          <a:cs typeface="+mn-cs"/>
        </a:defRPr>
      </a:lvl6pPr>
      <a:lvl7pPr marL="2057245"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userDrawn="1">
          <p15:clr>
            <a:srgbClr val="FDE53C"/>
          </p15:clr>
        </p15:guide>
        <p15:guide id="8" pos="1551" userDrawn="1">
          <p15:clr>
            <a:srgbClr val="FDE53C"/>
          </p15:clr>
        </p15:guide>
        <p15:guide id="15" orient="horz" pos="4080" userDrawn="1">
          <p15:clr>
            <a:srgbClr val="F26B43"/>
          </p15:clr>
        </p15:guide>
        <p15:guide id="16" pos="5496" userDrawn="1">
          <p15:clr>
            <a:srgbClr val="FDE53C"/>
          </p15:clr>
        </p15:guide>
        <p15:guide id="17" pos="264" userDrawn="1">
          <p15:clr>
            <a:srgbClr val="FDE53C"/>
          </p15:clr>
        </p15:guide>
        <p15:guide id="19" orient="horz" pos="240" userDrawn="1">
          <p15:clr>
            <a:srgbClr val="F26B43"/>
          </p15:clr>
        </p15:guide>
        <p15:guide id="20" pos="2854" userDrawn="1">
          <p15:clr>
            <a:srgbClr val="FDE53C"/>
          </p15:clr>
        </p15:guide>
        <p15:guide id="21" pos="2914" userDrawn="1">
          <p15:clr>
            <a:srgbClr val="FDE53C"/>
          </p15:clr>
        </p15:guide>
        <p15:guide id="22" pos="4221" userDrawn="1">
          <p15:clr>
            <a:srgbClr val="FDE53C"/>
          </p15:clr>
        </p15:guide>
        <p15:guide id="23" pos="4281" userDrawn="1">
          <p15:clr>
            <a:srgbClr val="FDE53C"/>
          </p15:clr>
        </p15:guide>
        <p15:guide id="24" pos="1500" userDrawn="1">
          <p15:clr>
            <a:srgbClr val="FDE53C"/>
          </p15:clr>
        </p15:guide>
        <p15:guide id="25" pos="1037" userDrawn="1">
          <p15:clr>
            <a:srgbClr val="FDE53C"/>
          </p15:clr>
        </p15:guide>
        <p15:guide id="26" pos="1096" userDrawn="1">
          <p15:clr>
            <a:srgbClr val="FDE53C"/>
          </p15:clr>
        </p15:guide>
        <p15:guide id="27" pos="1944" userDrawn="1">
          <p15:clr>
            <a:srgbClr val="FDE53C"/>
          </p15:clr>
        </p15:guide>
        <p15:guide id="28" pos="2003" userDrawn="1">
          <p15:clr>
            <a:srgbClr val="FDE53C"/>
          </p15:clr>
        </p15:guide>
        <p15:guide id="29" pos="3760" userDrawn="1">
          <p15:clr>
            <a:srgbClr val="FDE53C"/>
          </p15:clr>
        </p15:guide>
        <p15:guide id="30" pos="3814" userDrawn="1">
          <p15:clr>
            <a:srgbClr val="FDE53C"/>
          </p15:clr>
        </p15:guide>
        <p15:guide id="31" pos="4664" userDrawn="1">
          <p15:clr>
            <a:srgbClr val="FDE53C"/>
          </p15:clr>
        </p15:guide>
        <p15:guide id="32" pos="4723" userDrawn="1">
          <p15:clr>
            <a:srgbClr val="FDE53C"/>
          </p15:clr>
        </p15:guide>
        <p15:guide id="33" pos="4528" userDrawn="1">
          <p15:clr>
            <a:srgbClr val="FDE53C"/>
          </p15:clr>
        </p15:guide>
        <p15:guide id="34" orient="horz" pos="2243" userDrawn="1">
          <p15:clr>
            <a:srgbClr val="F26B43"/>
          </p15:clr>
        </p15:guide>
        <p15:guide id="35" pos="288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E8EB9C-E8E3-4AAD-B12A-E05878069847}"/>
              </a:ext>
            </a:extLst>
          </p:cNvPr>
          <p:cNvGraphicFramePr>
            <a:graphicFrameLocks noChangeAspect="1"/>
          </p:cNvGraphicFramePr>
          <p:nvPr userDrawn="1">
            <p:custDataLst>
              <p:tags r:id="rId53"/>
            </p:custDataLst>
          </p:nvPr>
        </p:nvGraphicFramePr>
        <p:xfrm>
          <a:off x="992" y="1323"/>
          <a:ext cx="993" cy="1323"/>
        </p:xfrm>
        <a:graphic>
          <a:graphicData uri="http://schemas.openxmlformats.org/presentationml/2006/ole">
            <mc:AlternateContent xmlns:mc="http://schemas.openxmlformats.org/markup-compatibility/2006">
              <mc:Choice xmlns:v="urn:schemas-microsoft-com:vml" Requires="v">
                <p:oleObj spid="_x0000_s7032" name="think-cell Slide" r:id="rId54" imgW="216" imgH="216" progId="TCLayout.ActiveDocument.1">
                  <p:embed/>
                </p:oleObj>
              </mc:Choice>
              <mc:Fallback>
                <p:oleObj name="think-cell Slide" r:id="rId54"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55"/>
                      <a:stretch>
                        <a:fillRect/>
                      </a:stretch>
                    </p:blipFill>
                    <p:spPr>
                      <a:xfrm>
                        <a:off x="992" y="1323"/>
                        <a:ext cx="993" cy="1323"/>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8625364" y="6364531"/>
            <a:ext cx="309466" cy="145566"/>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6054328" y="6360082"/>
            <a:ext cx="255041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58031" y="6372034"/>
            <a:ext cx="1416244" cy="182432"/>
          </a:xfrm>
          <a:prstGeom prst="rect">
            <a:avLst/>
          </a:prstGeom>
        </p:spPr>
        <p:txBody>
          <a:bodyPr vert="horz" lIns="57150" tIns="28575" rIns="57150" bIns="28575"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600" dirty="0">
                <a:latin typeface="IBM Eliot Sans Medium" panose="020B0703050000000000" pitchFamily="34" charset="0"/>
              </a:rPr>
              <a:t>Equitable</a:t>
            </a:r>
          </a:p>
        </p:txBody>
      </p:sp>
    </p:spTree>
    <p:extLst>
      <p:ext uri="{BB962C8B-B14F-4D97-AF65-F5344CB8AC3E}">
        <p14:creationId xmlns:p14="http://schemas.microsoft.com/office/powerpoint/2010/main" val="2302692451"/>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184" r:id="rId5"/>
    <p:sldLayoutId id="2147484039" r:id="rId6"/>
    <p:sldLayoutId id="2147484040" r:id="rId7"/>
    <p:sldLayoutId id="2147484041" r:id="rId8"/>
    <p:sldLayoutId id="2147484042" r:id="rId9"/>
    <p:sldLayoutId id="2147484043" r:id="rId10"/>
    <p:sldLayoutId id="2147484044" r:id="rId11"/>
    <p:sldLayoutId id="2147484045" r:id="rId12"/>
    <p:sldLayoutId id="2147484046" r:id="rId13"/>
    <p:sldLayoutId id="2147484047" r:id="rId14"/>
    <p:sldLayoutId id="2147484048" r:id="rId15"/>
    <p:sldLayoutId id="2147484049" r:id="rId16"/>
    <p:sldLayoutId id="2147484050" r:id="rId17"/>
    <p:sldLayoutId id="2147484051" r:id="rId18"/>
    <p:sldLayoutId id="2147484052" r:id="rId19"/>
    <p:sldLayoutId id="2147484053" r:id="rId20"/>
    <p:sldLayoutId id="2147484054" r:id="rId21"/>
    <p:sldLayoutId id="2147484055" r:id="rId22"/>
    <p:sldLayoutId id="2147484056" r:id="rId23"/>
    <p:sldLayoutId id="2147484057" r:id="rId24"/>
    <p:sldLayoutId id="2147484058" r:id="rId25"/>
    <p:sldLayoutId id="2147484059" r:id="rId26"/>
    <p:sldLayoutId id="2147484060" r:id="rId27"/>
    <p:sldLayoutId id="2147484061" r:id="rId28"/>
    <p:sldLayoutId id="2147484062" r:id="rId29"/>
    <p:sldLayoutId id="2147484063" r:id="rId30"/>
    <p:sldLayoutId id="2147484064" r:id="rId31"/>
    <p:sldLayoutId id="2147484065" r:id="rId32"/>
    <p:sldLayoutId id="2147484066" r:id="rId33"/>
    <p:sldLayoutId id="2147484067" r:id="rId34"/>
    <p:sldLayoutId id="2147484068" r:id="rId35"/>
    <p:sldLayoutId id="2147484069" r:id="rId36"/>
    <p:sldLayoutId id="2147484070" r:id="rId37"/>
    <p:sldLayoutId id="2147484071" r:id="rId38"/>
    <p:sldLayoutId id="2147484072" r:id="rId39"/>
    <p:sldLayoutId id="2147484073" r:id="rId40"/>
    <p:sldLayoutId id="2147484074" r:id="rId41"/>
    <p:sldLayoutId id="2147484075" r:id="rId42"/>
    <p:sldLayoutId id="2147484076" r:id="rId43"/>
    <p:sldLayoutId id="2147484077" r:id="rId44"/>
    <p:sldLayoutId id="2147484078" r:id="rId45"/>
    <p:sldLayoutId id="2147484079" r:id="rId46"/>
    <p:sldLayoutId id="2147484080" r:id="rId47"/>
    <p:sldLayoutId id="2147484081" r:id="rId48"/>
    <p:sldLayoutId id="2147484082" r:id="rId49"/>
    <p:sldLayoutId id="2147484084" r:id="rId50"/>
  </p:sldLayoutIdLst>
  <p:hf hdr="0" dt="0"/>
  <p:txStyles>
    <p:titleStyle>
      <a:lvl1pPr algn="l" defTabSz="685749"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1" indent="-171438" algn="l" defTabSz="685749" rtl="0" eaLnBrk="1" latinLnBrk="0" hangingPunct="1">
        <a:lnSpc>
          <a:spcPct val="90000"/>
        </a:lnSpc>
        <a:spcBef>
          <a:spcPts val="376"/>
        </a:spcBef>
        <a:buFont typeface="Arial" panose="020B0604020202020204" pitchFamily="34" charset="0"/>
        <a:buChar char="•"/>
        <a:defRPr sz="1800" kern="1200">
          <a:solidFill>
            <a:schemeClr val="tx1"/>
          </a:solidFill>
          <a:latin typeface="+mn-lt"/>
          <a:ea typeface="+mn-ea"/>
          <a:cs typeface="+mn-cs"/>
        </a:defRPr>
      </a:lvl2pPr>
      <a:lvl3pPr marL="857185" indent="-171438" algn="l" defTabSz="685749" rtl="0" eaLnBrk="1" latinLnBrk="0" hangingPunct="1">
        <a:lnSpc>
          <a:spcPct val="90000"/>
        </a:lnSpc>
        <a:spcBef>
          <a:spcPts val="376"/>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8pPr>
      <a:lvl9pPr marL="2914431"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1" algn="l" defTabSz="685749" rtl="0" eaLnBrk="1" latinLnBrk="0" hangingPunct="1">
        <a:defRPr sz="1350" kern="1200">
          <a:solidFill>
            <a:schemeClr val="tx1"/>
          </a:solidFill>
          <a:latin typeface="+mn-lt"/>
          <a:ea typeface="+mn-ea"/>
          <a:cs typeface="+mn-cs"/>
        </a:defRPr>
      </a:lvl6pPr>
      <a:lvl7pPr marL="2057245"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userDrawn="1">
          <p15:clr>
            <a:srgbClr val="FDE53C"/>
          </p15:clr>
        </p15:guide>
        <p15:guide id="8" pos="1551" userDrawn="1">
          <p15:clr>
            <a:srgbClr val="FDE53C"/>
          </p15:clr>
        </p15:guide>
        <p15:guide id="15" orient="horz" pos="4080" userDrawn="1">
          <p15:clr>
            <a:srgbClr val="F26B43"/>
          </p15:clr>
        </p15:guide>
        <p15:guide id="16" pos="5580" userDrawn="1">
          <p15:clr>
            <a:srgbClr val="FDE53C"/>
          </p15:clr>
        </p15:guide>
        <p15:guide id="17" pos="264" userDrawn="1">
          <p15:clr>
            <a:srgbClr val="FDE53C"/>
          </p15:clr>
        </p15:guide>
        <p15:guide id="19" orient="horz" pos="240" userDrawn="1">
          <p15:clr>
            <a:srgbClr val="F26B43"/>
          </p15:clr>
        </p15:guide>
        <p15:guide id="20" pos="2854" userDrawn="1">
          <p15:clr>
            <a:srgbClr val="FDE53C"/>
          </p15:clr>
        </p15:guide>
        <p15:guide id="21" pos="2914" userDrawn="1">
          <p15:clr>
            <a:srgbClr val="FDE53C"/>
          </p15:clr>
        </p15:guide>
        <p15:guide id="22" pos="4221" userDrawn="1">
          <p15:clr>
            <a:srgbClr val="FDE53C"/>
          </p15:clr>
        </p15:guide>
        <p15:guide id="23" pos="4281" userDrawn="1">
          <p15:clr>
            <a:srgbClr val="FDE53C"/>
          </p15:clr>
        </p15:guide>
        <p15:guide id="24" pos="1500" userDrawn="1">
          <p15:clr>
            <a:srgbClr val="FDE53C"/>
          </p15:clr>
        </p15:guide>
        <p15:guide id="25" pos="1037" userDrawn="1">
          <p15:clr>
            <a:srgbClr val="FDE53C"/>
          </p15:clr>
        </p15:guide>
        <p15:guide id="26" pos="1096" userDrawn="1">
          <p15:clr>
            <a:srgbClr val="FDE53C"/>
          </p15:clr>
        </p15:guide>
        <p15:guide id="27" pos="1944" userDrawn="1">
          <p15:clr>
            <a:srgbClr val="FDE53C"/>
          </p15:clr>
        </p15:guide>
        <p15:guide id="28" pos="2003" userDrawn="1">
          <p15:clr>
            <a:srgbClr val="FDE53C"/>
          </p15:clr>
        </p15:guide>
        <p15:guide id="29" pos="3760" userDrawn="1">
          <p15:clr>
            <a:srgbClr val="FDE53C"/>
          </p15:clr>
        </p15:guide>
        <p15:guide id="30" pos="3814" userDrawn="1">
          <p15:clr>
            <a:srgbClr val="FDE53C"/>
          </p15:clr>
        </p15:guide>
        <p15:guide id="31" pos="4664" userDrawn="1">
          <p15:clr>
            <a:srgbClr val="FDE53C"/>
          </p15:clr>
        </p15:guide>
        <p15:guide id="32" pos="4723" userDrawn="1">
          <p15:clr>
            <a:srgbClr val="FDE53C"/>
          </p15:clr>
        </p15:guide>
        <p15:guide id="33" pos="4528" userDrawn="1">
          <p15:clr>
            <a:srgbClr val="FDE53C"/>
          </p15:clr>
        </p15:guide>
        <p15:guide id="34" orient="horz" pos="2243" userDrawn="1">
          <p15:clr>
            <a:srgbClr val="F26B43"/>
          </p15:clr>
        </p15:guide>
        <p15:guide id="35" pos="288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3D0782-540D-4152-88A3-F3D8BB559C2C}"/>
              </a:ext>
            </a:extLst>
          </p:cNvPr>
          <p:cNvGraphicFramePr>
            <a:graphicFrameLocks noChangeAspect="1"/>
          </p:cNvGraphicFramePr>
          <p:nvPr userDrawn="1">
            <p:custDataLst>
              <p:tags r:id="rId21"/>
            </p:custDataLst>
          </p:nvPr>
        </p:nvGraphicFramePr>
        <p:xfrm>
          <a:off x="992" y="1323"/>
          <a:ext cx="993" cy="1323"/>
        </p:xfrm>
        <a:graphic>
          <a:graphicData uri="http://schemas.openxmlformats.org/presentationml/2006/ole">
            <mc:AlternateContent xmlns:mc="http://schemas.openxmlformats.org/markup-compatibility/2006">
              <mc:Choice xmlns:v="urn:schemas-microsoft-com:vml" Requires="v">
                <p:oleObj spid="_x0000_s8056" name="think-cell Slide" r:id="rId22" imgW="216" imgH="216" progId="TCLayout.ActiveDocument.1">
                  <p:embed/>
                </p:oleObj>
              </mc:Choice>
              <mc:Fallback>
                <p:oleObj name="think-cell Slide" r:id="rId22" imgW="216" imgH="216" progId="TCLayout.ActiveDocument.1">
                  <p:embed/>
                  <p:pic>
                    <p:nvPicPr>
                      <p:cNvPr id="2" name="Object 1" hidden="1">
                        <a:extLst>
                          <a:ext uri="{FF2B5EF4-FFF2-40B4-BE49-F238E27FC236}">
                            <a16:creationId xmlns:a16="http://schemas.microsoft.com/office/drawing/2014/main" id="{383D0782-540D-4152-88A3-F3D8BB559C2C}"/>
                          </a:ext>
                        </a:extLst>
                      </p:cNvPr>
                      <p:cNvPicPr/>
                      <p:nvPr/>
                    </p:nvPicPr>
                    <p:blipFill>
                      <a:blip r:embed="rId23"/>
                      <a:stretch>
                        <a:fillRect/>
                      </a:stretch>
                    </p:blipFill>
                    <p:spPr>
                      <a:xfrm>
                        <a:off x="992" y="1323"/>
                        <a:ext cx="993" cy="1323"/>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8580235" y="6350780"/>
            <a:ext cx="306469" cy="187523"/>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555031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
        <p:nvSpPr>
          <p:cNvPr id="7" name="Footer Placeholder 3">
            <a:extLst>
              <a:ext uri="{FF2B5EF4-FFF2-40B4-BE49-F238E27FC236}">
                <a16:creationId xmlns:a16="http://schemas.microsoft.com/office/drawing/2014/main" id="{411697F0-2D01-D44C-A95C-3F0F28B1C729}"/>
              </a:ext>
            </a:extLst>
          </p:cNvPr>
          <p:cNvSpPr txBox="1">
            <a:spLocks/>
          </p:cNvSpPr>
          <p:nvPr userDrawn="1"/>
        </p:nvSpPr>
        <p:spPr>
          <a:xfrm>
            <a:off x="384725" y="6351409"/>
            <a:ext cx="1416244" cy="182432"/>
          </a:xfrm>
          <a:prstGeom prst="rect">
            <a:avLst/>
          </a:prstGeom>
        </p:spPr>
        <p:txBody>
          <a:bodyPr vert="horz" lIns="57150" tIns="28575" rIns="57150" bIns="28575"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60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4056615913"/>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 id="2147484100" r:id="rId14"/>
    <p:sldLayoutId id="2147484101" r:id="rId15"/>
    <p:sldLayoutId id="2147484102" r:id="rId16"/>
    <p:sldLayoutId id="2147484103" r:id="rId17"/>
    <p:sldLayoutId id="2147484104" r:id="rId18"/>
  </p:sldLayoutIdLst>
  <p:hf hdr="0" dt="0"/>
  <p:txStyles>
    <p:titleStyle>
      <a:lvl1pPr algn="l" defTabSz="685783" rtl="0" eaLnBrk="1" latinLnBrk="0" hangingPunct="1">
        <a:lnSpc>
          <a:spcPct val="90000"/>
        </a:lnSpc>
        <a:spcBef>
          <a:spcPct val="0"/>
        </a:spcBef>
        <a:buNone/>
        <a:defRPr sz="3300" kern="1200">
          <a:solidFill>
            <a:schemeClr val="bg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1"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4"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1"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4"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9"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1"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64" userDrawn="1">
          <p15:clr>
            <a:srgbClr val="FDE53C"/>
          </p15:clr>
        </p15:guide>
        <p15:guide id="4" pos="5580" userDrawn="1">
          <p15:clr>
            <a:srgbClr val="FDE53C"/>
          </p15:clr>
        </p15:guide>
        <p15:guide id="5" orient="horz" pos="240" userDrawn="1">
          <p15:clr>
            <a:srgbClr val="F26B43"/>
          </p15:clr>
        </p15:guide>
        <p15:guide id="6" orient="horz" pos="4080" userDrawn="1">
          <p15:clr>
            <a:srgbClr val="F26B43"/>
          </p15:clr>
        </p15:guide>
        <p15:guide id="7" orient="horz" pos="2160" userDrawn="1">
          <p15:clr>
            <a:srgbClr val="F26B43"/>
          </p15:clr>
        </p15:guide>
        <p15:guide id="8" pos="1035" userDrawn="1">
          <p15:clr>
            <a:srgbClr val="FDE53C"/>
          </p15:clr>
        </p15:guide>
        <p15:guide id="9" pos="1095" userDrawn="1">
          <p15:clr>
            <a:srgbClr val="FDE53C"/>
          </p15:clr>
        </p15:guide>
        <p15:guide id="10" pos="1493" userDrawn="1">
          <p15:clr>
            <a:srgbClr val="FDE53C"/>
          </p15:clr>
        </p15:guide>
        <p15:guide id="11" pos="1551" userDrawn="1">
          <p15:clr>
            <a:srgbClr val="FDE53C"/>
          </p15:clr>
        </p15:guide>
        <p15:guide id="12" pos="1939" userDrawn="1">
          <p15:clr>
            <a:srgbClr val="FDE53C"/>
          </p15:clr>
        </p15:guide>
        <p15:guide id="13" pos="2002" userDrawn="1">
          <p15:clr>
            <a:srgbClr val="FDE53C"/>
          </p15:clr>
        </p15:guide>
        <p15:guide id="14" pos="2851" userDrawn="1">
          <p15:clr>
            <a:srgbClr val="FDE53C"/>
          </p15:clr>
        </p15:guide>
        <p15:guide id="15" pos="2910" userDrawn="1">
          <p15:clr>
            <a:srgbClr val="FDE53C"/>
          </p15:clr>
        </p15:guide>
        <p15:guide id="16" pos="3758" userDrawn="1">
          <p15:clr>
            <a:srgbClr val="FDE53C"/>
          </p15:clr>
        </p15:guide>
        <p15:guide id="17" pos="3816" userDrawn="1">
          <p15:clr>
            <a:srgbClr val="FDE53C"/>
          </p15:clr>
        </p15:guide>
        <p15:guide id="18" pos="4219" userDrawn="1">
          <p15:clr>
            <a:srgbClr val="FDE53C"/>
          </p15:clr>
        </p15:guide>
        <p15:guide id="19" pos="4282" userDrawn="1">
          <p15:clr>
            <a:srgbClr val="FDE53C"/>
          </p15:clr>
        </p15:guide>
        <p15:guide id="20" pos="4666" userDrawn="1">
          <p15:clr>
            <a:srgbClr val="FDE53C"/>
          </p15:clr>
        </p15:guide>
        <p15:guide id="21" pos="4723" userDrawn="1">
          <p15:clr>
            <a:srgbClr val="FDE53C"/>
          </p15:clr>
        </p15:guide>
        <p15:guide id="22" pos="2880"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4FBD2-022A-46D6-95B8-302D7E82D2A4}"/>
              </a:ext>
            </a:extLst>
          </p:cNvPr>
          <p:cNvGraphicFramePr>
            <a:graphicFrameLocks noChangeAspect="1"/>
          </p:cNvGraphicFramePr>
          <p:nvPr userDrawn="1">
            <p:custDataLst>
              <p:tags r:id="rId8"/>
            </p:custDataLst>
          </p:nvPr>
        </p:nvGraphicFramePr>
        <p:xfrm>
          <a:off x="992" y="1323"/>
          <a:ext cx="993" cy="1323"/>
        </p:xfrm>
        <a:graphic>
          <a:graphicData uri="http://schemas.openxmlformats.org/presentationml/2006/ole">
            <mc:AlternateContent xmlns:mc="http://schemas.openxmlformats.org/markup-compatibility/2006">
              <mc:Choice xmlns:v="urn:schemas-microsoft-com:vml" Requires="v">
                <p:oleObj spid="_x0000_s9080" name="think-cell Slide" r:id="rId9" imgW="216" imgH="216" progId="TCLayout.ActiveDocument.1">
                  <p:embed/>
                </p:oleObj>
              </mc:Choice>
              <mc:Fallback>
                <p:oleObj name="think-cell Slide" r:id="rId9" imgW="216" imgH="216" progId="TCLayout.ActiveDocument.1">
                  <p:embed/>
                  <p:pic>
                    <p:nvPicPr>
                      <p:cNvPr id="2" name="Object 1" hidden="1">
                        <a:extLst>
                          <a:ext uri="{FF2B5EF4-FFF2-40B4-BE49-F238E27FC236}">
                            <a16:creationId xmlns:a16="http://schemas.microsoft.com/office/drawing/2014/main" id="{5F54FBD2-022A-46D6-95B8-302D7E82D2A4}"/>
                          </a:ext>
                        </a:extLst>
                      </p:cNvPr>
                      <p:cNvPicPr/>
                      <p:nvPr/>
                    </p:nvPicPr>
                    <p:blipFill>
                      <a:blip r:embed="rId10"/>
                      <a:stretch>
                        <a:fillRect/>
                      </a:stretch>
                    </p:blipFill>
                    <p:spPr>
                      <a:xfrm>
                        <a:off x="992" y="1323"/>
                        <a:ext cx="993" cy="1323"/>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8635236" y="6343906"/>
            <a:ext cx="278969" cy="133094"/>
          </a:xfrm>
          <a:prstGeom prst="rect">
            <a:avLst/>
          </a:prstGeom>
          <a:noFill/>
        </p:spPr>
        <p:txBody>
          <a:bodyPr/>
          <a:lstStyle>
            <a:lvl1pPr algn="r">
              <a:defRPr sz="60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5550316" y="6346332"/>
            <a:ext cx="3086100" cy="182432"/>
          </a:xfrm>
          <a:prstGeom prst="rect">
            <a:avLst/>
          </a:prstGeom>
        </p:spPr>
        <p:txBody>
          <a:bodyPr vert="horz" lIns="91440" tIns="45720" rIns="91440" bIns="45720" rtlCol="0" anchor="ctr"/>
          <a:lstStyle>
            <a:lvl1pPr algn="r">
              <a:defRPr sz="600" b="1" i="0">
                <a:solidFill>
                  <a:srgbClr val="FFFFFF"/>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52152FE4-9E13-4042-9AA8-F6CFA664296B}"/>
              </a:ext>
            </a:extLst>
          </p:cNvPr>
          <p:cNvSpPr txBox="1">
            <a:spLocks/>
          </p:cNvSpPr>
          <p:nvPr userDrawn="1"/>
        </p:nvSpPr>
        <p:spPr>
          <a:xfrm>
            <a:off x="229796" y="6346332"/>
            <a:ext cx="1416244" cy="182432"/>
          </a:xfrm>
          <a:prstGeom prst="rect">
            <a:avLst/>
          </a:prstGeom>
        </p:spPr>
        <p:txBody>
          <a:bodyPr vert="horz" lIns="57150" tIns="28575" rIns="57150" bIns="28575"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60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4028261096"/>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Lst>
  <p:hf hdr="0" dt="0"/>
  <p:txStyles>
    <p:titleStyle>
      <a:lvl1pPr algn="l" defTabSz="685783" rtl="0" eaLnBrk="1" latinLnBrk="0" hangingPunct="1">
        <a:lnSpc>
          <a:spcPct val="90000"/>
        </a:lnSpc>
        <a:spcBef>
          <a:spcPct val="0"/>
        </a:spcBef>
        <a:buNone/>
        <a:defRPr sz="3300" b="0" i="0" kern="1200">
          <a:solidFill>
            <a:schemeClr val="tx1"/>
          </a:solidFill>
          <a:latin typeface="Segoe UI" panose="020B0502040204020203" pitchFamily="34" charset="0"/>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1"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4"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1"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4"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9"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1"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FDE53C"/>
          </p15:clr>
        </p15:guide>
        <p15:guide id="2" orient="horz" pos="2160" userDrawn="1">
          <p15:clr>
            <a:srgbClr val="FDE53C"/>
          </p15:clr>
        </p15:guide>
        <p15:guide id="3" pos="5580" userDrawn="1">
          <p15:clr>
            <a:srgbClr val="FDE53C"/>
          </p15:clr>
        </p15:guide>
        <p15:guide id="4" pos="180" userDrawn="1">
          <p15:clr>
            <a:srgbClr val="FDE53C"/>
          </p15:clr>
        </p15:guide>
        <p15:guide id="5" orient="horz" pos="4080" userDrawn="1">
          <p15:clr>
            <a:srgbClr val="F26B43"/>
          </p15:clr>
        </p15:guide>
        <p15:guide id="6" orient="horz" pos="240"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6364E7-F026-4824-8F40-6AC78B99322C}"/>
              </a:ext>
            </a:extLst>
          </p:cNvPr>
          <p:cNvGraphicFramePr>
            <a:graphicFrameLocks noChangeAspect="1"/>
          </p:cNvGraphicFramePr>
          <p:nvPr userDrawn="1">
            <p:custDataLst>
              <p:tags r:id="rId5"/>
            </p:custDataLst>
          </p:nvPr>
        </p:nvGraphicFramePr>
        <p:xfrm>
          <a:off x="992" y="1323"/>
          <a:ext cx="993" cy="1323"/>
        </p:xfrm>
        <a:graphic>
          <a:graphicData uri="http://schemas.openxmlformats.org/presentationml/2006/ole">
            <mc:AlternateContent xmlns:mc="http://schemas.openxmlformats.org/markup-compatibility/2006">
              <mc:Choice xmlns:v="urn:schemas-microsoft-com:vml" Requires="v">
                <p:oleObj spid="_x0000_s10104"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206364E7-F026-4824-8F40-6AC78B99322C}"/>
                          </a:ext>
                        </a:extLst>
                      </p:cNvPr>
                      <p:cNvPicPr/>
                      <p:nvPr/>
                    </p:nvPicPr>
                    <p:blipFill>
                      <a:blip r:embed="rId7"/>
                      <a:stretch>
                        <a:fillRect/>
                      </a:stretch>
                    </p:blipFill>
                    <p:spPr>
                      <a:xfrm>
                        <a:off x="992" y="1323"/>
                        <a:ext cx="993" cy="1323"/>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A1B5C7D9-1BA1-9F45-94FC-489A805C9B7F}"/>
              </a:ext>
            </a:extLst>
          </p:cNvPr>
          <p:cNvSpPr>
            <a:spLocks noGrp="1"/>
          </p:cNvSpPr>
          <p:nvPr>
            <p:ph type="sldNum" sz="quarter" idx="4"/>
          </p:nvPr>
        </p:nvSpPr>
        <p:spPr>
          <a:xfrm>
            <a:off x="8600861" y="6343906"/>
            <a:ext cx="313344" cy="133094"/>
          </a:xfrm>
          <a:prstGeom prst="rect">
            <a:avLst/>
          </a:prstGeom>
          <a:noFill/>
        </p:spPr>
        <p:txBody>
          <a:bodyPr/>
          <a:lstStyle>
            <a:lvl1pPr algn="r">
              <a:defRPr sz="60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6AFD8706-659A-B94F-B962-651685FF322A}"/>
              </a:ext>
            </a:extLst>
          </p:cNvPr>
          <p:cNvSpPr>
            <a:spLocks noGrp="1"/>
          </p:cNvSpPr>
          <p:nvPr>
            <p:ph type="ftr" sz="quarter" idx="3"/>
          </p:nvPr>
        </p:nvSpPr>
        <p:spPr>
          <a:xfrm>
            <a:off x="5550316" y="6346332"/>
            <a:ext cx="3086100" cy="182432"/>
          </a:xfrm>
          <a:prstGeom prst="rect">
            <a:avLst/>
          </a:prstGeom>
        </p:spPr>
        <p:txBody>
          <a:bodyPr vert="horz" lIns="91440" tIns="45720" rIns="91440" bIns="45720" rtlCol="0" anchor="ctr"/>
          <a:lstStyle>
            <a:lvl1pPr algn="r">
              <a:defRPr sz="60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27599D5F-A1E6-2147-9C2C-31AF1F05525B}"/>
              </a:ext>
            </a:extLst>
          </p:cNvPr>
          <p:cNvSpPr txBox="1">
            <a:spLocks/>
          </p:cNvSpPr>
          <p:nvPr userDrawn="1"/>
        </p:nvSpPr>
        <p:spPr>
          <a:xfrm>
            <a:off x="229796" y="6346332"/>
            <a:ext cx="1416244" cy="182432"/>
          </a:xfrm>
          <a:prstGeom prst="rect">
            <a:avLst/>
          </a:prstGeom>
        </p:spPr>
        <p:txBody>
          <a:bodyPr vert="horz" lIns="57150" tIns="28575" rIns="57150" bIns="28575"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600" dirty="0">
                <a:latin typeface="IBM Eliot Sans Medium" panose="020B0703050000000000" pitchFamily="34" charset="0"/>
              </a:rPr>
              <a:t>Equitable</a:t>
            </a:r>
          </a:p>
        </p:txBody>
      </p:sp>
    </p:spTree>
    <p:extLst>
      <p:ext uri="{BB962C8B-B14F-4D97-AF65-F5344CB8AC3E}">
        <p14:creationId xmlns:p14="http://schemas.microsoft.com/office/powerpoint/2010/main" val="233735881"/>
      </p:ext>
    </p:extLst>
  </p:cSld>
  <p:clrMap bg1="lt1" tx1="dk1" bg2="lt2" tx2="dk2" accent1="accent1" accent2="accent2" accent3="accent3" accent4="accent4" accent5="accent5" accent6="accent6" hlink="hlink" folHlink="folHlink"/>
  <p:sldLayoutIdLst>
    <p:sldLayoutId id="2147484114" r:id="rId1"/>
    <p:sldLayoutId id="2147484115" r:id="rId2"/>
  </p:sldLayoutIdLst>
  <p:hf hdr="0" dt="0"/>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1"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4"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1"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4"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9"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1"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FDE53C"/>
          </p15:clr>
        </p15:guide>
        <p15:guide id="2" pos="5580" userDrawn="1">
          <p15:clr>
            <a:srgbClr val="FDE53C"/>
          </p15:clr>
        </p15:guide>
        <p15:guide id="3" pos="180" userDrawn="1">
          <p15:clr>
            <a:srgbClr val="FDE53C"/>
          </p15:clr>
        </p15:guide>
        <p15:guide id="4" orient="horz" pos="2160" userDrawn="1">
          <p15:clr>
            <a:srgbClr val="FDE53C"/>
          </p15:clr>
        </p15:guide>
        <p15:guide id="5" orient="horz" pos="240" userDrawn="1">
          <p15:clr>
            <a:srgbClr val="F26B43"/>
          </p15:clr>
        </p15:guide>
        <p15:guide id="6" orient="horz" pos="4080" userDrawn="1">
          <p15:clr>
            <a:srgbClr val="F26B43"/>
          </p15:clr>
        </p15:guide>
        <p15:guide id="7" pos="261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49.xml"/></Relationships>
</file>

<file path=ppt/slides/_rels/slide1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222.xml"/><Relationship Id="rId4" Type="http://schemas.openxmlformats.org/officeDocument/2006/relationships/chart" Target="../charts/chart7.xml"/></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1.xml"/><Relationship Id="rId1" Type="http://schemas.openxmlformats.org/officeDocument/2006/relationships/slideLayout" Target="../slideLayouts/slideLayout222.xml"/></Relationships>
</file>

<file path=ppt/slides/_rels/slide1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2.xml"/><Relationship Id="rId1" Type="http://schemas.openxmlformats.org/officeDocument/2006/relationships/slideLayout" Target="../slideLayouts/slideLayout2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2.xml"/></Relationships>
</file>

<file path=ppt/slides/_rels/slide1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4.xml"/><Relationship Id="rId1" Type="http://schemas.openxmlformats.org/officeDocument/2006/relationships/slideLayout" Target="../slideLayouts/slideLayout222.xml"/><Relationship Id="rId4" Type="http://schemas.openxmlformats.org/officeDocument/2006/relationships/chart" Target="../charts/chart11.xml"/></Relationships>
</file>

<file path=ppt/slides/_rels/slide1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5.xml"/><Relationship Id="rId1" Type="http://schemas.openxmlformats.org/officeDocument/2006/relationships/slideLayout" Target="../slideLayouts/slideLayout222.xml"/></Relationships>
</file>

<file path=ppt/slides/_rels/slide1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6.xml"/><Relationship Id="rId1" Type="http://schemas.openxmlformats.org/officeDocument/2006/relationships/slideLayout" Target="../slideLayouts/slideLayout222.xml"/></Relationships>
</file>

<file path=ppt/slides/_rels/slide17.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7.xml"/><Relationship Id="rId1" Type="http://schemas.openxmlformats.org/officeDocument/2006/relationships/slideLayout" Target="../slideLayouts/slideLayout222.xml"/></Relationships>
</file>

<file path=ppt/slides/_rels/slide18.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8.xml"/><Relationship Id="rId1" Type="http://schemas.openxmlformats.org/officeDocument/2006/relationships/slideLayout" Target="../slideLayouts/slideLayout22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2.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22.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22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2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5.xml"/></Relationships>
</file>

<file path=ppt/slides/_rels/slide23.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3.xml"/><Relationship Id="rId1" Type="http://schemas.openxmlformats.org/officeDocument/2006/relationships/slideLayout" Target="../slideLayouts/slideLayout222.xml"/><Relationship Id="rId4" Type="http://schemas.openxmlformats.org/officeDocument/2006/relationships/chart" Target="../charts/chart17.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222.xml"/></Relationships>
</file>

<file path=ppt/slides/_rels/slide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5.xml"/><Relationship Id="rId1" Type="http://schemas.openxmlformats.org/officeDocument/2006/relationships/slideLayout" Target="../slideLayouts/slideLayout222.xml"/></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6.xml"/><Relationship Id="rId1" Type="http://schemas.openxmlformats.org/officeDocument/2006/relationships/slideLayout" Target="../slideLayouts/slideLayout222.xml"/></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7.xml"/><Relationship Id="rId1" Type="http://schemas.openxmlformats.org/officeDocument/2006/relationships/slideLayout" Target="../slideLayouts/slideLayout22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22.xml"/></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9.xml"/><Relationship Id="rId1" Type="http://schemas.openxmlformats.org/officeDocument/2006/relationships/slideLayout" Target="../slideLayouts/slideLayout222.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222.xml"/></Relationships>
</file>

<file path=ppt/slides/_rels/slide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0.xml"/><Relationship Id="rId1" Type="http://schemas.openxmlformats.org/officeDocument/2006/relationships/slideLayout" Target="../slideLayouts/slideLayout22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22.xml"/></Relationships>
</file>

<file path=ppt/slides/_rels/slide3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32.xml"/><Relationship Id="rId1" Type="http://schemas.openxmlformats.org/officeDocument/2006/relationships/slideLayout" Target="../slideLayouts/slideLayout222.xml"/></Relationships>
</file>

<file path=ppt/slides/_rels/slide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3.xml"/><Relationship Id="rId1" Type="http://schemas.openxmlformats.org/officeDocument/2006/relationships/slideLayout" Target="../slideLayouts/slideLayout222.xml"/></Relationships>
</file>

<file path=ppt/slides/_rels/slide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4.xml"/><Relationship Id="rId1" Type="http://schemas.openxmlformats.org/officeDocument/2006/relationships/slideLayout" Target="../slideLayouts/slideLayout222.xml"/></Relationships>
</file>

<file path=ppt/slides/_rels/slide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2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22.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09.xml"/><Relationship Id="rId7" Type="http://schemas.openxmlformats.org/officeDocument/2006/relationships/image" Target="../media/image16.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37.xml"/></Relationships>
</file>

<file path=ppt/slides/_rels/slide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8.xml"/><Relationship Id="rId1" Type="http://schemas.openxmlformats.org/officeDocument/2006/relationships/slideLayout" Target="../slideLayouts/slideLayout22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2.xml"/></Relationships>
</file>

<file path=ppt/slides/_rels/slide4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notesSlide" Target="../notesSlides/notesSlide39.xml"/><Relationship Id="rId1" Type="http://schemas.openxmlformats.org/officeDocument/2006/relationships/slideLayout" Target="../slideLayouts/slideLayout222.xml"/><Relationship Id="rId6" Type="http://schemas.openxmlformats.org/officeDocument/2006/relationships/image" Target="../media/image22.png"/><Relationship Id="rId5" Type="http://schemas.openxmlformats.org/officeDocument/2006/relationships/image" Target="../media/image10.png"/><Relationship Id="rId4" Type="http://schemas.openxmlformats.org/officeDocument/2006/relationships/image" Target="../media/image21.png"/></Relationships>
</file>

<file path=ppt/slides/_rels/slide4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222.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222.xml"/></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22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09.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9.xml"/><Relationship Id="rId1" Type="http://schemas.openxmlformats.org/officeDocument/2006/relationships/slideLayout" Target="../slideLayouts/slideLayout2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086E0A-CC96-4A43-AAA8-8F6993A43396}"/>
              </a:ext>
            </a:extLst>
          </p:cNvPr>
          <p:cNvSpPr>
            <a:spLocks noGrp="1"/>
          </p:cNvSpPr>
          <p:nvPr>
            <p:ph type="body" sz="quarter" idx="12"/>
          </p:nvPr>
        </p:nvSpPr>
        <p:spPr>
          <a:xfrm>
            <a:off x="285749" y="2693103"/>
            <a:ext cx="8490781" cy="1898069"/>
          </a:xfrm>
        </p:spPr>
        <p:txBody>
          <a:bodyPr/>
          <a:lstStyle/>
          <a:p>
            <a:r>
              <a:rPr lang="en-US" dirty="0"/>
              <a:t>Considerations for a </a:t>
            </a:r>
            <a:br>
              <a:rPr lang="en-US" dirty="0"/>
            </a:br>
            <a:r>
              <a:rPr lang="en-US" dirty="0"/>
              <a:t>Successful Retirement</a:t>
            </a:r>
            <a:endParaRPr lang="en-US" dirty="0">
              <a:latin typeface="Segoe UI" panose="020B0502040204020203" pitchFamily="34" charset="0"/>
              <a:ea typeface="Segoe UI" panose="020B0502040204020203" pitchFamily="34" charset="0"/>
              <a:cs typeface="Segoe UI" panose="020B0502040204020203" pitchFamily="34" charset="0"/>
            </a:endParaRPr>
          </a:p>
          <a:p>
            <a:endParaRPr lang="en-US" dirty="0"/>
          </a:p>
        </p:txBody>
      </p:sp>
      <p:sp>
        <p:nvSpPr>
          <p:cNvPr id="6" name="Text Placeholder 5">
            <a:extLst>
              <a:ext uri="{FF2B5EF4-FFF2-40B4-BE49-F238E27FC236}">
                <a16:creationId xmlns:a16="http://schemas.microsoft.com/office/drawing/2014/main" id="{53B506E8-BF8B-C44B-9AC3-D40810A4E375}"/>
              </a:ext>
            </a:extLst>
          </p:cNvPr>
          <p:cNvSpPr>
            <a:spLocks noGrp="1"/>
          </p:cNvSpPr>
          <p:nvPr>
            <p:ph type="body" sz="quarter" idx="13"/>
          </p:nvPr>
        </p:nvSpPr>
        <p:spPr>
          <a:xfrm>
            <a:off x="3145824" y="5279470"/>
            <a:ext cx="2879581" cy="261460"/>
          </a:xfrm>
        </p:spPr>
        <p:txBody>
          <a:bodyPr/>
          <a:lstStyle/>
          <a:p>
            <a:endParaRPr lang="en-US" b="0" dirty="0"/>
          </a:p>
          <a:p>
            <a:endParaRPr lang="en-US" b="0" dirty="0"/>
          </a:p>
        </p:txBody>
      </p:sp>
      <p:sp>
        <p:nvSpPr>
          <p:cNvPr id="4" name="TextBox 3">
            <a:extLst>
              <a:ext uri="{FF2B5EF4-FFF2-40B4-BE49-F238E27FC236}">
                <a16:creationId xmlns:a16="http://schemas.microsoft.com/office/drawing/2014/main" id="{1B905AD7-7B3A-FD40-9CF7-57C38832890F}"/>
              </a:ext>
            </a:extLst>
          </p:cNvPr>
          <p:cNvSpPr txBox="1"/>
          <p:nvPr/>
        </p:nvSpPr>
        <p:spPr>
          <a:xfrm>
            <a:off x="285749" y="6475114"/>
            <a:ext cx="1632063" cy="230832"/>
          </a:xfrm>
          <a:prstGeom prst="rect">
            <a:avLst/>
          </a:prstGeom>
          <a:noFill/>
        </p:spPr>
        <p:txBody>
          <a:bodyPr wrap="square" rtlCol="0">
            <a:spAutoFit/>
          </a:bodyPr>
          <a:lstStyle/>
          <a:p>
            <a:r>
              <a:rPr lang="en-US" sz="900" dirty="0">
                <a:solidFill>
                  <a:schemeClr val="bg1"/>
                </a:solidFill>
              </a:rPr>
              <a:t>GE-139054 (1/20) (Exp. 8/20)</a:t>
            </a:r>
          </a:p>
        </p:txBody>
      </p:sp>
      <p:sp>
        <p:nvSpPr>
          <p:cNvPr id="5" name="TextBox 1">
            <a:extLst>
              <a:ext uri="{FF2B5EF4-FFF2-40B4-BE49-F238E27FC236}">
                <a16:creationId xmlns:a16="http://schemas.microsoft.com/office/drawing/2014/main" id="{FDE90441-C7E4-445C-AD37-3AEFAA2170A0}"/>
              </a:ext>
            </a:extLst>
          </p:cNvPr>
          <p:cNvSpPr txBox="1">
            <a:spLocks noChangeArrowheads="1"/>
          </p:cNvSpPr>
          <p:nvPr/>
        </p:nvSpPr>
        <p:spPr bwMode="auto">
          <a:xfrm>
            <a:off x="1024092" y="6105721"/>
            <a:ext cx="7136526" cy="461963"/>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square" anchor="ctr">
            <a:spAutoFit/>
          </a:bodyPr>
          <a:lstStyle>
            <a:lvl1pPr>
              <a:spcBef>
                <a:spcPct val="20000"/>
              </a:spcBef>
              <a:buBlip>
                <a:blip r:embed="rId3"/>
              </a:buBlip>
              <a:defRPr>
                <a:solidFill>
                  <a:schemeClr val="tx1"/>
                </a:solidFill>
                <a:latin typeface="Arial" pitchFamily="34" charset="0"/>
                <a:ea typeface="MS PGothic" pitchFamily="34" charset="-128"/>
                <a:cs typeface="Arial" pitchFamily="34" charset="0"/>
              </a:defRPr>
            </a:lvl1pPr>
            <a:lvl2pPr marL="742950" indent="-285750">
              <a:spcBef>
                <a:spcPct val="20000"/>
              </a:spcBef>
              <a:buFont typeface="Arial" pitchFamily="34" charset="0"/>
              <a:defRPr b="1">
                <a:solidFill>
                  <a:schemeClr val="tx1"/>
                </a:solidFill>
                <a:latin typeface="Arial" pitchFamily="34" charset="0"/>
                <a:ea typeface="MS PGothic" pitchFamily="34" charset="-128"/>
                <a:cs typeface="Arial" pitchFamily="34" charset="0"/>
              </a:defRPr>
            </a:lvl2pPr>
            <a:lvl3pPr marL="1143000" indent="-228600">
              <a:spcBef>
                <a:spcPct val="20000"/>
              </a:spcBef>
              <a:buClr>
                <a:schemeClr val="tx2"/>
              </a:buClr>
              <a:buFont typeface="Wingdings" pitchFamily="2" charset="2"/>
              <a:buChar char=""/>
              <a:defRPr sz="1600">
                <a:solidFill>
                  <a:schemeClr val="tx1"/>
                </a:solidFill>
                <a:latin typeface="Arial" pitchFamily="34" charset="0"/>
                <a:ea typeface="MS PGothic" pitchFamily="34" charset="-128"/>
                <a:cs typeface="Arial" pitchFamily="34" charset="0"/>
              </a:defRPr>
            </a:lvl3pPr>
            <a:lvl4pPr marL="1600200" indent="-228600">
              <a:spcBef>
                <a:spcPct val="20000"/>
              </a:spcBef>
              <a:defRPr sz="1600">
                <a:solidFill>
                  <a:schemeClr val="tx1"/>
                </a:solidFill>
                <a:latin typeface="Arial" pitchFamily="34" charset="0"/>
                <a:ea typeface="MS PGothic" pitchFamily="34" charset="-128"/>
                <a:cs typeface="Arial" pitchFamily="34" charset="0"/>
              </a:defRPr>
            </a:lvl4pPr>
            <a:lvl5pPr marL="2057400" indent="-228600">
              <a:spcBef>
                <a:spcPct val="20000"/>
              </a:spcBef>
              <a:buClr>
                <a:schemeClr val="tx2"/>
              </a:buClr>
              <a:buFont typeface="Arial" pitchFamily="34" charset="0"/>
              <a:buChar char="­"/>
              <a:defRPr sz="1400">
                <a:solidFill>
                  <a:schemeClr val="tx1"/>
                </a:solidFill>
                <a:latin typeface="Arial" pitchFamily="34" charset="0"/>
                <a:ea typeface="MS PGothic"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MS PGothic"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MS PGothic"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MS PGothic"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MS PGothic" pitchFamily="34" charset="-128"/>
                <a:cs typeface="Arial" pitchFamily="34" charset="0"/>
              </a:defRPr>
            </a:lvl9pPr>
          </a:lstStyle>
          <a:p>
            <a:pPr algn="ctr" fontAlgn="base">
              <a:spcBef>
                <a:spcPct val="0"/>
              </a:spcBef>
              <a:spcAft>
                <a:spcPct val="0"/>
              </a:spcAft>
              <a:buFontTx/>
              <a:buNone/>
            </a:pPr>
            <a:r>
              <a:rPr lang="en-GB" altLang="en-US" sz="1200" dirty="0">
                <a:solidFill>
                  <a:prstClr val="white"/>
                </a:solidFill>
                <a:latin typeface="+mj-lt"/>
              </a:rPr>
              <a:t>Variable Annuities: Are Not a Deposit of Any Bank • Are Not FDIC Insured by Any Federal Government Agency </a:t>
            </a:r>
            <a:br>
              <a:rPr lang="en-GB" altLang="en-US" sz="1200" dirty="0">
                <a:solidFill>
                  <a:prstClr val="white"/>
                </a:solidFill>
                <a:latin typeface="+mj-lt"/>
              </a:rPr>
            </a:br>
            <a:r>
              <a:rPr lang="en-GB" altLang="en-US" sz="1200" dirty="0">
                <a:solidFill>
                  <a:prstClr val="white"/>
                </a:solidFill>
                <a:latin typeface="+mj-lt"/>
              </a:rPr>
              <a:t>• Are Not Guaranteed by Any Bank or Savings Association • May Go Down in Value</a:t>
            </a:r>
          </a:p>
        </p:txBody>
      </p:sp>
    </p:spTree>
    <p:extLst>
      <p:ext uri="{BB962C8B-B14F-4D97-AF65-F5344CB8AC3E}">
        <p14:creationId xmlns:p14="http://schemas.microsoft.com/office/powerpoint/2010/main" val="8879452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22633" y="6371406"/>
            <a:ext cx="311806" cy="165752"/>
          </a:xfrm>
        </p:spPr>
        <p:txBody>
          <a:bodyPr/>
          <a:lstStyle/>
          <a:p>
            <a:fld id="{2C7AFF3D-0B71-614B-ACB6-7F45BDA6A838}" type="slidenum">
              <a:rPr lang="en-US" smtClean="0">
                <a:latin typeface="Segoe UI" panose="020B0502040204020203" pitchFamily="34" charset="0"/>
              </a:rPr>
              <a:pPr/>
              <a:t>10</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91174" y="6360082"/>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1" y="381000"/>
            <a:ext cx="4649688"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Guaranteed Lifetime Income</a:t>
            </a:r>
          </a:p>
        </p:txBody>
      </p:sp>
      <p:cxnSp>
        <p:nvCxnSpPr>
          <p:cNvPr id="43" name="Straight Connector 42">
            <a:extLst>
              <a:ext uri="{FF2B5EF4-FFF2-40B4-BE49-F238E27FC236}">
                <a16:creationId xmlns:a16="http://schemas.microsoft.com/office/drawing/2014/main" id="{7AFB0420-5CD8-3043-9CFE-2C917C960255}"/>
              </a:ext>
            </a:extLst>
          </p:cNvPr>
          <p:cNvCxnSpPr>
            <a:cxnSpLocks/>
          </p:cNvCxnSpPr>
          <p:nvPr/>
        </p:nvCxnSpPr>
        <p:spPr>
          <a:xfrm>
            <a:off x="419100" y="1225014"/>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DBF1986-E741-784A-A1CF-BD318E2C4D89}"/>
              </a:ext>
            </a:extLst>
          </p:cNvPr>
          <p:cNvCxnSpPr>
            <a:cxnSpLocks/>
          </p:cNvCxnSpPr>
          <p:nvPr/>
        </p:nvCxnSpPr>
        <p:spPr>
          <a:xfrm>
            <a:off x="419100" y="5614410"/>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E2986C8-4C91-8C4C-8230-30CDD2B5B689}"/>
              </a:ext>
            </a:extLst>
          </p:cNvPr>
          <p:cNvSpPr txBox="1"/>
          <p:nvPr/>
        </p:nvSpPr>
        <p:spPr>
          <a:xfrm>
            <a:off x="436192" y="5668334"/>
            <a:ext cx="6077493" cy="123111"/>
          </a:xfrm>
          <a:prstGeom prst="rect">
            <a:avLst/>
          </a:prstGeom>
          <a:noFill/>
        </p:spPr>
        <p:txBody>
          <a:bodyPr wrap="square" lIns="0" tIns="0" rIns="0" bIns="0" rtlCol="0">
            <a:spAutoFit/>
          </a:bodyPr>
          <a:lstStyle/>
          <a:p>
            <a:r>
              <a:rPr lang="en-US" sz="800" dirty="0">
                <a:solidFill>
                  <a:srgbClr val="75787B"/>
                </a:solidFill>
              </a:rPr>
              <a:t>Insured Retirement Institute, Protection, Growth, and Income, 2018 </a:t>
            </a:r>
            <a:endParaRPr lang="en-US" sz="800" dirty="0">
              <a:solidFill>
                <a:srgbClr val="75787B"/>
              </a:solidFill>
              <a:latin typeface="Arial" pitchFamily="34" charset="0"/>
              <a:cs typeface="Arial" pitchFamily="34" charset="0"/>
            </a:endParaRPr>
          </a:p>
        </p:txBody>
      </p:sp>
      <p:graphicFrame>
        <p:nvGraphicFramePr>
          <p:cNvPr id="15" name="Chart 14">
            <a:extLst>
              <a:ext uri="{FF2B5EF4-FFF2-40B4-BE49-F238E27FC236}">
                <a16:creationId xmlns:a16="http://schemas.microsoft.com/office/drawing/2014/main" id="{816B0A0D-33A7-BD48-80A4-50DD10C50B69}"/>
              </a:ext>
            </a:extLst>
          </p:cNvPr>
          <p:cNvGraphicFramePr/>
          <p:nvPr>
            <p:extLst>
              <p:ext uri="{D42A27DB-BD31-4B8C-83A1-F6EECF244321}">
                <p14:modId xmlns:p14="http://schemas.microsoft.com/office/powerpoint/2010/main" val="1498010540"/>
              </p:ext>
            </p:extLst>
          </p:nvPr>
        </p:nvGraphicFramePr>
        <p:xfrm>
          <a:off x="503852" y="1147674"/>
          <a:ext cx="4316963" cy="4217456"/>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4">
            <a:extLst>
              <a:ext uri="{FF2B5EF4-FFF2-40B4-BE49-F238E27FC236}">
                <a16:creationId xmlns:a16="http://schemas.microsoft.com/office/drawing/2014/main" id="{31357CA4-7B74-C84F-9CEB-6D37ED09DB2A}"/>
              </a:ext>
            </a:extLst>
          </p:cNvPr>
          <p:cNvSpPr txBox="1">
            <a:spLocks/>
          </p:cNvSpPr>
          <p:nvPr/>
        </p:nvSpPr>
        <p:spPr>
          <a:xfrm>
            <a:off x="1602432" y="4410512"/>
            <a:ext cx="3256484" cy="1406077"/>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0"/>
              </a:spcBef>
            </a:pP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73% </a:t>
            </a:r>
            <a:r>
              <a:rPr lang="en-US" sz="1400" b="0" dirty="0">
                <a:solidFill>
                  <a:srgbClr val="75787B"/>
                </a:solidFill>
                <a:latin typeface="Segoe UI" panose="020B0502040204020203" pitchFamily="34" charset="0"/>
                <a:ea typeface="Segoe UI" panose="020B0502040204020203" pitchFamily="34" charset="0"/>
                <a:cs typeface="Segoe UI" panose="020B0502040204020203" pitchFamily="34" charset="0"/>
              </a:rPr>
              <a:t>concerned that income </a:t>
            </a: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won’t last </a:t>
            </a:r>
            <a:r>
              <a:rPr lang="en-US" sz="1400" b="0" dirty="0">
                <a:solidFill>
                  <a:srgbClr val="75787B"/>
                </a:solidFill>
                <a:latin typeface="Segoe UI" panose="020B0502040204020203" pitchFamily="34" charset="0"/>
                <a:ea typeface="Segoe UI" panose="020B0502040204020203" pitchFamily="34" charset="0"/>
                <a:cs typeface="Segoe UI" panose="020B0502040204020203" pitchFamily="34" charset="0"/>
              </a:rPr>
              <a:t>throughout retirement </a:t>
            </a:r>
          </a:p>
        </p:txBody>
      </p:sp>
      <p:graphicFrame>
        <p:nvGraphicFramePr>
          <p:cNvPr id="12" name="Chart 11">
            <a:extLst>
              <a:ext uri="{FF2B5EF4-FFF2-40B4-BE49-F238E27FC236}">
                <a16:creationId xmlns:a16="http://schemas.microsoft.com/office/drawing/2014/main" id="{AE787588-07F4-9342-9041-23BFC452E0D3}"/>
              </a:ext>
            </a:extLst>
          </p:cNvPr>
          <p:cNvGraphicFramePr/>
          <p:nvPr>
            <p:extLst>
              <p:ext uri="{D42A27DB-BD31-4B8C-83A1-F6EECF244321}">
                <p14:modId xmlns:p14="http://schemas.microsoft.com/office/powerpoint/2010/main" val="3480577737"/>
              </p:ext>
            </p:extLst>
          </p:nvPr>
        </p:nvGraphicFramePr>
        <p:xfrm>
          <a:off x="4156690" y="1093751"/>
          <a:ext cx="4316963" cy="4217456"/>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Placeholder 4">
            <a:extLst>
              <a:ext uri="{FF2B5EF4-FFF2-40B4-BE49-F238E27FC236}">
                <a16:creationId xmlns:a16="http://schemas.microsoft.com/office/drawing/2014/main" id="{3082E4DB-D6F2-A54D-8226-25AD3E8A1027}"/>
              </a:ext>
            </a:extLst>
          </p:cNvPr>
          <p:cNvSpPr txBox="1">
            <a:spLocks/>
          </p:cNvSpPr>
          <p:nvPr/>
        </p:nvSpPr>
        <p:spPr>
          <a:xfrm>
            <a:off x="5280336" y="4406741"/>
            <a:ext cx="3256484" cy="1406077"/>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0"/>
              </a:spcBef>
            </a:pP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55% </a:t>
            </a:r>
            <a:r>
              <a:rPr lang="en-US" sz="1400" b="0" dirty="0">
                <a:solidFill>
                  <a:srgbClr val="75787B"/>
                </a:solidFill>
                <a:latin typeface="Segoe UI" panose="020B0502040204020203" pitchFamily="34" charset="0"/>
                <a:ea typeface="Segoe UI" panose="020B0502040204020203" pitchFamily="34" charset="0"/>
                <a:cs typeface="Segoe UI" panose="020B0502040204020203" pitchFamily="34" charset="0"/>
              </a:rPr>
              <a:t>believe investment risk is necessary for </a:t>
            </a: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financial success</a:t>
            </a:r>
          </a:p>
        </p:txBody>
      </p:sp>
    </p:spTree>
    <p:extLst>
      <p:ext uri="{BB962C8B-B14F-4D97-AF65-F5344CB8AC3E}">
        <p14:creationId xmlns:p14="http://schemas.microsoft.com/office/powerpoint/2010/main" val="7432649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22633" y="6371406"/>
            <a:ext cx="311806" cy="165752"/>
          </a:xfrm>
        </p:spPr>
        <p:txBody>
          <a:bodyPr/>
          <a:lstStyle/>
          <a:p>
            <a:fld id="{2C7AFF3D-0B71-614B-ACB6-7F45BDA6A838}" type="slidenum">
              <a:rPr lang="en-US" smtClean="0">
                <a:latin typeface="Segoe UI" panose="020B0502040204020203" pitchFamily="34" charset="0"/>
              </a:rPr>
              <a:pPr/>
              <a:t>11</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91174" y="6360082"/>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1" y="381000"/>
            <a:ext cx="5596560"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Reliability of Guaranteed Income</a:t>
            </a:r>
          </a:p>
        </p:txBody>
      </p:sp>
      <p:cxnSp>
        <p:nvCxnSpPr>
          <p:cNvPr id="43" name="Straight Connector 42">
            <a:extLst>
              <a:ext uri="{FF2B5EF4-FFF2-40B4-BE49-F238E27FC236}">
                <a16:creationId xmlns:a16="http://schemas.microsoft.com/office/drawing/2014/main" id="{7AFB0420-5CD8-3043-9CFE-2C917C960255}"/>
              </a:ext>
            </a:extLst>
          </p:cNvPr>
          <p:cNvCxnSpPr>
            <a:cxnSpLocks/>
          </p:cNvCxnSpPr>
          <p:nvPr/>
        </p:nvCxnSpPr>
        <p:spPr>
          <a:xfrm>
            <a:off x="419100" y="2139416"/>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DBF1986-E741-784A-A1CF-BD318E2C4D89}"/>
              </a:ext>
            </a:extLst>
          </p:cNvPr>
          <p:cNvCxnSpPr>
            <a:cxnSpLocks/>
          </p:cNvCxnSpPr>
          <p:nvPr/>
        </p:nvCxnSpPr>
        <p:spPr>
          <a:xfrm>
            <a:off x="419100" y="5614410"/>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E2986C8-4C91-8C4C-8230-30CDD2B5B689}"/>
              </a:ext>
            </a:extLst>
          </p:cNvPr>
          <p:cNvSpPr txBox="1"/>
          <p:nvPr/>
        </p:nvSpPr>
        <p:spPr>
          <a:xfrm>
            <a:off x="436192" y="5668334"/>
            <a:ext cx="6077493" cy="123111"/>
          </a:xfrm>
          <a:prstGeom prst="rect">
            <a:avLst/>
          </a:prstGeom>
          <a:noFill/>
        </p:spPr>
        <p:txBody>
          <a:bodyPr wrap="square" lIns="0" tIns="0" rIns="0" bIns="0" rtlCol="0">
            <a:spAutoFit/>
          </a:bodyPr>
          <a:lstStyle/>
          <a:p>
            <a:pPr>
              <a:defRPr/>
            </a:pPr>
            <a:r>
              <a:rPr lang="en-US" sz="800" dirty="0">
                <a:solidFill>
                  <a:schemeClr val="bg1">
                    <a:lumMod val="50000"/>
                  </a:schemeClr>
                </a:solidFill>
              </a:rPr>
              <a:t>Social Security Administration</a:t>
            </a:r>
            <a:r>
              <a:rPr lang="en-US" sz="800" kern="0" dirty="0">
                <a:solidFill>
                  <a:schemeClr val="bg1">
                    <a:lumMod val="50000"/>
                  </a:schemeClr>
                </a:solidFill>
                <a:cs typeface="ＭＳ Ｐゴシック" charset="0"/>
              </a:rPr>
              <a:t>, Fast Facts &amp; Figures About Social Security, September 2017.</a:t>
            </a:r>
          </a:p>
        </p:txBody>
      </p:sp>
      <p:graphicFrame>
        <p:nvGraphicFramePr>
          <p:cNvPr id="19" name="Chart 18">
            <a:extLst>
              <a:ext uri="{FF2B5EF4-FFF2-40B4-BE49-F238E27FC236}">
                <a16:creationId xmlns:a16="http://schemas.microsoft.com/office/drawing/2014/main" id="{C66B6539-662C-2446-9A9F-05EFA8C1745C}"/>
              </a:ext>
            </a:extLst>
          </p:cNvPr>
          <p:cNvGraphicFramePr/>
          <p:nvPr>
            <p:extLst>
              <p:ext uri="{D42A27DB-BD31-4B8C-83A1-F6EECF244321}">
                <p14:modId xmlns:p14="http://schemas.microsoft.com/office/powerpoint/2010/main" val="1521146526"/>
              </p:ext>
            </p:extLst>
          </p:nvPr>
        </p:nvGraphicFramePr>
        <p:xfrm>
          <a:off x="2075451" y="1691637"/>
          <a:ext cx="5316377" cy="3680463"/>
        </p:xfrm>
        <a:graphic>
          <a:graphicData uri="http://schemas.openxmlformats.org/drawingml/2006/chart">
            <c:chart xmlns:c="http://schemas.openxmlformats.org/drawingml/2006/chart" xmlns:r="http://schemas.openxmlformats.org/officeDocument/2006/relationships" r:id="rId3"/>
          </a:graphicData>
        </a:graphic>
      </p:graphicFrame>
      <p:cxnSp>
        <p:nvCxnSpPr>
          <p:cNvPr id="20" name="Straight Connector 19">
            <a:extLst>
              <a:ext uri="{FF2B5EF4-FFF2-40B4-BE49-F238E27FC236}">
                <a16:creationId xmlns:a16="http://schemas.microsoft.com/office/drawing/2014/main" id="{9162D456-ADAF-D948-A067-FD550CD6C7DD}"/>
              </a:ext>
            </a:extLst>
          </p:cNvPr>
          <p:cNvCxnSpPr>
            <a:cxnSpLocks/>
            <a:stCxn id="22" idx="6"/>
          </p:cNvCxnSpPr>
          <p:nvPr/>
        </p:nvCxnSpPr>
        <p:spPr>
          <a:xfrm flipH="1">
            <a:off x="5495794" y="3234364"/>
            <a:ext cx="1366585" cy="0"/>
          </a:xfrm>
          <a:prstGeom prst="line">
            <a:avLst/>
          </a:prstGeom>
          <a:ln w="9525">
            <a:solidFill>
              <a:srgbClr val="75787B"/>
            </a:solidFill>
            <a:prstDash val="sysDot"/>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22" name="Oval 21">
            <a:extLst>
              <a:ext uri="{FF2B5EF4-FFF2-40B4-BE49-F238E27FC236}">
                <a16:creationId xmlns:a16="http://schemas.microsoft.com/office/drawing/2014/main" id="{C72BEDF3-1FF4-8A4A-AB00-8FCDED21DE0D}"/>
              </a:ext>
            </a:extLst>
          </p:cNvPr>
          <p:cNvSpPr/>
          <p:nvPr/>
        </p:nvSpPr>
        <p:spPr>
          <a:xfrm flipV="1">
            <a:off x="6715205" y="3159681"/>
            <a:ext cx="147174" cy="149367"/>
          </a:xfrm>
          <a:prstGeom prst="ellipse">
            <a:avLst/>
          </a:prstGeom>
          <a:solidFill>
            <a:srgbClr val="73BFFE"/>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4">
            <a:extLst>
              <a:ext uri="{FF2B5EF4-FFF2-40B4-BE49-F238E27FC236}">
                <a16:creationId xmlns:a16="http://schemas.microsoft.com/office/drawing/2014/main" id="{9F2A31A2-743E-D745-BF49-5A9D4B08D850}"/>
              </a:ext>
            </a:extLst>
          </p:cNvPr>
          <p:cNvSpPr txBox="1">
            <a:spLocks/>
          </p:cNvSpPr>
          <p:nvPr/>
        </p:nvSpPr>
        <p:spPr>
          <a:xfrm>
            <a:off x="1090225" y="3896728"/>
            <a:ext cx="1367620" cy="54899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r">
              <a:lnSpc>
                <a:spcPct val="80000"/>
              </a:lnSpc>
              <a:spcBef>
                <a:spcPts val="0"/>
              </a:spcBef>
            </a:pP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Income from </a:t>
            </a:r>
            <a:b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b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Assets</a:t>
            </a:r>
          </a:p>
          <a:p>
            <a:pPr algn="r">
              <a:lnSpc>
                <a:spcPct val="80000"/>
              </a:lnSpc>
              <a:spcBef>
                <a:spcPts val="0"/>
              </a:spcBef>
            </a:pPr>
            <a:r>
              <a:rPr lang="en-US" sz="1400" b="0" dirty="0">
                <a:solidFill>
                  <a:srgbClr val="75787B"/>
                </a:solidFill>
                <a:latin typeface="Segoe UI" panose="020B0502040204020203" pitchFamily="34" charset="0"/>
                <a:ea typeface="Segoe UI" panose="020B0502040204020203" pitchFamily="34" charset="0"/>
                <a:cs typeface="Segoe UI" panose="020B0502040204020203" pitchFamily="34" charset="0"/>
              </a:rPr>
              <a:t>9%</a:t>
            </a:r>
          </a:p>
        </p:txBody>
      </p:sp>
      <p:sp>
        <p:nvSpPr>
          <p:cNvPr id="25" name="Text Placeholder 4">
            <a:extLst>
              <a:ext uri="{FF2B5EF4-FFF2-40B4-BE49-F238E27FC236}">
                <a16:creationId xmlns:a16="http://schemas.microsoft.com/office/drawing/2014/main" id="{15A32CDE-0F07-0B43-A5AC-010B6E0D5313}"/>
              </a:ext>
            </a:extLst>
          </p:cNvPr>
          <p:cNvSpPr txBox="1">
            <a:spLocks/>
          </p:cNvSpPr>
          <p:nvPr/>
        </p:nvSpPr>
        <p:spPr>
          <a:xfrm>
            <a:off x="6867387" y="3110063"/>
            <a:ext cx="1220993" cy="54899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80000"/>
              </a:lnSpc>
              <a:spcBef>
                <a:spcPts val="0"/>
              </a:spcBef>
            </a:pP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Social Security</a:t>
            </a:r>
          </a:p>
          <a:p>
            <a:pPr>
              <a:lnSpc>
                <a:spcPct val="80000"/>
              </a:lnSpc>
              <a:spcBef>
                <a:spcPts val="0"/>
              </a:spcBef>
            </a:pPr>
            <a:r>
              <a:rPr lang="en-US" sz="1400" b="0" dirty="0">
                <a:solidFill>
                  <a:srgbClr val="75787B"/>
                </a:solidFill>
                <a:latin typeface="Segoe UI" panose="020B0502040204020203" pitchFamily="34" charset="0"/>
                <a:ea typeface="Segoe UI" panose="020B0502040204020203" pitchFamily="34" charset="0"/>
                <a:cs typeface="Segoe UI" panose="020B0502040204020203" pitchFamily="34" charset="0"/>
              </a:rPr>
              <a:t>33%</a:t>
            </a:r>
          </a:p>
        </p:txBody>
      </p:sp>
      <p:cxnSp>
        <p:nvCxnSpPr>
          <p:cNvPr id="26" name="Straight Connector 25">
            <a:extLst>
              <a:ext uri="{FF2B5EF4-FFF2-40B4-BE49-F238E27FC236}">
                <a16:creationId xmlns:a16="http://schemas.microsoft.com/office/drawing/2014/main" id="{1D114C03-0C99-7441-A770-736E1121E82E}"/>
              </a:ext>
            </a:extLst>
          </p:cNvPr>
          <p:cNvCxnSpPr>
            <a:cxnSpLocks/>
            <a:stCxn id="27" idx="2"/>
          </p:cNvCxnSpPr>
          <p:nvPr/>
        </p:nvCxnSpPr>
        <p:spPr>
          <a:xfrm flipH="1">
            <a:off x="5536051" y="4685534"/>
            <a:ext cx="1181715" cy="0"/>
          </a:xfrm>
          <a:prstGeom prst="line">
            <a:avLst/>
          </a:prstGeom>
          <a:ln w="9525">
            <a:solidFill>
              <a:schemeClr val="bg2">
                <a:lumMod val="75000"/>
              </a:schemeClr>
            </a:solidFill>
            <a:prstDash val="sysDot"/>
            <a:headEnd type="none"/>
            <a:tailEnd type="none" w="sm" len="sm"/>
          </a:ln>
          <a:effectLst/>
        </p:spPr>
        <p:style>
          <a:lnRef idx="2">
            <a:schemeClr val="accent1"/>
          </a:lnRef>
          <a:fillRef idx="0">
            <a:schemeClr val="accent1"/>
          </a:fillRef>
          <a:effectRef idx="1">
            <a:schemeClr val="accent1"/>
          </a:effectRef>
          <a:fontRef idx="minor">
            <a:schemeClr val="tx1"/>
          </a:fontRef>
        </p:style>
      </p:cxnSp>
      <p:sp>
        <p:nvSpPr>
          <p:cNvPr id="27" name="Oval 26">
            <a:extLst>
              <a:ext uri="{FF2B5EF4-FFF2-40B4-BE49-F238E27FC236}">
                <a16:creationId xmlns:a16="http://schemas.microsoft.com/office/drawing/2014/main" id="{0C3A8327-3378-104D-8005-2DD75311499B}"/>
              </a:ext>
            </a:extLst>
          </p:cNvPr>
          <p:cNvSpPr/>
          <p:nvPr/>
        </p:nvSpPr>
        <p:spPr>
          <a:xfrm flipV="1">
            <a:off x="6717766" y="4610851"/>
            <a:ext cx="149414" cy="149367"/>
          </a:xfrm>
          <a:prstGeom prst="ellipse">
            <a:avLst/>
          </a:prstGeom>
          <a:solidFill>
            <a:srgbClr val="002577"/>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 Placeholder 4">
            <a:extLst>
              <a:ext uri="{FF2B5EF4-FFF2-40B4-BE49-F238E27FC236}">
                <a16:creationId xmlns:a16="http://schemas.microsoft.com/office/drawing/2014/main" id="{67AA0C54-FE48-754D-87E6-DD3A73EA8B13}"/>
              </a:ext>
            </a:extLst>
          </p:cNvPr>
          <p:cNvSpPr txBox="1">
            <a:spLocks/>
          </p:cNvSpPr>
          <p:nvPr/>
        </p:nvSpPr>
        <p:spPr>
          <a:xfrm>
            <a:off x="6890052" y="4566491"/>
            <a:ext cx="1355628" cy="528668"/>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80000"/>
              </a:lnSpc>
              <a:spcBef>
                <a:spcPts val="0"/>
              </a:spcBef>
            </a:pP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Employment Earnings</a:t>
            </a:r>
          </a:p>
          <a:p>
            <a:pPr>
              <a:lnSpc>
                <a:spcPct val="80000"/>
              </a:lnSpc>
              <a:spcBef>
                <a:spcPts val="0"/>
              </a:spcBef>
            </a:pPr>
            <a:r>
              <a:rPr lang="en-US" sz="1400" b="0" dirty="0">
                <a:solidFill>
                  <a:srgbClr val="75787B"/>
                </a:solidFill>
                <a:latin typeface="Segoe UI" panose="020B0502040204020203" pitchFamily="34" charset="0"/>
                <a:ea typeface="Segoe UI" panose="020B0502040204020203" pitchFamily="34" charset="0"/>
                <a:cs typeface="Segoe UI" panose="020B0502040204020203" pitchFamily="34" charset="0"/>
              </a:rPr>
              <a:t>34%</a:t>
            </a:r>
          </a:p>
        </p:txBody>
      </p:sp>
      <p:cxnSp>
        <p:nvCxnSpPr>
          <p:cNvPr id="29" name="Straight Connector 28">
            <a:extLst>
              <a:ext uri="{FF2B5EF4-FFF2-40B4-BE49-F238E27FC236}">
                <a16:creationId xmlns:a16="http://schemas.microsoft.com/office/drawing/2014/main" id="{FF379498-BFC3-5E49-B2A3-C4B6B28099CF}"/>
              </a:ext>
            </a:extLst>
          </p:cNvPr>
          <p:cNvCxnSpPr>
            <a:cxnSpLocks/>
            <a:stCxn id="23" idx="2"/>
          </p:cNvCxnSpPr>
          <p:nvPr/>
        </p:nvCxnSpPr>
        <p:spPr>
          <a:xfrm>
            <a:off x="2501952" y="4055509"/>
            <a:ext cx="1084529" cy="0"/>
          </a:xfrm>
          <a:prstGeom prst="line">
            <a:avLst/>
          </a:prstGeom>
          <a:ln w="9525" cmpd="sng">
            <a:solidFill>
              <a:schemeClr val="bg2">
                <a:lumMod val="75000"/>
              </a:schemeClr>
            </a:solidFill>
            <a:prstDash val="sysDot"/>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23" name="Oval 22">
            <a:extLst>
              <a:ext uri="{FF2B5EF4-FFF2-40B4-BE49-F238E27FC236}">
                <a16:creationId xmlns:a16="http://schemas.microsoft.com/office/drawing/2014/main" id="{F5327799-F914-F84E-A5F2-5BF313F2C948}"/>
              </a:ext>
            </a:extLst>
          </p:cNvPr>
          <p:cNvSpPr/>
          <p:nvPr/>
        </p:nvSpPr>
        <p:spPr>
          <a:xfrm flipV="1">
            <a:off x="2501952" y="3988105"/>
            <a:ext cx="136143" cy="134808"/>
          </a:xfrm>
          <a:prstGeom prst="ellipse">
            <a:avLst/>
          </a:prstGeom>
          <a:solidFill>
            <a:schemeClr val="bg1">
              <a:lumMod val="5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06246A2C-7C31-BD46-93D3-C88D7FBAC953}"/>
              </a:ext>
            </a:extLst>
          </p:cNvPr>
          <p:cNvSpPr/>
          <p:nvPr/>
        </p:nvSpPr>
        <p:spPr>
          <a:xfrm flipV="1">
            <a:off x="3498035" y="3993295"/>
            <a:ext cx="110941" cy="112594"/>
          </a:xfrm>
          <a:prstGeom prst="ellipse">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p>
        </p:txBody>
      </p:sp>
      <p:sp>
        <p:nvSpPr>
          <p:cNvPr id="53" name="Text Placeholder 4">
            <a:extLst>
              <a:ext uri="{FF2B5EF4-FFF2-40B4-BE49-F238E27FC236}">
                <a16:creationId xmlns:a16="http://schemas.microsoft.com/office/drawing/2014/main" id="{36B479A8-1AA8-5B4A-85ED-8A88B52AF803}"/>
              </a:ext>
            </a:extLst>
          </p:cNvPr>
          <p:cNvSpPr txBox="1">
            <a:spLocks/>
          </p:cNvSpPr>
          <p:nvPr/>
        </p:nvSpPr>
        <p:spPr>
          <a:xfrm>
            <a:off x="1090225" y="2514600"/>
            <a:ext cx="1367620" cy="54899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r">
              <a:lnSpc>
                <a:spcPct val="80000"/>
              </a:lnSpc>
              <a:spcBef>
                <a:spcPts val="0"/>
              </a:spcBef>
            </a:pP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Other</a:t>
            </a:r>
          </a:p>
          <a:p>
            <a:pPr algn="r">
              <a:lnSpc>
                <a:spcPct val="80000"/>
              </a:lnSpc>
              <a:spcBef>
                <a:spcPts val="0"/>
              </a:spcBef>
            </a:pPr>
            <a:r>
              <a:rPr lang="en-US" sz="1400" b="0" dirty="0">
                <a:solidFill>
                  <a:srgbClr val="75787B"/>
                </a:solidFill>
                <a:latin typeface="Segoe UI" panose="020B0502040204020203" pitchFamily="34" charset="0"/>
                <a:ea typeface="Segoe UI" panose="020B0502040204020203" pitchFamily="34" charset="0"/>
                <a:cs typeface="Segoe UI" panose="020B0502040204020203" pitchFamily="34" charset="0"/>
              </a:rPr>
              <a:t>4%</a:t>
            </a:r>
          </a:p>
        </p:txBody>
      </p:sp>
      <p:cxnSp>
        <p:nvCxnSpPr>
          <p:cNvPr id="56" name="Straight Connector 55">
            <a:extLst>
              <a:ext uri="{FF2B5EF4-FFF2-40B4-BE49-F238E27FC236}">
                <a16:creationId xmlns:a16="http://schemas.microsoft.com/office/drawing/2014/main" id="{4BE8E368-AED1-794C-A14B-A016F3E823B8}"/>
              </a:ext>
            </a:extLst>
          </p:cNvPr>
          <p:cNvCxnSpPr>
            <a:cxnSpLocks/>
          </p:cNvCxnSpPr>
          <p:nvPr/>
        </p:nvCxnSpPr>
        <p:spPr>
          <a:xfrm>
            <a:off x="2589653" y="2671055"/>
            <a:ext cx="1943967" cy="1918"/>
          </a:xfrm>
          <a:prstGeom prst="line">
            <a:avLst/>
          </a:prstGeom>
          <a:ln w="9525">
            <a:solidFill>
              <a:schemeClr val="bg2">
                <a:lumMod val="75000"/>
              </a:schemeClr>
            </a:solidFill>
            <a:prstDash val="sysDot"/>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54" name="Oval 53">
            <a:extLst>
              <a:ext uri="{FF2B5EF4-FFF2-40B4-BE49-F238E27FC236}">
                <a16:creationId xmlns:a16="http://schemas.microsoft.com/office/drawing/2014/main" id="{3AA0FC5E-2543-8344-965E-5D4214FBFD24}"/>
              </a:ext>
            </a:extLst>
          </p:cNvPr>
          <p:cNvSpPr/>
          <p:nvPr/>
        </p:nvSpPr>
        <p:spPr>
          <a:xfrm flipV="1">
            <a:off x="2501952" y="2605977"/>
            <a:ext cx="136143" cy="134808"/>
          </a:xfrm>
          <a:prstGeom prst="ellipse">
            <a:avLst/>
          </a:prstGeom>
          <a:solidFill>
            <a:srgbClr val="385723"/>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 Placeholder 4">
            <a:extLst>
              <a:ext uri="{FF2B5EF4-FFF2-40B4-BE49-F238E27FC236}">
                <a16:creationId xmlns:a16="http://schemas.microsoft.com/office/drawing/2014/main" id="{2BE16265-3ACF-B64A-AE41-4DF33CD4DF51}"/>
              </a:ext>
            </a:extLst>
          </p:cNvPr>
          <p:cNvSpPr txBox="1">
            <a:spLocks/>
          </p:cNvSpPr>
          <p:nvPr/>
        </p:nvSpPr>
        <p:spPr>
          <a:xfrm>
            <a:off x="1094925" y="3184805"/>
            <a:ext cx="1367620" cy="54899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r">
              <a:lnSpc>
                <a:spcPct val="80000"/>
              </a:lnSpc>
              <a:spcBef>
                <a:spcPts val="0"/>
              </a:spcBef>
            </a:pP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Pension and </a:t>
            </a:r>
          </a:p>
          <a:p>
            <a:pPr algn="r">
              <a:lnSpc>
                <a:spcPct val="80000"/>
              </a:lnSpc>
              <a:spcBef>
                <a:spcPts val="0"/>
              </a:spcBef>
            </a:pP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Annuity</a:t>
            </a:r>
          </a:p>
          <a:p>
            <a:pPr algn="r">
              <a:lnSpc>
                <a:spcPct val="80000"/>
              </a:lnSpc>
              <a:spcBef>
                <a:spcPts val="0"/>
              </a:spcBef>
            </a:pPr>
            <a:r>
              <a:rPr lang="en-US" sz="1400" b="0" dirty="0">
                <a:solidFill>
                  <a:srgbClr val="75787B"/>
                </a:solidFill>
                <a:latin typeface="Segoe UI" panose="020B0502040204020203" pitchFamily="34" charset="0"/>
                <a:ea typeface="Segoe UI" panose="020B0502040204020203" pitchFamily="34" charset="0"/>
                <a:cs typeface="Segoe UI" panose="020B0502040204020203" pitchFamily="34" charset="0"/>
              </a:rPr>
              <a:t>20%</a:t>
            </a:r>
          </a:p>
        </p:txBody>
      </p:sp>
      <p:cxnSp>
        <p:nvCxnSpPr>
          <p:cNvPr id="60" name="Straight Connector 59">
            <a:extLst>
              <a:ext uri="{FF2B5EF4-FFF2-40B4-BE49-F238E27FC236}">
                <a16:creationId xmlns:a16="http://schemas.microsoft.com/office/drawing/2014/main" id="{C7013605-A68E-3A48-AC6F-513CB9DA1B77}"/>
              </a:ext>
            </a:extLst>
          </p:cNvPr>
          <p:cNvCxnSpPr>
            <a:cxnSpLocks/>
            <a:stCxn id="62" idx="6"/>
          </p:cNvCxnSpPr>
          <p:nvPr/>
        </p:nvCxnSpPr>
        <p:spPr>
          <a:xfrm>
            <a:off x="2642795" y="3343586"/>
            <a:ext cx="1127716" cy="0"/>
          </a:xfrm>
          <a:prstGeom prst="line">
            <a:avLst/>
          </a:prstGeom>
          <a:ln w="9525">
            <a:solidFill>
              <a:schemeClr val="bg2">
                <a:lumMod val="75000"/>
              </a:schemeClr>
            </a:solidFill>
            <a:prstDash val="sysDot"/>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62" name="Oval 61">
            <a:extLst>
              <a:ext uri="{FF2B5EF4-FFF2-40B4-BE49-F238E27FC236}">
                <a16:creationId xmlns:a16="http://schemas.microsoft.com/office/drawing/2014/main" id="{9902F7A1-C858-7340-8413-8D21B6CBF397}"/>
              </a:ext>
            </a:extLst>
          </p:cNvPr>
          <p:cNvSpPr/>
          <p:nvPr/>
        </p:nvSpPr>
        <p:spPr>
          <a:xfrm flipV="1">
            <a:off x="2506652" y="3276182"/>
            <a:ext cx="136143" cy="134808"/>
          </a:xfrm>
          <a:prstGeom prst="ellipse">
            <a:avLst/>
          </a:prstGeom>
          <a:solidFill>
            <a:srgbClr val="3369F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extBox 73">
            <a:extLst>
              <a:ext uri="{FF2B5EF4-FFF2-40B4-BE49-F238E27FC236}">
                <a16:creationId xmlns:a16="http://schemas.microsoft.com/office/drawing/2014/main" id="{F46D561D-7C4A-D045-B996-D5365C810F27}"/>
              </a:ext>
            </a:extLst>
          </p:cNvPr>
          <p:cNvSpPr txBox="1"/>
          <p:nvPr/>
        </p:nvSpPr>
        <p:spPr>
          <a:xfrm>
            <a:off x="4408865" y="2518913"/>
            <a:ext cx="425570" cy="470898"/>
          </a:xfrm>
          <a:prstGeom prst="rect">
            <a:avLst/>
          </a:prstGeom>
          <a:noFill/>
        </p:spPr>
        <p:txBody>
          <a:bodyPr wrap="square" rtlCol="0">
            <a:spAutoFit/>
          </a:bodyPr>
          <a:lstStyle/>
          <a:p>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4%</a:t>
            </a:r>
          </a:p>
          <a:p>
            <a:endParaRPr lang="en-US" dirty="0"/>
          </a:p>
        </p:txBody>
      </p:sp>
      <p:sp>
        <p:nvSpPr>
          <p:cNvPr id="75" name="TextBox 74">
            <a:extLst>
              <a:ext uri="{FF2B5EF4-FFF2-40B4-BE49-F238E27FC236}">
                <a16:creationId xmlns:a16="http://schemas.microsoft.com/office/drawing/2014/main" id="{E0D7B5DA-7881-7743-870E-1B229E23AF47}"/>
              </a:ext>
            </a:extLst>
          </p:cNvPr>
          <p:cNvSpPr txBox="1"/>
          <p:nvPr/>
        </p:nvSpPr>
        <p:spPr>
          <a:xfrm>
            <a:off x="5096102" y="3096884"/>
            <a:ext cx="549215" cy="470898"/>
          </a:xfrm>
          <a:prstGeom prst="rect">
            <a:avLst/>
          </a:prstGeom>
          <a:noFill/>
        </p:spPr>
        <p:txBody>
          <a:bodyPr wrap="square" rtlCol="0">
            <a:spAutoFit/>
          </a:bodyPr>
          <a:lstStyle/>
          <a:p>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33%</a:t>
            </a:r>
          </a:p>
          <a:p>
            <a:endParaRPr lang="en-US" dirty="0"/>
          </a:p>
        </p:txBody>
      </p:sp>
      <p:sp>
        <p:nvSpPr>
          <p:cNvPr id="76" name="TextBox 74">
            <a:extLst>
              <a:ext uri="{FF2B5EF4-FFF2-40B4-BE49-F238E27FC236}">
                <a16:creationId xmlns:a16="http://schemas.microsoft.com/office/drawing/2014/main" id="{FF8DE741-0B5A-A04C-922E-9094A1BB8DDE}"/>
              </a:ext>
            </a:extLst>
          </p:cNvPr>
          <p:cNvSpPr txBox="1"/>
          <p:nvPr/>
        </p:nvSpPr>
        <p:spPr>
          <a:xfrm>
            <a:off x="3570665" y="3889415"/>
            <a:ext cx="549215" cy="44627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9%</a:t>
            </a:r>
          </a:p>
          <a:p>
            <a:endParaRPr lang="en-US" dirty="0"/>
          </a:p>
        </p:txBody>
      </p:sp>
      <p:sp>
        <p:nvSpPr>
          <p:cNvPr id="77" name="TextBox 74">
            <a:extLst>
              <a:ext uri="{FF2B5EF4-FFF2-40B4-BE49-F238E27FC236}">
                <a16:creationId xmlns:a16="http://schemas.microsoft.com/office/drawing/2014/main" id="{FF8DE741-0B5A-A04C-922E-9094A1BB8DDE}"/>
              </a:ext>
            </a:extLst>
          </p:cNvPr>
          <p:cNvSpPr txBox="1"/>
          <p:nvPr/>
        </p:nvSpPr>
        <p:spPr>
          <a:xfrm>
            <a:off x="3714439" y="3182049"/>
            <a:ext cx="549215" cy="44627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20%</a:t>
            </a:r>
          </a:p>
          <a:p>
            <a:endParaRPr lang="en-US" dirty="0"/>
          </a:p>
        </p:txBody>
      </p:sp>
      <p:sp>
        <p:nvSpPr>
          <p:cNvPr id="83" name="TextBox 82">
            <a:extLst>
              <a:ext uri="{FF2B5EF4-FFF2-40B4-BE49-F238E27FC236}">
                <a16:creationId xmlns:a16="http://schemas.microsoft.com/office/drawing/2014/main" id="{C7B8DC0F-CD42-9A45-A71E-947544F6DD77}"/>
              </a:ext>
            </a:extLst>
          </p:cNvPr>
          <p:cNvSpPr txBox="1"/>
          <p:nvPr/>
        </p:nvSpPr>
        <p:spPr>
          <a:xfrm>
            <a:off x="353432" y="774674"/>
            <a:ext cx="7160233" cy="307777"/>
          </a:xfrm>
          <a:prstGeom prst="rect">
            <a:avLst/>
          </a:prstGeom>
          <a:noFill/>
        </p:spPr>
        <p:txBody>
          <a:bodyPr wrap="square" rtlCol="0">
            <a:spAutoFit/>
          </a:bodyPr>
          <a:lstStyle/>
          <a:p>
            <a:r>
              <a:rPr lang="en-US" sz="1400" dirty="0">
                <a:solidFill>
                  <a:srgbClr val="3369FF"/>
                </a:solidFill>
                <a:latin typeface="Segoe UI" panose="020B0502040204020203" pitchFamily="34" charset="0"/>
                <a:ea typeface="Segoe UI" panose="020B0502040204020203" pitchFamily="34" charset="0"/>
                <a:cs typeface="Segoe UI" panose="020B0502040204020203" pitchFamily="34" charset="0"/>
              </a:rPr>
              <a:t>Where will my money come from?</a:t>
            </a:r>
          </a:p>
        </p:txBody>
      </p:sp>
      <p:sp>
        <p:nvSpPr>
          <p:cNvPr id="31" name="TextBox 30">
            <a:extLst>
              <a:ext uri="{FF2B5EF4-FFF2-40B4-BE49-F238E27FC236}">
                <a16:creationId xmlns:a16="http://schemas.microsoft.com/office/drawing/2014/main" id="{4165B684-A575-B24D-B82A-EBBE37F6F334}"/>
              </a:ext>
            </a:extLst>
          </p:cNvPr>
          <p:cNvSpPr txBox="1"/>
          <p:nvPr/>
        </p:nvSpPr>
        <p:spPr>
          <a:xfrm>
            <a:off x="352083" y="1792922"/>
            <a:ext cx="7160233" cy="307777"/>
          </a:xfrm>
          <a:prstGeom prst="rect">
            <a:avLst/>
          </a:prstGeom>
          <a:noFill/>
        </p:spPr>
        <p:txBody>
          <a:bodyPr wrap="square" rtlCol="0">
            <a:spAutoFit/>
          </a:bodyPr>
          <a:lstStyle/>
          <a:p>
            <a:r>
              <a:rPr lang="en-US" sz="1400" b="1" dirty="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rPr>
              <a:t>Sources of Income for the 65+ Population</a:t>
            </a:r>
          </a:p>
        </p:txBody>
      </p:sp>
    </p:spTree>
    <p:extLst>
      <p:ext uri="{BB962C8B-B14F-4D97-AF65-F5344CB8AC3E}">
        <p14:creationId xmlns:p14="http://schemas.microsoft.com/office/powerpoint/2010/main" val="40534984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22633" y="6371406"/>
            <a:ext cx="311806" cy="165752"/>
          </a:xfrm>
        </p:spPr>
        <p:txBody>
          <a:bodyPr/>
          <a:lstStyle/>
          <a:p>
            <a:fld id="{2C7AFF3D-0B71-614B-ACB6-7F45BDA6A838}" type="slidenum">
              <a:rPr lang="en-US" smtClean="0">
                <a:latin typeface="Segoe UI" panose="020B0502040204020203" pitchFamily="34" charset="0"/>
              </a:rPr>
              <a:pPr/>
              <a:t>12</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91174" y="6360082"/>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1" y="381000"/>
            <a:ext cx="5596560"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Longevity</a:t>
            </a:r>
          </a:p>
        </p:txBody>
      </p:sp>
      <p:cxnSp>
        <p:nvCxnSpPr>
          <p:cNvPr id="44" name="Straight Connector 43">
            <a:extLst>
              <a:ext uri="{FF2B5EF4-FFF2-40B4-BE49-F238E27FC236}">
                <a16:creationId xmlns:a16="http://schemas.microsoft.com/office/drawing/2014/main" id="{FDBF1986-E741-784A-A1CF-BD318E2C4D89}"/>
              </a:ext>
            </a:extLst>
          </p:cNvPr>
          <p:cNvCxnSpPr>
            <a:cxnSpLocks/>
          </p:cNvCxnSpPr>
          <p:nvPr/>
        </p:nvCxnSpPr>
        <p:spPr>
          <a:xfrm>
            <a:off x="419100" y="5614410"/>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E2986C8-4C91-8C4C-8230-30CDD2B5B689}"/>
              </a:ext>
            </a:extLst>
          </p:cNvPr>
          <p:cNvSpPr txBox="1"/>
          <p:nvPr/>
        </p:nvSpPr>
        <p:spPr>
          <a:xfrm>
            <a:off x="436192" y="5668334"/>
            <a:ext cx="6077493" cy="123111"/>
          </a:xfrm>
          <a:prstGeom prst="rect">
            <a:avLst/>
          </a:prstGeom>
          <a:noFill/>
        </p:spPr>
        <p:txBody>
          <a:bodyPr wrap="square" lIns="0" tIns="0" rIns="0" bIns="0" rtlCol="0">
            <a:spAutoFit/>
          </a:bodyPr>
          <a:lstStyle/>
          <a:p>
            <a:pPr fontAlgn="base">
              <a:spcBef>
                <a:spcPct val="0"/>
              </a:spcBef>
              <a:spcAft>
                <a:spcPct val="0"/>
              </a:spcAft>
              <a:defRPr/>
            </a:pPr>
            <a:r>
              <a:rPr lang="en-US" altLang="en-US" sz="800" dirty="0">
                <a:solidFill>
                  <a:srgbClr val="75787B"/>
                </a:solidFill>
                <a:sym typeface="Century Gothic" pitchFamily="34" charset="0"/>
              </a:rPr>
              <a:t>Source: Society of Actuaries RP-2000</a:t>
            </a:r>
          </a:p>
        </p:txBody>
      </p:sp>
      <p:sp>
        <p:nvSpPr>
          <p:cNvPr id="83" name="TextBox 82">
            <a:extLst>
              <a:ext uri="{FF2B5EF4-FFF2-40B4-BE49-F238E27FC236}">
                <a16:creationId xmlns:a16="http://schemas.microsoft.com/office/drawing/2014/main" id="{C7B8DC0F-CD42-9A45-A71E-947544F6DD77}"/>
              </a:ext>
            </a:extLst>
          </p:cNvPr>
          <p:cNvSpPr txBox="1"/>
          <p:nvPr/>
        </p:nvSpPr>
        <p:spPr>
          <a:xfrm>
            <a:off x="886171" y="1537998"/>
            <a:ext cx="1197070" cy="646331"/>
          </a:xfrm>
          <a:prstGeom prst="rect">
            <a:avLst/>
          </a:prstGeom>
          <a:noFill/>
        </p:spPr>
        <p:txBody>
          <a:bodyPr wrap="square" rtlCol="0">
            <a:spAutoFit/>
          </a:bodyPr>
          <a:lstStyle/>
          <a:p>
            <a:r>
              <a:rPr lang="en-US" sz="1200" b="1" dirty="0">
                <a:solidFill>
                  <a:srgbClr val="75787B"/>
                </a:solidFill>
                <a:latin typeface="Segoe UI" panose="020B0502040204020203" pitchFamily="34" charset="0"/>
                <a:ea typeface="Segoe UI" panose="020B0502040204020203" pitchFamily="34" charset="0"/>
                <a:cs typeface="Segoe UI" panose="020B0502040204020203" pitchFamily="34" charset="0"/>
              </a:rPr>
              <a:t>Probability of one spouse surviving </a:t>
            </a:r>
            <a:r>
              <a:rPr lang="en-US" sz="1200" b="1"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a:t>
            </a:r>
          </a:p>
        </p:txBody>
      </p:sp>
      <p:graphicFrame>
        <p:nvGraphicFramePr>
          <p:cNvPr id="31" name="Chart 30">
            <a:extLst>
              <a:ext uri="{FF2B5EF4-FFF2-40B4-BE49-F238E27FC236}">
                <a16:creationId xmlns:a16="http://schemas.microsoft.com/office/drawing/2014/main" id="{155D7C5E-8AFB-554F-A1FC-CCC2A489E858}"/>
              </a:ext>
            </a:extLst>
          </p:cNvPr>
          <p:cNvGraphicFramePr/>
          <p:nvPr>
            <p:extLst>
              <p:ext uri="{D42A27DB-BD31-4B8C-83A1-F6EECF244321}">
                <p14:modId xmlns:p14="http://schemas.microsoft.com/office/powerpoint/2010/main" val="3528481163"/>
              </p:ext>
            </p:extLst>
          </p:nvPr>
        </p:nvGraphicFramePr>
        <p:xfrm>
          <a:off x="475090" y="2273081"/>
          <a:ext cx="11094058" cy="3094050"/>
        </p:xfrm>
        <a:graphic>
          <a:graphicData uri="http://schemas.openxmlformats.org/drawingml/2006/chart">
            <c:chart xmlns:c="http://schemas.openxmlformats.org/drawingml/2006/chart" xmlns:r="http://schemas.openxmlformats.org/officeDocument/2006/relationships" r:id="rId3"/>
          </a:graphicData>
        </a:graphic>
      </p:graphicFrame>
      <p:sp>
        <p:nvSpPr>
          <p:cNvPr id="32" name="TextBox 31">
            <a:extLst>
              <a:ext uri="{FF2B5EF4-FFF2-40B4-BE49-F238E27FC236}">
                <a16:creationId xmlns:a16="http://schemas.microsoft.com/office/drawing/2014/main" id="{93DB5514-3E6F-0647-A268-9CA9BFEF0765}"/>
              </a:ext>
            </a:extLst>
          </p:cNvPr>
          <p:cNvSpPr txBox="1"/>
          <p:nvPr/>
        </p:nvSpPr>
        <p:spPr>
          <a:xfrm>
            <a:off x="8242452" y="4855018"/>
            <a:ext cx="901547" cy="276999"/>
          </a:xfrm>
          <a:prstGeom prst="rect">
            <a:avLst/>
          </a:prstGeom>
          <a:solidFill>
            <a:schemeClr val="bg1"/>
          </a:solidFill>
        </p:spPr>
        <p:txBody>
          <a:bodyPr wrap="square" rtlCol="0">
            <a:spAutoFit/>
          </a:bodyPr>
          <a:lstStyle/>
          <a:p>
            <a:r>
              <a:rPr lang="en-US" sz="1200" b="1" dirty="0">
                <a:solidFill>
                  <a:srgbClr val="75787B"/>
                </a:solidFill>
                <a:latin typeface="Segoe UI" panose="020B0502040204020203" pitchFamily="34" charset="0"/>
                <a:ea typeface="Segoe UI" panose="020B0502040204020203" pitchFamily="34" charset="0"/>
                <a:cs typeface="Segoe UI" panose="020B0502040204020203" pitchFamily="34" charset="0"/>
              </a:rPr>
              <a:t>Age</a:t>
            </a:r>
            <a:endParaRPr lang="en-US" sz="1200" b="1"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9" name="Group 8">
            <a:extLst>
              <a:ext uri="{FF2B5EF4-FFF2-40B4-BE49-F238E27FC236}">
                <a16:creationId xmlns:a16="http://schemas.microsoft.com/office/drawing/2014/main" id="{FB2F065E-B37B-9941-BB14-08EFCB4625E5}"/>
              </a:ext>
            </a:extLst>
          </p:cNvPr>
          <p:cNvGrpSpPr/>
          <p:nvPr/>
        </p:nvGrpSpPr>
        <p:grpSpPr>
          <a:xfrm>
            <a:off x="1017767" y="2202511"/>
            <a:ext cx="7267492" cy="2816602"/>
            <a:chOff x="1017767" y="2202511"/>
            <a:chExt cx="7267492" cy="2816602"/>
          </a:xfrm>
        </p:grpSpPr>
        <p:cxnSp>
          <p:nvCxnSpPr>
            <p:cNvPr id="33" name="Straight Connector 32">
              <a:extLst>
                <a:ext uri="{FF2B5EF4-FFF2-40B4-BE49-F238E27FC236}">
                  <a16:creationId xmlns:a16="http://schemas.microsoft.com/office/drawing/2014/main" id="{C14217E3-4060-2541-975E-522EB7B232D4}"/>
                </a:ext>
              </a:extLst>
            </p:cNvPr>
            <p:cNvCxnSpPr>
              <a:cxnSpLocks/>
            </p:cNvCxnSpPr>
            <p:nvPr/>
          </p:nvCxnSpPr>
          <p:spPr>
            <a:xfrm>
              <a:off x="1017767" y="5019113"/>
              <a:ext cx="7267492" cy="0"/>
            </a:xfrm>
            <a:prstGeom prst="line">
              <a:avLst/>
            </a:prstGeom>
            <a:ln w="12700">
              <a:solidFill>
                <a:srgbClr val="002577"/>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01DBE20-8F16-B04A-9592-BCDB660926D4}"/>
                </a:ext>
              </a:extLst>
            </p:cNvPr>
            <p:cNvCxnSpPr>
              <a:cxnSpLocks/>
            </p:cNvCxnSpPr>
            <p:nvPr/>
          </p:nvCxnSpPr>
          <p:spPr>
            <a:xfrm flipV="1">
              <a:off x="1027044" y="2202511"/>
              <a:ext cx="0" cy="2814763"/>
            </a:xfrm>
            <a:prstGeom prst="line">
              <a:avLst/>
            </a:prstGeom>
            <a:ln w="12700">
              <a:solidFill>
                <a:srgbClr val="002577"/>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43242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22633" y="6371406"/>
            <a:ext cx="311806" cy="165752"/>
          </a:xfrm>
        </p:spPr>
        <p:txBody>
          <a:bodyPr/>
          <a:lstStyle/>
          <a:p>
            <a:fld id="{2C7AFF3D-0B71-614B-ACB6-7F45BDA6A838}" type="slidenum">
              <a:rPr lang="en-US" smtClean="0">
                <a:latin typeface="Segoe UI" panose="020B0502040204020203" pitchFamily="34" charset="0"/>
              </a:rPr>
              <a:pPr/>
              <a:t>13</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91174" y="6360082"/>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6087553"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How much longer will a 65 year old live?</a:t>
            </a:r>
          </a:p>
        </p:txBody>
      </p:sp>
      <p:cxnSp>
        <p:nvCxnSpPr>
          <p:cNvPr id="44" name="Straight Connector 43">
            <a:extLst>
              <a:ext uri="{FF2B5EF4-FFF2-40B4-BE49-F238E27FC236}">
                <a16:creationId xmlns:a16="http://schemas.microsoft.com/office/drawing/2014/main" id="{FDBF1986-E741-784A-A1CF-BD318E2C4D89}"/>
              </a:ext>
            </a:extLst>
          </p:cNvPr>
          <p:cNvCxnSpPr>
            <a:cxnSpLocks/>
          </p:cNvCxnSpPr>
          <p:nvPr/>
        </p:nvCxnSpPr>
        <p:spPr>
          <a:xfrm>
            <a:off x="419100" y="5410200"/>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E2986C8-4C91-8C4C-8230-30CDD2B5B689}"/>
              </a:ext>
            </a:extLst>
          </p:cNvPr>
          <p:cNvSpPr txBox="1"/>
          <p:nvPr/>
        </p:nvSpPr>
        <p:spPr>
          <a:xfrm>
            <a:off x="419100" y="5487285"/>
            <a:ext cx="6077493" cy="246221"/>
          </a:xfrm>
          <a:prstGeom prst="rect">
            <a:avLst/>
          </a:prstGeom>
          <a:noFill/>
        </p:spPr>
        <p:txBody>
          <a:bodyPr wrap="square" lIns="0" tIns="0" rIns="0" bIns="0" rtlCol="0">
            <a:spAutoFit/>
          </a:bodyPr>
          <a:lstStyle/>
          <a:p>
            <a:pPr>
              <a:defRPr/>
            </a:pPr>
            <a:r>
              <a:rPr lang="en-US" sz="800" kern="0" dirty="0">
                <a:solidFill>
                  <a:schemeClr val="bg1">
                    <a:lumMod val="50000"/>
                  </a:schemeClr>
                </a:solidFill>
                <a:ea typeface="ＭＳ Ｐゴシック" charset="0"/>
                <a:cs typeface="ＭＳ Ｐゴシック" charset="0"/>
              </a:rPr>
              <a:t>Chart: Social Security Administration, Period Life Table, </a:t>
            </a:r>
            <a:br>
              <a:rPr lang="en-US" sz="800" kern="0" dirty="0">
                <a:solidFill>
                  <a:schemeClr val="bg1">
                    <a:lumMod val="50000"/>
                  </a:schemeClr>
                </a:solidFill>
                <a:ea typeface="ＭＳ Ｐゴシック" charset="0"/>
                <a:cs typeface="ＭＳ Ｐゴシック" charset="0"/>
              </a:rPr>
            </a:br>
            <a:r>
              <a:rPr lang="en-US" sz="800" kern="0" dirty="0">
                <a:solidFill>
                  <a:schemeClr val="bg1">
                    <a:lumMod val="50000"/>
                  </a:schemeClr>
                </a:solidFill>
                <a:ea typeface="ＭＳ Ｐゴシック" charset="0"/>
                <a:cs typeface="ＭＳ Ｐゴシック" charset="0"/>
              </a:rPr>
              <a:t>2014 (published in 2017), J.P. Morgan Asset Management.</a:t>
            </a:r>
            <a:endParaRPr lang="en-GB" sz="800" kern="0" dirty="0">
              <a:solidFill>
                <a:schemeClr val="bg1">
                  <a:lumMod val="50000"/>
                </a:schemeClr>
              </a:solidFill>
              <a:ea typeface="ＭＳ Ｐゴシック" charset="0"/>
              <a:cs typeface="ＭＳ Ｐゴシック" charset="0"/>
            </a:endParaRPr>
          </a:p>
        </p:txBody>
      </p:sp>
      <p:grpSp>
        <p:nvGrpSpPr>
          <p:cNvPr id="64" name="Group 63">
            <a:extLst>
              <a:ext uri="{FF2B5EF4-FFF2-40B4-BE49-F238E27FC236}">
                <a16:creationId xmlns:a16="http://schemas.microsoft.com/office/drawing/2014/main" id="{F3E8CF6F-F7D6-0647-B9B6-A6AEB31E2347}"/>
              </a:ext>
            </a:extLst>
          </p:cNvPr>
          <p:cNvGrpSpPr/>
          <p:nvPr/>
        </p:nvGrpSpPr>
        <p:grpSpPr>
          <a:xfrm>
            <a:off x="181849" y="1537998"/>
            <a:ext cx="8962151" cy="3825446"/>
            <a:chOff x="181849" y="1537998"/>
            <a:chExt cx="8962151" cy="3825446"/>
          </a:xfrm>
        </p:grpSpPr>
        <p:sp>
          <p:nvSpPr>
            <p:cNvPr id="83" name="TextBox 82">
              <a:extLst>
                <a:ext uri="{FF2B5EF4-FFF2-40B4-BE49-F238E27FC236}">
                  <a16:creationId xmlns:a16="http://schemas.microsoft.com/office/drawing/2014/main" id="{C7B8DC0F-CD42-9A45-A71E-947544F6DD77}"/>
                </a:ext>
              </a:extLst>
            </p:cNvPr>
            <p:cNvSpPr txBox="1"/>
            <p:nvPr/>
          </p:nvSpPr>
          <p:spPr>
            <a:xfrm>
              <a:off x="886171" y="1537998"/>
              <a:ext cx="1197070" cy="461665"/>
            </a:xfrm>
            <a:prstGeom prst="rect">
              <a:avLst/>
            </a:prstGeom>
            <a:noFill/>
          </p:spPr>
          <p:txBody>
            <a:bodyPr wrap="square" rtlCol="0">
              <a:spAutoFit/>
            </a:bodyPr>
            <a:lstStyle/>
            <a:p>
              <a:r>
                <a:rPr lang="en-US" sz="1200" b="1" dirty="0">
                  <a:solidFill>
                    <a:srgbClr val="75787B"/>
                  </a:solidFill>
                  <a:latin typeface="Segoe UI" panose="020B0502040204020203" pitchFamily="34" charset="0"/>
                  <a:ea typeface="Segoe UI" panose="020B0502040204020203" pitchFamily="34" charset="0"/>
                  <a:cs typeface="Segoe UI" panose="020B0502040204020203" pitchFamily="34" charset="0"/>
                </a:rPr>
                <a:t>Probability </a:t>
              </a:r>
              <a:r>
                <a:rPr lang="en-US" sz="1200" b="1"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a:t>
              </a:r>
            </a:p>
          </p:txBody>
        </p:sp>
        <p:sp>
          <p:nvSpPr>
            <p:cNvPr id="32" name="TextBox 31">
              <a:extLst>
                <a:ext uri="{FF2B5EF4-FFF2-40B4-BE49-F238E27FC236}">
                  <a16:creationId xmlns:a16="http://schemas.microsoft.com/office/drawing/2014/main" id="{93DB5514-3E6F-0647-A268-9CA9BFEF0765}"/>
                </a:ext>
              </a:extLst>
            </p:cNvPr>
            <p:cNvSpPr txBox="1"/>
            <p:nvPr/>
          </p:nvSpPr>
          <p:spPr>
            <a:xfrm>
              <a:off x="8242453" y="4944470"/>
              <a:ext cx="901547" cy="276999"/>
            </a:xfrm>
            <a:prstGeom prst="rect">
              <a:avLst/>
            </a:prstGeom>
            <a:solidFill>
              <a:schemeClr val="bg1"/>
            </a:solidFill>
          </p:spPr>
          <p:txBody>
            <a:bodyPr wrap="square" rtlCol="0">
              <a:spAutoFit/>
            </a:bodyPr>
            <a:lstStyle/>
            <a:p>
              <a:r>
                <a:rPr lang="en-US" sz="1200" b="1" dirty="0">
                  <a:solidFill>
                    <a:srgbClr val="75787B"/>
                  </a:solidFill>
                  <a:latin typeface="Segoe UI" panose="020B0502040204020203" pitchFamily="34" charset="0"/>
                  <a:ea typeface="Segoe UI" panose="020B0502040204020203" pitchFamily="34" charset="0"/>
                  <a:cs typeface="Segoe UI" panose="020B0502040204020203" pitchFamily="34" charset="0"/>
                </a:rPr>
                <a:t>Age</a:t>
              </a:r>
              <a:endParaRPr lang="en-US" sz="1200" b="1"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5" name="TextBox 2">
              <a:extLst>
                <a:ext uri="{FF2B5EF4-FFF2-40B4-BE49-F238E27FC236}">
                  <a16:creationId xmlns:a16="http://schemas.microsoft.com/office/drawing/2014/main" id="{C92A115A-D838-2B43-B7F2-288DC096EFF1}"/>
                </a:ext>
              </a:extLst>
            </p:cNvPr>
            <p:cNvSpPr txBox="1"/>
            <p:nvPr/>
          </p:nvSpPr>
          <p:spPr>
            <a:xfrm>
              <a:off x="181849" y="2310575"/>
              <a:ext cx="602079" cy="2922851"/>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lvl="0" algn="r" defTabSz="913437">
                <a:spcBef>
                  <a:spcPts val="2600"/>
                </a:spcBef>
                <a:defRPr/>
              </a:pPr>
              <a:r>
                <a:rPr lang="en-US" dirty="0">
                  <a:solidFill>
                    <a:srgbClr val="75787B"/>
                  </a:solidFill>
                  <a:latin typeface="Segoe UI" panose="020B0502040204020203" pitchFamily="34" charset="0"/>
                </a:rPr>
                <a:t>100</a:t>
              </a:r>
            </a:p>
            <a:p>
              <a:pPr lvl="0" algn="r" defTabSz="913437">
                <a:spcBef>
                  <a:spcPts val="2600"/>
                </a:spcBef>
                <a:defRPr/>
              </a:pPr>
              <a:r>
                <a:rPr lang="en-US" kern="0" dirty="0">
                  <a:solidFill>
                    <a:srgbClr val="75787B"/>
                  </a:solidFill>
                  <a:latin typeface="Segoe UI" panose="020B0502040204020203" pitchFamily="34" charset="0"/>
                  <a:ea typeface="ＭＳ Ｐゴシック" charset="0"/>
                </a:rPr>
                <a:t>80</a:t>
              </a:r>
            </a:p>
            <a:p>
              <a:pPr lvl="0" algn="r" defTabSz="913437">
                <a:spcBef>
                  <a:spcPts val="2600"/>
                </a:spcBef>
                <a:defRPr/>
              </a:pPr>
              <a:r>
                <a:rPr lang="en-US" kern="0" dirty="0">
                  <a:solidFill>
                    <a:srgbClr val="75787B"/>
                  </a:solidFill>
                  <a:latin typeface="Segoe UI" panose="020B0502040204020203" pitchFamily="34" charset="0"/>
                  <a:ea typeface="ＭＳ Ｐゴシック" charset="0"/>
                </a:rPr>
                <a:t>60</a:t>
              </a:r>
            </a:p>
            <a:p>
              <a:pPr lvl="0" algn="r" defTabSz="913437">
                <a:spcBef>
                  <a:spcPts val="2600"/>
                </a:spcBef>
                <a:defRPr/>
              </a:pPr>
              <a:r>
                <a:rPr lang="en-US" kern="0" dirty="0">
                  <a:solidFill>
                    <a:srgbClr val="75787B"/>
                  </a:solidFill>
                  <a:latin typeface="Segoe UI" panose="020B0502040204020203" pitchFamily="34" charset="0"/>
                  <a:ea typeface="ＭＳ Ｐゴシック" charset="0"/>
                </a:rPr>
                <a:t>40</a:t>
              </a:r>
            </a:p>
            <a:p>
              <a:pPr lvl="0" algn="r" defTabSz="913437">
                <a:spcBef>
                  <a:spcPts val="2600"/>
                </a:spcBef>
                <a:defRPr/>
              </a:pPr>
              <a:r>
                <a:rPr lang="en-US" kern="0" dirty="0">
                  <a:solidFill>
                    <a:srgbClr val="75787B"/>
                  </a:solidFill>
                  <a:latin typeface="Segoe UI" panose="020B0502040204020203" pitchFamily="34" charset="0"/>
                  <a:ea typeface="ＭＳ Ｐゴシック" charset="0"/>
                </a:rPr>
                <a:t>20</a:t>
              </a:r>
            </a:p>
            <a:p>
              <a:pPr lvl="0" algn="r" defTabSz="913437">
                <a:spcBef>
                  <a:spcPts val="2600"/>
                </a:spcBef>
                <a:defRPr/>
              </a:pPr>
              <a:r>
                <a:rPr lang="en-US" kern="0" dirty="0">
                  <a:solidFill>
                    <a:srgbClr val="75787B"/>
                  </a:solidFill>
                  <a:latin typeface="Segoe UI" panose="020B0502040204020203" pitchFamily="34" charset="0"/>
                  <a:ea typeface="ＭＳ Ｐゴシック" charset="0"/>
                </a:rPr>
                <a:t>0</a:t>
              </a:r>
              <a:endParaRPr lang="en-US" kern="0" dirty="0">
                <a:solidFill>
                  <a:srgbClr val="75787B"/>
                </a:solidFill>
                <a:ea typeface="ＭＳ Ｐゴシック" charset="0"/>
              </a:endParaRPr>
            </a:p>
          </p:txBody>
        </p:sp>
        <p:sp>
          <p:nvSpPr>
            <p:cNvPr id="16" name="Rectangle 15">
              <a:extLst>
                <a:ext uri="{FF2B5EF4-FFF2-40B4-BE49-F238E27FC236}">
                  <a16:creationId xmlns:a16="http://schemas.microsoft.com/office/drawing/2014/main" id="{95AD93BD-DD1F-FE45-A2AD-8E5671176B3C}"/>
                </a:ext>
              </a:extLst>
            </p:cNvPr>
            <p:cNvSpPr/>
            <p:nvPr/>
          </p:nvSpPr>
          <p:spPr>
            <a:xfrm>
              <a:off x="1884247" y="2290087"/>
              <a:ext cx="304312" cy="2744455"/>
            </a:xfrm>
            <a:prstGeom prst="rect">
              <a:avLst/>
            </a:prstGeom>
            <a:solidFill>
              <a:srgbClr val="3368F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sp>
          <p:nvSpPr>
            <p:cNvPr id="18" name="Rectangle 17">
              <a:extLst>
                <a:ext uri="{FF2B5EF4-FFF2-40B4-BE49-F238E27FC236}">
                  <a16:creationId xmlns:a16="http://schemas.microsoft.com/office/drawing/2014/main" id="{272A28E4-66C0-884B-BE1A-99D822A7B89E}"/>
                </a:ext>
              </a:extLst>
            </p:cNvPr>
            <p:cNvSpPr/>
            <p:nvPr/>
          </p:nvSpPr>
          <p:spPr>
            <a:xfrm>
              <a:off x="3056613" y="2287261"/>
              <a:ext cx="304312" cy="2744455"/>
            </a:xfrm>
            <a:prstGeom prst="rect">
              <a:avLst/>
            </a:prstGeom>
            <a:solidFill>
              <a:srgbClr val="3368F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sp>
          <p:nvSpPr>
            <p:cNvPr id="19" name="Rectangle 18">
              <a:extLst>
                <a:ext uri="{FF2B5EF4-FFF2-40B4-BE49-F238E27FC236}">
                  <a16:creationId xmlns:a16="http://schemas.microsoft.com/office/drawing/2014/main" id="{15907D03-49A6-8345-A784-3A1C17B73F91}"/>
                </a:ext>
              </a:extLst>
            </p:cNvPr>
            <p:cNvSpPr/>
            <p:nvPr/>
          </p:nvSpPr>
          <p:spPr>
            <a:xfrm>
              <a:off x="4215810" y="2288857"/>
              <a:ext cx="304312" cy="2744455"/>
            </a:xfrm>
            <a:prstGeom prst="rect">
              <a:avLst/>
            </a:prstGeom>
            <a:solidFill>
              <a:srgbClr val="3368F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grpSp>
          <p:nvGrpSpPr>
            <p:cNvPr id="20" name="Group 19">
              <a:extLst>
                <a:ext uri="{FF2B5EF4-FFF2-40B4-BE49-F238E27FC236}">
                  <a16:creationId xmlns:a16="http://schemas.microsoft.com/office/drawing/2014/main" id="{9BD56761-B5B6-7943-B6A9-F4A6D80794B4}"/>
                </a:ext>
              </a:extLst>
            </p:cNvPr>
            <p:cNvGrpSpPr/>
            <p:nvPr/>
          </p:nvGrpSpPr>
          <p:grpSpPr>
            <a:xfrm>
              <a:off x="1153637" y="2451024"/>
              <a:ext cx="6484194" cy="2912420"/>
              <a:chOff x="1426165" y="3090530"/>
              <a:chExt cx="8388855" cy="3767911"/>
            </a:xfrm>
          </p:grpSpPr>
          <p:sp>
            <p:nvSpPr>
              <p:cNvPr id="29" name="Text Placeholder 7">
                <a:extLst>
                  <a:ext uri="{FF2B5EF4-FFF2-40B4-BE49-F238E27FC236}">
                    <a16:creationId xmlns:a16="http://schemas.microsoft.com/office/drawing/2014/main" id="{B163F716-D907-DB4A-9F21-FA18BAA0495E}"/>
                  </a:ext>
                </a:extLst>
              </p:cNvPr>
              <p:cNvSpPr txBox="1">
                <a:spLocks/>
              </p:cNvSpPr>
              <p:nvPr/>
            </p:nvSpPr>
            <p:spPr>
              <a:xfrm>
                <a:off x="5741662" y="6210300"/>
                <a:ext cx="3899517" cy="622300"/>
              </a:xfrm>
              <a:prstGeom prst="rect">
                <a:avLst/>
              </a:prstGeom>
            </p:spPr>
            <p:txBody>
              <a:bodyPr/>
              <a:lstStyle/>
              <a:p>
                <a:pPr lvl="0">
                  <a:lnSpc>
                    <a:spcPct val="100000"/>
                  </a:lnSpc>
                  <a:spcBef>
                    <a:spcPts val="0"/>
                  </a:spcBef>
                  <a:defRPr/>
                </a:pPr>
                <a:r>
                  <a:rPr lang="en-US" sz="3200" b="0" dirty="0">
                    <a:solidFill>
                      <a:schemeClr val="bg1"/>
                    </a:solidFill>
                    <a:latin typeface="Segoe UI" panose="020B0502040204020203" pitchFamily="34" charset="0"/>
                    <a:ea typeface="Segoe UI" panose="020B0502040204020203" pitchFamily="34" charset="0"/>
                    <a:cs typeface="Segoe UI" panose="020B0502040204020203" pitchFamily="34" charset="0"/>
                  </a:rPr>
                  <a:t>Taxes</a:t>
                </a:r>
                <a:endParaRPr lang="en-US" sz="3200" b="0" dirty="0">
                  <a:latin typeface="Segoe UI" panose="020B0502040204020203" pitchFamily="34" charset="0"/>
                  <a:ea typeface="Segoe UI" panose="020B0502040204020203" pitchFamily="34" charset="0"/>
                  <a:cs typeface="Segoe UI" panose="020B0502040204020203" pitchFamily="34" charset="0"/>
                </a:endParaRPr>
              </a:p>
            </p:txBody>
          </p:sp>
          <p:sp>
            <p:nvSpPr>
              <p:cNvPr id="30" name="TextBox 15">
                <a:extLst>
                  <a:ext uri="{FF2B5EF4-FFF2-40B4-BE49-F238E27FC236}">
                    <a16:creationId xmlns:a16="http://schemas.microsoft.com/office/drawing/2014/main" id="{E915AE1B-E2BF-FE49-B94C-058AF0E49187}"/>
                  </a:ext>
                </a:extLst>
              </p:cNvPr>
              <p:cNvSpPr txBox="1"/>
              <p:nvPr/>
            </p:nvSpPr>
            <p:spPr>
              <a:xfrm>
                <a:off x="1426165" y="6489206"/>
                <a:ext cx="815475" cy="369235"/>
              </a:xfrm>
              <a:prstGeom prst="rect">
                <a:avLst/>
              </a:prstGeom>
              <a:noFill/>
            </p:spPr>
            <p:style>
              <a:lnRef idx="0">
                <a:scrgbClr r="0" g="0" b="0"/>
              </a:lnRef>
              <a:fillRef idx="0">
                <a:scrgbClr r="0" g="0" b="0"/>
              </a:fillRef>
              <a:effectRef idx="0">
                <a:scrgbClr r="0" g="0" b="0"/>
              </a:effectRef>
              <a:fontRef idx="major"/>
            </p:style>
            <p:txBody>
              <a:bodyPr lIns="91344" tIns="45672" rIns="91344" bIns="45672"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lvl="0" algn="r" defTabSz="913437">
                  <a:defRPr/>
                </a:pPr>
                <a:r>
                  <a:rPr lang="en-US" dirty="0">
                    <a:solidFill>
                      <a:srgbClr val="75787B"/>
                    </a:solidFill>
                    <a:latin typeface="Segoe UI" panose="020B0502040204020203" pitchFamily="34" charset="0"/>
                  </a:rPr>
                  <a:t>70</a:t>
                </a:r>
                <a:endParaRPr kumimoji="0" lang="en-GB" b="0" i="0" u="none" strike="noStrike" kern="1200" cap="none" spc="0" normalizeH="0" baseline="0" noProof="0" dirty="0">
                  <a:ln>
                    <a:noFill/>
                  </a:ln>
                  <a:solidFill>
                    <a:prstClr val="black"/>
                  </a:solidFill>
                  <a:effectLst/>
                  <a:uLnTx/>
                  <a:uFillTx/>
                  <a:latin typeface="+mj-lt"/>
                  <a:ea typeface="ＭＳ Ｐゴシック" charset="0"/>
                  <a:cs typeface="Arial" pitchFamily="34" charset="0"/>
                </a:endParaRPr>
              </a:p>
            </p:txBody>
          </p:sp>
          <p:sp>
            <p:nvSpPr>
              <p:cNvPr id="34" name="TextBox 16">
                <a:extLst>
                  <a:ext uri="{FF2B5EF4-FFF2-40B4-BE49-F238E27FC236}">
                    <a16:creationId xmlns:a16="http://schemas.microsoft.com/office/drawing/2014/main" id="{46F8AC27-5E24-6742-B7A7-70689165AC6E}"/>
                  </a:ext>
                </a:extLst>
              </p:cNvPr>
              <p:cNvSpPr txBox="1"/>
              <p:nvPr/>
            </p:nvSpPr>
            <p:spPr>
              <a:xfrm>
                <a:off x="2941213" y="6489206"/>
                <a:ext cx="815475" cy="369235"/>
              </a:xfrm>
              <a:prstGeom prst="rect">
                <a:avLst/>
              </a:prstGeom>
              <a:noFill/>
            </p:spPr>
            <p:style>
              <a:lnRef idx="0">
                <a:scrgbClr r="0" g="0" b="0"/>
              </a:lnRef>
              <a:fillRef idx="0">
                <a:scrgbClr r="0" g="0" b="0"/>
              </a:fillRef>
              <a:effectRef idx="0">
                <a:scrgbClr r="0" g="0" b="0"/>
              </a:effectRef>
              <a:fontRef idx="major"/>
            </p:style>
            <p:txBody>
              <a:bodyPr lIns="91344" tIns="45672" rIns="91344" bIns="45672"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lvl="0" algn="r" defTabSz="913437">
                  <a:defRPr/>
                </a:pPr>
                <a:r>
                  <a:rPr lang="en-US" dirty="0">
                    <a:solidFill>
                      <a:srgbClr val="75787B"/>
                    </a:solidFill>
                    <a:latin typeface="Segoe UI" panose="020B0502040204020203" pitchFamily="34" charset="0"/>
                  </a:rPr>
                  <a:t>75</a:t>
                </a:r>
                <a:endParaRPr kumimoji="0" lang="en-GB" b="0" i="0" u="none" strike="noStrike" kern="1200" cap="none" spc="0" normalizeH="0" baseline="0" noProof="0" dirty="0">
                  <a:ln>
                    <a:noFill/>
                  </a:ln>
                  <a:solidFill>
                    <a:prstClr val="black"/>
                  </a:solidFill>
                  <a:effectLst/>
                  <a:uLnTx/>
                  <a:uFillTx/>
                  <a:latin typeface="+mj-lt"/>
                  <a:ea typeface="ＭＳ Ｐゴシック" charset="0"/>
                  <a:cs typeface="Arial" pitchFamily="34" charset="0"/>
                </a:endParaRPr>
              </a:p>
            </p:txBody>
          </p:sp>
          <p:sp>
            <p:nvSpPr>
              <p:cNvPr id="36" name="TextBox 17">
                <a:extLst>
                  <a:ext uri="{FF2B5EF4-FFF2-40B4-BE49-F238E27FC236}">
                    <a16:creationId xmlns:a16="http://schemas.microsoft.com/office/drawing/2014/main" id="{4193A358-4BF5-FD43-99B6-4718F14C0D4E}"/>
                  </a:ext>
                </a:extLst>
              </p:cNvPr>
              <p:cNvSpPr txBox="1"/>
              <p:nvPr/>
            </p:nvSpPr>
            <p:spPr>
              <a:xfrm>
                <a:off x="4432533" y="6489206"/>
                <a:ext cx="817338" cy="369235"/>
              </a:xfrm>
              <a:prstGeom prst="rect">
                <a:avLst/>
              </a:prstGeom>
              <a:noFill/>
            </p:spPr>
            <p:style>
              <a:lnRef idx="0">
                <a:scrgbClr r="0" g="0" b="0"/>
              </a:lnRef>
              <a:fillRef idx="0">
                <a:scrgbClr r="0" g="0" b="0"/>
              </a:fillRef>
              <a:effectRef idx="0">
                <a:scrgbClr r="0" g="0" b="0"/>
              </a:effectRef>
              <a:fontRef idx="major"/>
            </p:style>
            <p:txBody>
              <a:bodyPr lIns="91344" tIns="45672" rIns="91344" bIns="45672"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lvl="0" algn="r" defTabSz="913437">
                  <a:defRPr/>
                </a:pPr>
                <a:r>
                  <a:rPr lang="en-US" dirty="0">
                    <a:solidFill>
                      <a:srgbClr val="75787B"/>
                    </a:solidFill>
                    <a:latin typeface="Segoe UI" panose="020B0502040204020203" pitchFamily="34" charset="0"/>
                  </a:rPr>
                  <a:t>80</a:t>
                </a:r>
                <a:endParaRPr kumimoji="0" lang="en-GB" b="0" i="0" u="none" strike="noStrike" kern="1200" cap="none" spc="0" normalizeH="0" baseline="0" noProof="0" dirty="0">
                  <a:ln>
                    <a:noFill/>
                  </a:ln>
                  <a:solidFill>
                    <a:prstClr val="black"/>
                  </a:solidFill>
                  <a:effectLst/>
                  <a:uLnTx/>
                  <a:uFillTx/>
                  <a:latin typeface="+mj-lt"/>
                  <a:ea typeface="ＭＳ Ｐゴシック" charset="0"/>
                  <a:cs typeface="Arial" pitchFamily="34" charset="0"/>
                </a:endParaRPr>
              </a:p>
            </p:txBody>
          </p:sp>
          <p:sp>
            <p:nvSpPr>
              <p:cNvPr id="37" name="TextBox 18">
                <a:extLst>
                  <a:ext uri="{FF2B5EF4-FFF2-40B4-BE49-F238E27FC236}">
                    <a16:creationId xmlns:a16="http://schemas.microsoft.com/office/drawing/2014/main" id="{8DED6238-E572-DA4E-BE8D-1E0F3872A2F6}"/>
                  </a:ext>
                </a:extLst>
              </p:cNvPr>
              <p:cNvSpPr txBox="1"/>
              <p:nvPr/>
            </p:nvSpPr>
            <p:spPr>
              <a:xfrm>
                <a:off x="5923843" y="6475160"/>
                <a:ext cx="815475" cy="369235"/>
              </a:xfrm>
              <a:prstGeom prst="rect">
                <a:avLst/>
              </a:prstGeom>
              <a:noFill/>
            </p:spPr>
            <p:style>
              <a:lnRef idx="0">
                <a:scrgbClr r="0" g="0" b="0"/>
              </a:lnRef>
              <a:fillRef idx="0">
                <a:scrgbClr r="0" g="0" b="0"/>
              </a:fillRef>
              <a:effectRef idx="0">
                <a:scrgbClr r="0" g="0" b="0"/>
              </a:effectRef>
              <a:fontRef idx="major"/>
            </p:style>
            <p:txBody>
              <a:bodyPr lIns="91344" tIns="45672" rIns="91344" bIns="45672"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lvl="0" algn="r" defTabSz="913437">
                  <a:defRPr/>
                </a:pPr>
                <a:r>
                  <a:rPr lang="en-US" dirty="0">
                    <a:solidFill>
                      <a:srgbClr val="75787B"/>
                    </a:solidFill>
                    <a:latin typeface="Segoe UI" panose="020B0502040204020203" pitchFamily="34" charset="0"/>
                  </a:rPr>
                  <a:t>85</a:t>
                </a:r>
                <a:endParaRPr kumimoji="0" lang="en-GB" b="0" i="0" u="none" strike="noStrike" kern="1200" cap="none" spc="0" normalizeH="0" baseline="0" noProof="0" dirty="0">
                  <a:ln>
                    <a:noFill/>
                  </a:ln>
                  <a:solidFill>
                    <a:prstClr val="black"/>
                  </a:solidFill>
                  <a:effectLst/>
                  <a:uLnTx/>
                  <a:uFillTx/>
                  <a:latin typeface="+mj-lt"/>
                  <a:ea typeface="ＭＳ Ｐゴシック" charset="0"/>
                  <a:cs typeface="Arial" pitchFamily="34" charset="0"/>
                </a:endParaRPr>
              </a:p>
            </p:txBody>
          </p:sp>
          <p:sp>
            <p:nvSpPr>
              <p:cNvPr id="38" name="TextBox 19">
                <a:extLst>
                  <a:ext uri="{FF2B5EF4-FFF2-40B4-BE49-F238E27FC236}">
                    <a16:creationId xmlns:a16="http://schemas.microsoft.com/office/drawing/2014/main" id="{FA735231-C0C2-EB4C-B52D-84E86AA12028}"/>
                  </a:ext>
                </a:extLst>
              </p:cNvPr>
              <p:cNvSpPr txBox="1"/>
              <p:nvPr/>
            </p:nvSpPr>
            <p:spPr>
              <a:xfrm>
                <a:off x="7480534" y="6489206"/>
                <a:ext cx="815475" cy="369235"/>
              </a:xfrm>
              <a:prstGeom prst="rect">
                <a:avLst/>
              </a:prstGeom>
              <a:noFill/>
            </p:spPr>
            <p:style>
              <a:lnRef idx="0">
                <a:scrgbClr r="0" g="0" b="0"/>
              </a:lnRef>
              <a:fillRef idx="0">
                <a:scrgbClr r="0" g="0" b="0"/>
              </a:fillRef>
              <a:effectRef idx="0">
                <a:scrgbClr r="0" g="0" b="0"/>
              </a:effectRef>
              <a:fontRef idx="major"/>
            </p:style>
            <p:txBody>
              <a:bodyPr lIns="91344" tIns="45672" rIns="91344" bIns="45672"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lvl="0" algn="r" defTabSz="913437">
                  <a:defRPr/>
                </a:pPr>
                <a:r>
                  <a:rPr lang="en-US" dirty="0">
                    <a:solidFill>
                      <a:srgbClr val="75787B"/>
                    </a:solidFill>
                    <a:latin typeface="Segoe UI" panose="020B0502040204020203" pitchFamily="34" charset="0"/>
                  </a:rPr>
                  <a:t>90</a:t>
                </a:r>
                <a:endParaRPr kumimoji="0" lang="en-GB" b="0" i="0" u="none" strike="noStrike" kern="1200" cap="none" spc="0" normalizeH="0" baseline="0" noProof="0" dirty="0">
                  <a:ln>
                    <a:noFill/>
                  </a:ln>
                  <a:solidFill>
                    <a:prstClr val="black"/>
                  </a:solidFill>
                  <a:effectLst/>
                  <a:uLnTx/>
                  <a:uFillTx/>
                  <a:latin typeface="+mj-lt"/>
                  <a:ea typeface="ＭＳ Ｐゴシック" charset="0"/>
                  <a:cs typeface="Arial" pitchFamily="34" charset="0"/>
                </a:endParaRPr>
              </a:p>
            </p:txBody>
          </p:sp>
          <p:sp>
            <p:nvSpPr>
              <p:cNvPr id="39" name="TextBox 20">
                <a:extLst>
                  <a:ext uri="{FF2B5EF4-FFF2-40B4-BE49-F238E27FC236}">
                    <a16:creationId xmlns:a16="http://schemas.microsoft.com/office/drawing/2014/main" id="{0E33A6FA-F446-2740-B7C5-78D9A1FC6964}"/>
                  </a:ext>
                </a:extLst>
              </p:cNvPr>
              <p:cNvSpPr txBox="1"/>
              <p:nvPr/>
            </p:nvSpPr>
            <p:spPr>
              <a:xfrm>
                <a:off x="8997682" y="6484378"/>
                <a:ext cx="817338" cy="369235"/>
              </a:xfrm>
              <a:prstGeom prst="rect">
                <a:avLst/>
              </a:prstGeom>
              <a:noFill/>
            </p:spPr>
            <p:style>
              <a:lnRef idx="0">
                <a:scrgbClr r="0" g="0" b="0"/>
              </a:lnRef>
              <a:fillRef idx="0">
                <a:scrgbClr r="0" g="0" b="0"/>
              </a:fillRef>
              <a:effectRef idx="0">
                <a:scrgbClr r="0" g="0" b="0"/>
              </a:effectRef>
              <a:fontRef idx="major"/>
            </p:style>
            <p:txBody>
              <a:bodyPr lIns="91344" tIns="45672" rIns="91344" bIns="45672"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lvl="0" algn="ctr" defTabSz="913437">
                  <a:defRPr/>
                </a:pPr>
                <a:r>
                  <a:rPr lang="en-US" dirty="0">
                    <a:solidFill>
                      <a:srgbClr val="75787B"/>
                    </a:solidFill>
                    <a:latin typeface="Segoe UI" panose="020B0502040204020203" pitchFamily="34" charset="0"/>
                  </a:rPr>
                  <a:t>95</a:t>
                </a:r>
                <a:endParaRPr kumimoji="0" lang="en-GB" b="0" i="0" u="none" strike="noStrike" kern="1200" cap="none" spc="0" normalizeH="0" baseline="0" noProof="0" dirty="0">
                  <a:ln>
                    <a:noFill/>
                  </a:ln>
                  <a:solidFill>
                    <a:prstClr val="black"/>
                  </a:solidFill>
                  <a:effectLst/>
                  <a:uLnTx/>
                  <a:uFillTx/>
                  <a:latin typeface="+mj-lt"/>
                  <a:ea typeface="ＭＳ Ｐゴシック" charset="0"/>
                  <a:cs typeface="Arial" pitchFamily="34" charset="0"/>
                </a:endParaRPr>
              </a:p>
            </p:txBody>
          </p:sp>
          <p:sp>
            <p:nvSpPr>
              <p:cNvPr id="40" name="Rectangle 39">
                <a:extLst>
                  <a:ext uri="{FF2B5EF4-FFF2-40B4-BE49-F238E27FC236}">
                    <a16:creationId xmlns:a16="http://schemas.microsoft.com/office/drawing/2014/main" id="{225DBDC3-554E-9E4B-8664-17A3C57FEE77}"/>
                  </a:ext>
                </a:extLst>
              </p:cNvPr>
              <p:cNvSpPr/>
              <p:nvPr/>
            </p:nvSpPr>
            <p:spPr>
              <a:xfrm>
                <a:off x="1574800" y="3090530"/>
                <a:ext cx="393700" cy="3356125"/>
              </a:xfrm>
              <a:prstGeom prst="rect">
                <a:avLst/>
              </a:prstGeom>
              <a:solidFill>
                <a:srgbClr val="75787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dirty="0"/>
              </a:p>
            </p:txBody>
          </p:sp>
          <p:sp>
            <p:nvSpPr>
              <p:cNvPr id="41" name="Rectangle 40">
                <a:extLst>
                  <a:ext uri="{FF2B5EF4-FFF2-40B4-BE49-F238E27FC236}">
                    <a16:creationId xmlns:a16="http://schemas.microsoft.com/office/drawing/2014/main" id="{7EA99AAE-F6B9-8C48-9CAB-5E667F6D7D74}"/>
                  </a:ext>
                </a:extLst>
              </p:cNvPr>
              <p:cNvSpPr/>
              <p:nvPr/>
            </p:nvSpPr>
            <p:spPr>
              <a:xfrm>
                <a:off x="1968205" y="3125268"/>
                <a:ext cx="393700" cy="3309441"/>
              </a:xfrm>
              <a:prstGeom prst="rect">
                <a:avLst/>
              </a:prstGeom>
              <a:solidFill>
                <a:srgbClr val="2E319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sp>
            <p:nvSpPr>
              <p:cNvPr id="42" name="Rectangle 41">
                <a:extLst>
                  <a:ext uri="{FF2B5EF4-FFF2-40B4-BE49-F238E27FC236}">
                    <a16:creationId xmlns:a16="http://schemas.microsoft.com/office/drawing/2014/main" id="{D6D46337-DBDB-544F-ACD7-4E595AE16C78}"/>
                  </a:ext>
                </a:extLst>
              </p:cNvPr>
              <p:cNvSpPr/>
              <p:nvPr/>
            </p:nvSpPr>
            <p:spPr>
              <a:xfrm>
                <a:off x="3102344" y="3298320"/>
                <a:ext cx="393700" cy="3136604"/>
              </a:xfrm>
              <a:prstGeom prst="rect">
                <a:avLst/>
              </a:prstGeom>
              <a:solidFill>
                <a:srgbClr val="75787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sp>
            <p:nvSpPr>
              <p:cNvPr id="43" name="Rectangle 42">
                <a:extLst>
                  <a:ext uri="{FF2B5EF4-FFF2-40B4-BE49-F238E27FC236}">
                    <a16:creationId xmlns:a16="http://schemas.microsoft.com/office/drawing/2014/main" id="{E35B74A7-DC81-0743-B15C-F05E429E1444}"/>
                  </a:ext>
                </a:extLst>
              </p:cNvPr>
              <p:cNvSpPr/>
              <p:nvPr/>
            </p:nvSpPr>
            <p:spPr>
              <a:xfrm>
                <a:off x="3495749" y="3507475"/>
                <a:ext cx="393700" cy="2920410"/>
              </a:xfrm>
              <a:prstGeom prst="rect">
                <a:avLst/>
              </a:prstGeom>
              <a:solidFill>
                <a:srgbClr val="2E319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sp>
            <p:nvSpPr>
              <p:cNvPr id="46" name="Rectangle 45">
                <a:extLst>
                  <a:ext uri="{FF2B5EF4-FFF2-40B4-BE49-F238E27FC236}">
                    <a16:creationId xmlns:a16="http://schemas.microsoft.com/office/drawing/2014/main" id="{B9D570B7-0439-0549-AADF-348ADA91F366}"/>
                  </a:ext>
                </a:extLst>
              </p:cNvPr>
              <p:cNvSpPr/>
              <p:nvPr/>
            </p:nvSpPr>
            <p:spPr>
              <a:xfrm>
                <a:off x="4594446" y="3714308"/>
                <a:ext cx="393700" cy="2714845"/>
              </a:xfrm>
              <a:prstGeom prst="rect">
                <a:avLst/>
              </a:prstGeom>
              <a:solidFill>
                <a:srgbClr val="75787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sp>
            <p:nvSpPr>
              <p:cNvPr id="47" name="Rectangle 46">
                <a:extLst>
                  <a:ext uri="{FF2B5EF4-FFF2-40B4-BE49-F238E27FC236}">
                    <a16:creationId xmlns:a16="http://schemas.microsoft.com/office/drawing/2014/main" id="{38920319-4B97-E047-94BD-B6E3A6C3E44E}"/>
                  </a:ext>
                </a:extLst>
              </p:cNvPr>
              <p:cNvSpPr/>
              <p:nvPr/>
            </p:nvSpPr>
            <p:spPr>
              <a:xfrm>
                <a:off x="4987851" y="4026194"/>
                <a:ext cx="393700" cy="2395871"/>
              </a:xfrm>
              <a:prstGeom prst="rect">
                <a:avLst/>
              </a:prstGeom>
              <a:solidFill>
                <a:srgbClr val="2E319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sp>
            <p:nvSpPr>
              <p:cNvPr id="48" name="Rectangle 47">
                <a:extLst>
                  <a:ext uri="{FF2B5EF4-FFF2-40B4-BE49-F238E27FC236}">
                    <a16:creationId xmlns:a16="http://schemas.microsoft.com/office/drawing/2014/main" id="{043E2A7E-F2B5-6645-9991-EFE3E59417C0}"/>
                  </a:ext>
                </a:extLst>
              </p:cNvPr>
              <p:cNvSpPr/>
              <p:nvPr/>
            </p:nvSpPr>
            <p:spPr>
              <a:xfrm>
                <a:off x="6121990" y="4189277"/>
                <a:ext cx="393700" cy="2225750"/>
              </a:xfrm>
              <a:prstGeom prst="rect">
                <a:avLst/>
              </a:prstGeom>
              <a:solidFill>
                <a:srgbClr val="75787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dirty="0"/>
              </a:p>
            </p:txBody>
          </p:sp>
          <p:sp>
            <p:nvSpPr>
              <p:cNvPr id="49" name="Rectangle 48">
                <a:extLst>
                  <a:ext uri="{FF2B5EF4-FFF2-40B4-BE49-F238E27FC236}">
                    <a16:creationId xmlns:a16="http://schemas.microsoft.com/office/drawing/2014/main" id="{7981DD46-49F4-2942-92C8-2230392A60DC}"/>
                  </a:ext>
                </a:extLst>
              </p:cNvPr>
              <p:cNvSpPr/>
              <p:nvPr/>
            </p:nvSpPr>
            <p:spPr>
              <a:xfrm>
                <a:off x="6515395" y="4659969"/>
                <a:ext cx="393700" cy="1773381"/>
              </a:xfrm>
              <a:prstGeom prst="rect">
                <a:avLst/>
              </a:prstGeom>
              <a:solidFill>
                <a:srgbClr val="2E319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sp>
            <p:nvSpPr>
              <p:cNvPr id="51" name="Rectangle 50">
                <a:extLst>
                  <a:ext uri="{FF2B5EF4-FFF2-40B4-BE49-F238E27FC236}">
                    <a16:creationId xmlns:a16="http://schemas.microsoft.com/office/drawing/2014/main" id="{53880D9E-E714-CB42-94F6-FFD3DABCEB3F}"/>
                  </a:ext>
                </a:extLst>
              </p:cNvPr>
              <p:cNvSpPr/>
              <p:nvPr/>
            </p:nvSpPr>
            <p:spPr>
              <a:xfrm>
                <a:off x="7993320" y="5345950"/>
                <a:ext cx="393700" cy="1087830"/>
              </a:xfrm>
              <a:prstGeom prst="rect">
                <a:avLst/>
              </a:prstGeom>
              <a:solidFill>
                <a:srgbClr val="2E319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sp>
            <p:nvSpPr>
              <p:cNvPr id="52" name="Rectangle 51">
                <a:extLst>
                  <a:ext uri="{FF2B5EF4-FFF2-40B4-BE49-F238E27FC236}">
                    <a16:creationId xmlns:a16="http://schemas.microsoft.com/office/drawing/2014/main" id="{129006A4-8590-324F-AB0E-3B35AC205CB3}"/>
                  </a:ext>
                </a:extLst>
              </p:cNvPr>
              <p:cNvSpPr/>
              <p:nvPr/>
            </p:nvSpPr>
            <p:spPr>
              <a:xfrm>
                <a:off x="9014045" y="5699051"/>
                <a:ext cx="393700" cy="726559"/>
              </a:xfrm>
              <a:prstGeom prst="rect">
                <a:avLst/>
              </a:prstGeom>
              <a:solidFill>
                <a:srgbClr val="75787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sp>
            <p:nvSpPr>
              <p:cNvPr id="53" name="Rectangle 52">
                <a:extLst>
                  <a:ext uri="{FF2B5EF4-FFF2-40B4-BE49-F238E27FC236}">
                    <a16:creationId xmlns:a16="http://schemas.microsoft.com/office/drawing/2014/main" id="{4C0D9E72-84A4-E741-A4D4-8CDB0691E71C}"/>
                  </a:ext>
                </a:extLst>
              </p:cNvPr>
              <p:cNvSpPr/>
              <p:nvPr/>
            </p:nvSpPr>
            <p:spPr>
              <a:xfrm>
                <a:off x="9407450" y="5975499"/>
                <a:ext cx="393700" cy="446332"/>
              </a:xfrm>
              <a:prstGeom prst="rect">
                <a:avLst/>
              </a:prstGeom>
              <a:solidFill>
                <a:srgbClr val="2E319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sp>
            <p:nvSpPr>
              <p:cNvPr id="54" name="Rectangle 53">
                <a:extLst>
                  <a:ext uri="{FF2B5EF4-FFF2-40B4-BE49-F238E27FC236}">
                    <a16:creationId xmlns:a16="http://schemas.microsoft.com/office/drawing/2014/main" id="{3F9087F3-B9A8-874B-BC7E-7B6697679358}"/>
                  </a:ext>
                </a:extLst>
              </p:cNvPr>
              <p:cNvSpPr/>
              <p:nvPr/>
            </p:nvSpPr>
            <p:spPr>
              <a:xfrm>
                <a:off x="6895571" y="3646310"/>
                <a:ext cx="393700" cy="2782963"/>
              </a:xfrm>
              <a:prstGeom prst="rect">
                <a:avLst/>
              </a:prstGeom>
              <a:solidFill>
                <a:srgbClr val="3368F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sp>
            <p:nvSpPr>
              <p:cNvPr id="55" name="Rectangle 54">
                <a:extLst>
                  <a:ext uri="{FF2B5EF4-FFF2-40B4-BE49-F238E27FC236}">
                    <a16:creationId xmlns:a16="http://schemas.microsoft.com/office/drawing/2014/main" id="{0123D65B-804F-874B-B4B9-E5BCA31FB09B}"/>
                  </a:ext>
                </a:extLst>
              </p:cNvPr>
              <p:cNvSpPr/>
              <p:nvPr/>
            </p:nvSpPr>
            <p:spPr>
              <a:xfrm>
                <a:off x="8380060" y="4673600"/>
                <a:ext cx="393700" cy="1750028"/>
              </a:xfrm>
              <a:prstGeom prst="rect">
                <a:avLst/>
              </a:prstGeom>
              <a:solidFill>
                <a:srgbClr val="3368F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sp>
            <p:nvSpPr>
              <p:cNvPr id="50" name="Rectangle 49">
                <a:extLst>
                  <a:ext uri="{FF2B5EF4-FFF2-40B4-BE49-F238E27FC236}">
                    <a16:creationId xmlns:a16="http://schemas.microsoft.com/office/drawing/2014/main" id="{90924FFE-74C7-C646-8233-E26BBB7CF9E7}"/>
                  </a:ext>
                </a:extLst>
              </p:cNvPr>
              <p:cNvSpPr/>
              <p:nvPr/>
            </p:nvSpPr>
            <p:spPr>
              <a:xfrm>
                <a:off x="7574198" y="4961636"/>
                <a:ext cx="393700" cy="1438940"/>
              </a:xfrm>
              <a:prstGeom prst="rect">
                <a:avLst/>
              </a:prstGeom>
              <a:solidFill>
                <a:srgbClr val="75787B"/>
              </a:solidFill>
              <a:ln w="254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dirty="0"/>
              </a:p>
            </p:txBody>
          </p:sp>
        </p:grpSp>
        <p:sp>
          <p:nvSpPr>
            <p:cNvPr id="27" name="Rectangle 26">
              <a:extLst>
                <a:ext uri="{FF2B5EF4-FFF2-40B4-BE49-F238E27FC236}">
                  <a16:creationId xmlns:a16="http://schemas.microsoft.com/office/drawing/2014/main" id="{BEBCE242-21E2-E649-A4AD-F5E433FA9B53}"/>
                </a:ext>
              </a:extLst>
            </p:cNvPr>
            <p:cNvSpPr/>
            <p:nvPr/>
          </p:nvSpPr>
          <p:spPr>
            <a:xfrm>
              <a:off x="7645791" y="4114800"/>
              <a:ext cx="304312" cy="896327"/>
            </a:xfrm>
            <a:prstGeom prst="rect">
              <a:avLst/>
            </a:prstGeom>
            <a:solidFill>
              <a:srgbClr val="3368FB"/>
            </a:solidFill>
            <a:ln w="254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dirty="0"/>
            </a:p>
          </p:txBody>
        </p:sp>
        <p:grpSp>
          <p:nvGrpSpPr>
            <p:cNvPr id="9" name="Group 8">
              <a:extLst>
                <a:ext uri="{FF2B5EF4-FFF2-40B4-BE49-F238E27FC236}">
                  <a16:creationId xmlns:a16="http://schemas.microsoft.com/office/drawing/2014/main" id="{FB2F065E-B37B-9941-BB14-08EFCB4625E5}"/>
                </a:ext>
              </a:extLst>
            </p:cNvPr>
            <p:cNvGrpSpPr/>
            <p:nvPr/>
          </p:nvGrpSpPr>
          <p:grpSpPr>
            <a:xfrm>
              <a:off x="1017767" y="2202511"/>
              <a:ext cx="7267492" cy="2816602"/>
              <a:chOff x="1017767" y="2202511"/>
              <a:chExt cx="7267492" cy="2816602"/>
            </a:xfrm>
          </p:grpSpPr>
          <p:cxnSp>
            <p:nvCxnSpPr>
              <p:cNvPr id="33" name="Straight Connector 32">
                <a:extLst>
                  <a:ext uri="{FF2B5EF4-FFF2-40B4-BE49-F238E27FC236}">
                    <a16:creationId xmlns:a16="http://schemas.microsoft.com/office/drawing/2014/main" id="{C14217E3-4060-2541-975E-522EB7B232D4}"/>
                  </a:ext>
                </a:extLst>
              </p:cNvPr>
              <p:cNvCxnSpPr>
                <a:cxnSpLocks/>
              </p:cNvCxnSpPr>
              <p:nvPr/>
            </p:nvCxnSpPr>
            <p:spPr>
              <a:xfrm>
                <a:off x="1017767" y="5019113"/>
                <a:ext cx="7267492" cy="0"/>
              </a:xfrm>
              <a:prstGeom prst="line">
                <a:avLst/>
              </a:prstGeom>
              <a:ln w="12700">
                <a:solidFill>
                  <a:srgbClr val="002577"/>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01DBE20-8F16-B04A-9592-BCDB660926D4}"/>
                  </a:ext>
                </a:extLst>
              </p:cNvPr>
              <p:cNvCxnSpPr>
                <a:cxnSpLocks/>
              </p:cNvCxnSpPr>
              <p:nvPr/>
            </p:nvCxnSpPr>
            <p:spPr>
              <a:xfrm flipV="1">
                <a:off x="1027044" y="2202511"/>
                <a:ext cx="0" cy="2814763"/>
              </a:xfrm>
              <a:prstGeom prst="line">
                <a:avLst/>
              </a:prstGeom>
              <a:ln w="12700">
                <a:solidFill>
                  <a:srgbClr val="002577"/>
                </a:solidFill>
                <a:tailEnd type="arrow"/>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7752AA8B-419C-1C43-8E31-0A8956BF57A7}"/>
                </a:ext>
              </a:extLst>
            </p:cNvPr>
            <p:cNvGrpSpPr/>
            <p:nvPr/>
          </p:nvGrpSpPr>
          <p:grpSpPr>
            <a:xfrm>
              <a:off x="5892437" y="1597812"/>
              <a:ext cx="2108856" cy="584775"/>
              <a:chOff x="5882205" y="1057768"/>
              <a:chExt cx="2108856" cy="584775"/>
            </a:xfrm>
          </p:grpSpPr>
          <p:grpSp>
            <p:nvGrpSpPr>
              <p:cNvPr id="2" name="Group 1">
                <a:extLst>
                  <a:ext uri="{FF2B5EF4-FFF2-40B4-BE49-F238E27FC236}">
                    <a16:creationId xmlns:a16="http://schemas.microsoft.com/office/drawing/2014/main" id="{5900F6A7-0498-3744-9746-E12764C5796A}"/>
                  </a:ext>
                </a:extLst>
              </p:cNvPr>
              <p:cNvGrpSpPr/>
              <p:nvPr/>
            </p:nvGrpSpPr>
            <p:grpSpPr>
              <a:xfrm>
                <a:off x="5882205" y="1057768"/>
                <a:ext cx="2108856" cy="584775"/>
                <a:chOff x="7343257" y="103612"/>
                <a:chExt cx="2108856" cy="584775"/>
              </a:xfrm>
            </p:grpSpPr>
            <p:sp>
              <p:nvSpPr>
                <p:cNvPr id="56" name="TextBox 55">
                  <a:extLst>
                    <a:ext uri="{FF2B5EF4-FFF2-40B4-BE49-F238E27FC236}">
                      <a16:creationId xmlns:a16="http://schemas.microsoft.com/office/drawing/2014/main" id="{4F166251-299D-754F-B87D-DE89498461FB}"/>
                    </a:ext>
                  </a:extLst>
                </p:cNvPr>
                <p:cNvSpPr txBox="1"/>
                <p:nvPr/>
              </p:nvSpPr>
              <p:spPr>
                <a:xfrm>
                  <a:off x="7429224" y="103612"/>
                  <a:ext cx="2022889" cy="584775"/>
                </a:xfrm>
                <a:prstGeom prst="rect">
                  <a:avLst/>
                </a:prstGeom>
                <a:noFill/>
              </p:spPr>
              <p:txBody>
                <a:bodyPr wrap="square" rtlCol="0">
                  <a:spAutoFit/>
                </a:bodyPr>
                <a:lstStyle/>
                <a:p>
                  <a:pPr>
                    <a:spcBef>
                      <a:spcPts val="300"/>
                    </a:spcBef>
                    <a:buClr>
                      <a:srgbClr val="002577"/>
                    </a:buClr>
                    <a:buSzPct val="200000"/>
                  </a:pPr>
                  <a:r>
                    <a:rPr lang="en-US" sz="900" dirty="0">
                      <a:solidFill>
                        <a:srgbClr val="75787B"/>
                      </a:solidFill>
                      <a:latin typeface="Segoe UI" panose="020B0502040204020203" pitchFamily="34" charset="0"/>
                    </a:rPr>
                    <a:t>Single Female</a:t>
                  </a:r>
                </a:p>
                <a:p>
                  <a:pPr>
                    <a:spcBef>
                      <a:spcPts val="300"/>
                    </a:spcBef>
                    <a:buClr>
                      <a:srgbClr val="3368FB"/>
                    </a:buClr>
                    <a:buSzPct val="150000"/>
                  </a:pPr>
                  <a:r>
                    <a:rPr lang="en-US" sz="900" dirty="0">
                      <a:solidFill>
                        <a:srgbClr val="75787B"/>
                      </a:solidFill>
                      <a:latin typeface="Segoe UI" panose="020B0502040204020203" pitchFamily="34" charset="0"/>
                    </a:rPr>
                    <a:t>Single Man</a:t>
                  </a:r>
                </a:p>
                <a:p>
                  <a:pPr>
                    <a:spcBef>
                      <a:spcPts val="300"/>
                    </a:spcBef>
                    <a:buClr>
                      <a:srgbClr val="3368FB"/>
                    </a:buClr>
                    <a:buSzPct val="150000"/>
                  </a:pPr>
                  <a:r>
                    <a:rPr lang="en-US" sz="900" dirty="0">
                      <a:solidFill>
                        <a:srgbClr val="75787B"/>
                      </a:solidFill>
                      <a:latin typeface="Segoe UI" panose="020B0502040204020203" pitchFamily="34" charset="0"/>
                    </a:rPr>
                    <a:t>Couple</a:t>
                  </a:r>
                  <a:endParaRPr lang="en-US" sz="900" dirty="0">
                    <a:solidFill>
                      <a:schemeClr val="bg1"/>
                    </a:solidFill>
                    <a:latin typeface="Helvetica" pitchFamily="2" charset="0"/>
                  </a:endParaRPr>
                </a:p>
              </p:txBody>
            </p:sp>
            <p:sp>
              <p:nvSpPr>
                <p:cNvPr id="57" name="Oval 56">
                  <a:extLst>
                    <a:ext uri="{FF2B5EF4-FFF2-40B4-BE49-F238E27FC236}">
                      <a16:creationId xmlns:a16="http://schemas.microsoft.com/office/drawing/2014/main" id="{CE2FC233-51C3-294F-B22B-1A751130046C}"/>
                    </a:ext>
                  </a:extLst>
                </p:cNvPr>
                <p:cNvSpPr/>
                <p:nvPr/>
              </p:nvSpPr>
              <p:spPr>
                <a:xfrm>
                  <a:off x="7343257" y="144048"/>
                  <a:ext cx="132797" cy="132797"/>
                </a:xfrm>
                <a:prstGeom prst="ellipse">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D110F8D1-97F4-DA47-B337-90EFE104B450}"/>
                    </a:ext>
                  </a:extLst>
                </p:cNvPr>
                <p:cNvSpPr/>
                <p:nvPr/>
              </p:nvSpPr>
              <p:spPr>
                <a:xfrm>
                  <a:off x="7343257" y="325503"/>
                  <a:ext cx="132797" cy="132797"/>
                </a:xfrm>
                <a:prstGeom prst="ellipse">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Oval 60">
                <a:extLst>
                  <a:ext uri="{FF2B5EF4-FFF2-40B4-BE49-F238E27FC236}">
                    <a16:creationId xmlns:a16="http://schemas.microsoft.com/office/drawing/2014/main" id="{A423B62C-E8E6-EE49-8B56-765EBAE794E0}"/>
                  </a:ext>
                </a:extLst>
              </p:cNvPr>
              <p:cNvSpPr/>
              <p:nvPr/>
            </p:nvSpPr>
            <p:spPr>
              <a:xfrm>
                <a:off x="5890226" y="1456122"/>
                <a:ext cx="132797" cy="132797"/>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TextBox 7">
              <a:extLst>
                <a:ext uri="{FF2B5EF4-FFF2-40B4-BE49-F238E27FC236}">
                  <a16:creationId xmlns:a16="http://schemas.microsoft.com/office/drawing/2014/main" id="{87C5521C-FA04-A64F-A6C7-9B05BBF718C0}"/>
                </a:ext>
              </a:extLst>
            </p:cNvPr>
            <p:cNvSpPr txBox="1"/>
            <p:nvPr/>
          </p:nvSpPr>
          <p:spPr>
            <a:xfrm>
              <a:off x="5869577" y="2281645"/>
              <a:ext cx="1288869" cy="1394228"/>
            </a:xfrm>
            <a:prstGeom prst="rect">
              <a:avLst/>
            </a:prstGeom>
            <a:noFill/>
          </p:spPr>
          <p:txBody>
            <a:bodyPr wrap="square" rtlCol="0">
              <a:spAutoFit/>
            </a:bodyPr>
            <a:lstStyle/>
            <a:p>
              <a:r>
                <a:rPr lang="en-US" sz="1200" b="1" kern="0" dirty="0">
                  <a:solidFill>
                    <a:srgbClr val="75787B"/>
                  </a:solidFill>
                  <a:ea typeface="ＭＳ Ｐゴシック" charset="0"/>
                </a:rPr>
                <a:t>A 65-year-old female has </a:t>
              </a:r>
              <a:br>
                <a:rPr lang="en-US" sz="1200" b="1" kern="0" dirty="0">
                  <a:solidFill>
                    <a:srgbClr val="75787B"/>
                  </a:solidFill>
                  <a:ea typeface="ＭＳ Ｐゴシック" charset="0"/>
                </a:rPr>
              </a:br>
              <a:r>
                <a:rPr lang="en-US" sz="1200" b="1" kern="0" dirty="0">
                  <a:solidFill>
                    <a:srgbClr val="75787B"/>
                  </a:solidFill>
                  <a:ea typeface="ＭＳ Ｐゴシック" charset="0"/>
                </a:rPr>
                <a:t>greater than 40% probability </a:t>
              </a:r>
              <a:br>
                <a:rPr lang="en-US" sz="1200" b="1" kern="0" dirty="0">
                  <a:solidFill>
                    <a:srgbClr val="75787B"/>
                  </a:solidFill>
                  <a:ea typeface="ＭＳ Ｐゴシック" charset="0"/>
                </a:rPr>
              </a:br>
              <a:r>
                <a:rPr lang="en-US" sz="1200" b="1" kern="0" dirty="0">
                  <a:solidFill>
                    <a:srgbClr val="75787B"/>
                  </a:solidFill>
                  <a:ea typeface="ＭＳ Ｐゴシック" charset="0"/>
                </a:rPr>
                <a:t>of living to at least age 90</a:t>
              </a:r>
            </a:p>
            <a:p>
              <a:endParaRPr lang="en-US" dirty="0"/>
            </a:p>
          </p:txBody>
        </p:sp>
        <p:sp>
          <p:nvSpPr>
            <p:cNvPr id="62" name="TextBox 61">
              <a:extLst>
                <a:ext uri="{FF2B5EF4-FFF2-40B4-BE49-F238E27FC236}">
                  <a16:creationId xmlns:a16="http://schemas.microsoft.com/office/drawing/2014/main" id="{4EC96A3D-A27C-1741-A770-7DA93EEFAD44}"/>
                </a:ext>
              </a:extLst>
            </p:cNvPr>
            <p:cNvSpPr txBox="1"/>
            <p:nvPr/>
          </p:nvSpPr>
          <p:spPr>
            <a:xfrm>
              <a:off x="7432766" y="2242458"/>
              <a:ext cx="1397725" cy="1384995"/>
            </a:xfrm>
            <a:prstGeom prst="rect">
              <a:avLst/>
            </a:prstGeom>
            <a:noFill/>
          </p:spPr>
          <p:txBody>
            <a:bodyPr wrap="square" rtlCol="0">
              <a:spAutoFit/>
            </a:bodyPr>
            <a:lstStyle/>
            <a:p>
              <a:pPr lvl="0" defTabSz="913437">
                <a:defRPr/>
              </a:pPr>
              <a:r>
                <a:rPr lang="en-US" sz="1200" b="1" kern="0" dirty="0">
                  <a:solidFill>
                    <a:srgbClr val="75787B"/>
                  </a:solidFill>
                  <a:ea typeface="ＭＳ Ｐゴシック" charset="0"/>
                </a:rPr>
                <a:t>There is almost a 1-in-3 chance </a:t>
              </a:r>
              <a:br>
                <a:rPr lang="en-US" sz="1200" b="1" kern="0" dirty="0">
                  <a:solidFill>
                    <a:srgbClr val="75787B"/>
                  </a:solidFill>
                  <a:ea typeface="ＭＳ Ｐゴシック" charset="0"/>
                </a:rPr>
              </a:br>
              <a:r>
                <a:rPr lang="en-US" sz="1200" b="1" kern="0" dirty="0">
                  <a:solidFill>
                    <a:srgbClr val="75787B"/>
                  </a:solidFill>
                  <a:ea typeface="ＭＳ Ｐゴシック" charset="0"/>
                </a:rPr>
                <a:t>that at least one member of </a:t>
              </a:r>
              <a:br>
                <a:rPr lang="en-US" sz="1200" b="1" kern="0" dirty="0">
                  <a:solidFill>
                    <a:srgbClr val="75787B"/>
                  </a:solidFill>
                  <a:ea typeface="ＭＳ Ｐゴシック" charset="0"/>
                </a:rPr>
              </a:br>
              <a:r>
                <a:rPr lang="en-US" sz="1200" b="1" kern="0" dirty="0">
                  <a:solidFill>
                    <a:srgbClr val="75787B"/>
                  </a:solidFill>
                  <a:ea typeface="ＭＳ Ｐゴシック" charset="0"/>
                </a:rPr>
                <a:t>a 65-year-old Couple will live </a:t>
              </a:r>
              <a:br>
                <a:rPr lang="en-US" sz="1200" b="1" kern="0" dirty="0">
                  <a:solidFill>
                    <a:srgbClr val="75787B"/>
                  </a:solidFill>
                  <a:ea typeface="ＭＳ Ｐゴシック" charset="0"/>
                </a:rPr>
              </a:br>
              <a:r>
                <a:rPr lang="en-US" sz="1200" b="1" kern="0" dirty="0">
                  <a:solidFill>
                    <a:srgbClr val="75787B"/>
                  </a:solidFill>
                  <a:ea typeface="ＭＳ Ｐゴシック" charset="0"/>
                </a:rPr>
                <a:t>to at least age 95</a:t>
              </a:r>
            </a:p>
          </p:txBody>
        </p:sp>
        <p:cxnSp>
          <p:nvCxnSpPr>
            <p:cNvPr id="11" name="Straight Connector 10">
              <a:extLst>
                <a:ext uri="{FF2B5EF4-FFF2-40B4-BE49-F238E27FC236}">
                  <a16:creationId xmlns:a16="http://schemas.microsoft.com/office/drawing/2014/main" id="{A1B14BF1-D5A2-3B4C-A835-C93A329162E8}"/>
                </a:ext>
              </a:extLst>
            </p:cNvPr>
            <p:cNvCxnSpPr>
              <a:cxnSpLocks/>
              <a:endCxn id="50" idx="0"/>
            </p:cNvCxnSpPr>
            <p:nvPr/>
          </p:nvCxnSpPr>
          <p:spPr>
            <a:xfrm>
              <a:off x="6057936" y="3509554"/>
              <a:ext cx="0" cy="387748"/>
            </a:xfrm>
            <a:prstGeom prst="line">
              <a:avLst/>
            </a:prstGeom>
            <a:ln w="158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1E96DEE-6965-CA45-8C50-AC4464BBD572}"/>
                </a:ext>
              </a:extLst>
            </p:cNvPr>
            <p:cNvCxnSpPr>
              <a:cxnSpLocks/>
            </p:cNvCxnSpPr>
            <p:nvPr/>
          </p:nvCxnSpPr>
          <p:spPr>
            <a:xfrm>
              <a:off x="7795296" y="3596640"/>
              <a:ext cx="0" cy="505314"/>
            </a:xfrm>
            <a:prstGeom prst="line">
              <a:avLst/>
            </a:prstGeom>
            <a:ln w="158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377753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22633" y="6371406"/>
            <a:ext cx="311806" cy="165752"/>
          </a:xfrm>
        </p:spPr>
        <p:txBody>
          <a:bodyPr/>
          <a:lstStyle/>
          <a:p>
            <a:fld id="{2C7AFF3D-0B71-614B-ACB6-7F45BDA6A838}" type="slidenum">
              <a:rPr lang="en-US" smtClean="0">
                <a:latin typeface="Segoe UI" panose="020B0502040204020203" pitchFamily="34" charset="0"/>
              </a:rPr>
              <a:pPr/>
              <a:t>14</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91174" y="6360082"/>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6087553"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Retirement may come early for some</a:t>
            </a:r>
          </a:p>
        </p:txBody>
      </p:sp>
      <p:cxnSp>
        <p:nvCxnSpPr>
          <p:cNvPr id="44" name="Straight Connector 43">
            <a:extLst>
              <a:ext uri="{FF2B5EF4-FFF2-40B4-BE49-F238E27FC236}">
                <a16:creationId xmlns:a16="http://schemas.microsoft.com/office/drawing/2014/main" id="{FDBF1986-E741-784A-A1CF-BD318E2C4D89}"/>
              </a:ext>
            </a:extLst>
          </p:cNvPr>
          <p:cNvCxnSpPr>
            <a:cxnSpLocks/>
          </p:cNvCxnSpPr>
          <p:nvPr/>
        </p:nvCxnSpPr>
        <p:spPr>
          <a:xfrm>
            <a:off x="419100" y="5967549"/>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E2986C8-4C91-8C4C-8230-30CDD2B5B689}"/>
              </a:ext>
            </a:extLst>
          </p:cNvPr>
          <p:cNvSpPr txBox="1"/>
          <p:nvPr/>
        </p:nvSpPr>
        <p:spPr>
          <a:xfrm>
            <a:off x="419100" y="6010989"/>
            <a:ext cx="6077493" cy="123111"/>
          </a:xfrm>
          <a:prstGeom prst="rect">
            <a:avLst/>
          </a:prstGeom>
          <a:noFill/>
        </p:spPr>
        <p:txBody>
          <a:bodyPr wrap="square" lIns="0" tIns="0" rIns="0" bIns="0" rtlCol="0">
            <a:spAutoFit/>
          </a:bodyPr>
          <a:lstStyle/>
          <a:p>
            <a:r>
              <a:rPr lang="en-US" sz="800" dirty="0">
                <a:solidFill>
                  <a:schemeClr val="bg1">
                    <a:lumMod val="50000"/>
                  </a:schemeClr>
                </a:solidFill>
              </a:rPr>
              <a:t>Employee Benefit Research Institute, Mathew Greenwald &amp; Associates, Inc., 2017 Retirement Confidence Survey. Data as of March 2017.</a:t>
            </a:r>
            <a:endParaRPr lang="en-US" sz="800" dirty="0">
              <a:solidFill>
                <a:schemeClr val="bg1">
                  <a:lumMod val="50000"/>
                </a:schemeClr>
              </a:solidFill>
              <a:latin typeface="Arial" pitchFamily="34" charset="0"/>
              <a:cs typeface="Arial" pitchFamily="34" charset="0"/>
            </a:endParaRPr>
          </a:p>
        </p:txBody>
      </p:sp>
      <p:graphicFrame>
        <p:nvGraphicFramePr>
          <p:cNvPr id="69" name="Chart 68">
            <a:extLst>
              <a:ext uri="{FF2B5EF4-FFF2-40B4-BE49-F238E27FC236}">
                <a16:creationId xmlns:a16="http://schemas.microsoft.com/office/drawing/2014/main" id="{46B63607-8AEA-0F4F-B813-A99D6496798B}"/>
              </a:ext>
            </a:extLst>
          </p:cNvPr>
          <p:cNvGraphicFramePr/>
          <p:nvPr>
            <p:extLst>
              <p:ext uri="{D42A27DB-BD31-4B8C-83A1-F6EECF244321}">
                <p14:modId xmlns:p14="http://schemas.microsoft.com/office/powerpoint/2010/main" val="1769525498"/>
              </p:ext>
            </p:extLst>
          </p:nvPr>
        </p:nvGraphicFramePr>
        <p:xfrm>
          <a:off x="419100" y="2014361"/>
          <a:ext cx="9015004" cy="3094050"/>
        </p:xfrm>
        <a:graphic>
          <a:graphicData uri="http://schemas.openxmlformats.org/drawingml/2006/chart">
            <c:chart xmlns:c="http://schemas.openxmlformats.org/drawingml/2006/chart" xmlns:r="http://schemas.openxmlformats.org/officeDocument/2006/relationships" r:id="rId3"/>
          </a:graphicData>
        </a:graphic>
      </p:graphicFrame>
      <p:sp>
        <p:nvSpPr>
          <p:cNvPr id="70" name="TextBox 69">
            <a:extLst>
              <a:ext uri="{FF2B5EF4-FFF2-40B4-BE49-F238E27FC236}">
                <a16:creationId xmlns:a16="http://schemas.microsoft.com/office/drawing/2014/main" id="{44C612C8-A74E-1C4B-B27F-9D17F0E86C25}"/>
              </a:ext>
            </a:extLst>
          </p:cNvPr>
          <p:cNvSpPr txBox="1"/>
          <p:nvPr/>
        </p:nvSpPr>
        <p:spPr>
          <a:xfrm>
            <a:off x="1051038" y="4783667"/>
            <a:ext cx="1190400" cy="400110"/>
          </a:xfrm>
          <a:prstGeom prst="rect">
            <a:avLst/>
          </a:prstGeom>
          <a:noFill/>
        </p:spPr>
        <p:txBody>
          <a:bodyPr wrap="square" rtlCol="0">
            <a:spAutoFit/>
          </a:bodyPr>
          <a:lstStyle/>
          <a:p>
            <a:r>
              <a:rPr lang="en-US" sz="1000" b="1" dirty="0">
                <a:solidFill>
                  <a:srgbClr val="75787B"/>
                </a:solidFill>
                <a:latin typeface="Segoe UI" panose="020B0502040204020203" pitchFamily="34" charset="0"/>
                <a:ea typeface="Segoe UI" panose="020B0502040204020203" pitchFamily="34" charset="0"/>
                <a:cs typeface="Segoe UI" panose="020B0502040204020203" pitchFamily="34" charset="0"/>
              </a:rPr>
              <a:t>Current worker’s expectations</a:t>
            </a:r>
            <a:endParaRPr lang="en-US" sz="1000" b="1"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71" name="TextBox 70">
            <a:extLst>
              <a:ext uri="{FF2B5EF4-FFF2-40B4-BE49-F238E27FC236}">
                <a16:creationId xmlns:a16="http://schemas.microsoft.com/office/drawing/2014/main" id="{87DF4758-0EFA-CC40-814B-953C9DC6A2B3}"/>
              </a:ext>
            </a:extLst>
          </p:cNvPr>
          <p:cNvSpPr txBox="1"/>
          <p:nvPr/>
        </p:nvSpPr>
        <p:spPr>
          <a:xfrm>
            <a:off x="2490900" y="4783667"/>
            <a:ext cx="1190400" cy="400110"/>
          </a:xfrm>
          <a:prstGeom prst="rect">
            <a:avLst/>
          </a:prstGeom>
          <a:noFill/>
        </p:spPr>
        <p:txBody>
          <a:bodyPr wrap="square" rtlCol="0">
            <a:spAutoFit/>
          </a:bodyPr>
          <a:lstStyle/>
          <a:p>
            <a:r>
              <a:rPr lang="en-US" sz="1000" b="1" dirty="0">
                <a:solidFill>
                  <a:srgbClr val="75787B"/>
                </a:solidFill>
                <a:latin typeface="Segoe UI" panose="020B0502040204020203" pitchFamily="34" charset="0"/>
                <a:ea typeface="Segoe UI" panose="020B0502040204020203" pitchFamily="34" charset="0"/>
                <a:cs typeface="Segoe UI" panose="020B0502040204020203" pitchFamily="34" charset="0"/>
              </a:rPr>
              <a:t>Experience of actual retirees</a:t>
            </a:r>
            <a:endParaRPr lang="en-US" sz="1000" b="1"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72" name="TextBox 71">
            <a:extLst>
              <a:ext uri="{FF2B5EF4-FFF2-40B4-BE49-F238E27FC236}">
                <a16:creationId xmlns:a16="http://schemas.microsoft.com/office/drawing/2014/main" id="{BE0D7F4A-233A-714B-A7B8-E83270A3C815}"/>
              </a:ext>
            </a:extLst>
          </p:cNvPr>
          <p:cNvSpPr txBox="1"/>
          <p:nvPr/>
        </p:nvSpPr>
        <p:spPr>
          <a:xfrm>
            <a:off x="419100" y="1409700"/>
            <a:ext cx="2872740" cy="461665"/>
          </a:xfrm>
          <a:prstGeom prst="rect">
            <a:avLst/>
          </a:prstGeom>
          <a:noFill/>
        </p:spPr>
        <p:txBody>
          <a:bodyPr wrap="square" rtlCol="0">
            <a:spAutoFit/>
          </a:bodyPr>
          <a:lstStyle/>
          <a:p>
            <a:r>
              <a:rPr lang="en-US" sz="1200" b="1" dirty="0">
                <a:solidFill>
                  <a:srgbClr val="75787B"/>
                </a:solidFill>
                <a:latin typeface="Segoe UI" panose="020B0502040204020203" pitchFamily="34" charset="0"/>
                <a:ea typeface="Segoe UI" panose="020B0502040204020203" pitchFamily="34" charset="0"/>
                <a:cs typeface="Segoe UI" panose="020B0502040204020203" pitchFamily="34" charset="0"/>
              </a:rPr>
              <a:t>Expectations of Workers vs. Retirees to Retire at Age 65 or Older</a:t>
            </a:r>
            <a:endParaRPr lang="en-US" sz="1200" b="1"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73" name="TextBox 72">
            <a:extLst>
              <a:ext uri="{FF2B5EF4-FFF2-40B4-BE49-F238E27FC236}">
                <a16:creationId xmlns:a16="http://schemas.microsoft.com/office/drawing/2014/main" id="{060C4AB2-744C-4040-B92D-A0587E80209A}"/>
              </a:ext>
            </a:extLst>
          </p:cNvPr>
          <p:cNvSpPr txBox="1"/>
          <p:nvPr/>
        </p:nvSpPr>
        <p:spPr>
          <a:xfrm>
            <a:off x="900385" y="5253390"/>
            <a:ext cx="2776809" cy="615553"/>
          </a:xfrm>
          <a:prstGeom prst="rect">
            <a:avLst/>
          </a:prstGeom>
          <a:solidFill>
            <a:srgbClr val="75787B"/>
          </a:solidFill>
        </p:spPr>
        <p:txBody>
          <a:bodyPr wrap="square" lIns="182880" rtlCol="0">
            <a:spAutoFit/>
          </a:bodyPr>
          <a:lstStyle/>
          <a:p>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Median retirement Age: </a:t>
            </a:r>
            <a:br>
              <a:rPr lang="en-US" sz="1200" b="1" dirty="0">
                <a:solidFill>
                  <a:schemeClr val="bg1"/>
                </a:solidFill>
                <a:latin typeface="Segoe UI" panose="020B0502040204020203" pitchFamily="34" charset="0"/>
                <a:ea typeface="Segoe UI" panose="020B0502040204020203" pitchFamily="34" charset="0"/>
                <a:cs typeface="Segoe UI" panose="020B0502040204020203" pitchFamily="34" charset="0"/>
              </a:rPr>
            </a:br>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Expected- 65</a:t>
            </a:r>
          </a:p>
          <a:p>
            <a:r>
              <a:rPr lang="en-US" sz="1200"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Actual- 62</a:t>
            </a:r>
            <a:endParaRPr lang="en-US" sz="120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aphicFrame>
        <p:nvGraphicFramePr>
          <p:cNvPr id="76" name="Chart 75">
            <a:extLst>
              <a:ext uri="{FF2B5EF4-FFF2-40B4-BE49-F238E27FC236}">
                <a16:creationId xmlns:a16="http://schemas.microsoft.com/office/drawing/2014/main" id="{4D68CB35-5C76-5C40-98EA-A375C7D40891}"/>
              </a:ext>
            </a:extLst>
          </p:cNvPr>
          <p:cNvGraphicFramePr/>
          <p:nvPr>
            <p:extLst>
              <p:ext uri="{D42A27DB-BD31-4B8C-83A1-F6EECF244321}">
                <p14:modId xmlns:p14="http://schemas.microsoft.com/office/powerpoint/2010/main" val="3327421176"/>
              </p:ext>
            </p:extLst>
          </p:nvPr>
        </p:nvGraphicFramePr>
        <p:xfrm>
          <a:off x="5754108" y="1946034"/>
          <a:ext cx="3487310" cy="3651400"/>
        </p:xfrm>
        <a:graphic>
          <a:graphicData uri="http://schemas.openxmlformats.org/drawingml/2006/chart">
            <c:chart xmlns:c="http://schemas.openxmlformats.org/drawingml/2006/chart" xmlns:r="http://schemas.openxmlformats.org/officeDocument/2006/relationships" r:id="rId4"/>
          </a:graphicData>
        </a:graphic>
      </p:graphicFrame>
      <p:sp>
        <p:nvSpPr>
          <p:cNvPr id="78" name="TextBox 77">
            <a:extLst>
              <a:ext uri="{FF2B5EF4-FFF2-40B4-BE49-F238E27FC236}">
                <a16:creationId xmlns:a16="http://schemas.microsoft.com/office/drawing/2014/main" id="{1821B136-24A0-9645-BD2E-446E302903A6}"/>
              </a:ext>
            </a:extLst>
          </p:cNvPr>
          <p:cNvSpPr txBox="1"/>
          <p:nvPr/>
        </p:nvSpPr>
        <p:spPr>
          <a:xfrm>
            <a:off x="4530725" y="1409700"/>
            <a:ext cx="2696527" cy="461665"/>
          </a:xfrm>
          <a:prstGeom prst="rect">
            <a:avLst/>
          </a:prstGeom>
          <a:noFill/>
        </p:spPr>
        <p:txBody>
          <a:bodyPr wrap="square" rtlCol="0">
            <a:spAutoFit/>
          </a:bodyPr>
          <a:lstStyle/>
          <a:p>
            <a:r>
              <a:rPr lang="en-US" sz="1200" b="1" dirty="0">
                <a:solidFill>
                  <a:srgbClr val="75787B"/>
                </a:solidFill>
                <a:latin typeface="Segoe UI" panose="020B0502040204020203" pitchFamily="34" charset="0"/>
                <a:ea typeface="Segoe UI" panose="020B0502040204020203" pitchFamily="34" charset="0"/>
                <a:cs typeface="Segoe UI" panose="020B0502040204020203" pitchFamily="34" charset="0"/>
              </a:rPr>
              <a:t>Reasons Cited for Retiring Earlier than Planned</a:t>
            </a:r>
            <a:endParaRPr lang="en-US" sz="1200" b="1"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0" name="TextBox 79">
            <a:extLst>
              <a:ext uri="{FF2B5EF4-FFF2-40B4-BE49-F238E27FC236}">
                <a16:creationId xmlns:a16="http://schemas.microsoft.com/office/drawing/2014/main" id="{65AD3C36-2BDA-1A4E-8593-8F2841EC936F}"/>
              </a:ext>
            </a:extLst>
          </p:cNvPr>
          <p:cNvSpPr txBox="1"/>
          <p:nvPr/>
        </p:nvSpPr>
        <p:spPr>
          <a:xfrm>
            <a:off x="7969433" y="2147500"/>
            <a:ext cx="490538" cy="276999"/>
          </a:xfrm>
          <a:prstGeom prst="rect">
            <a:avLst/>
          </a:prstGeom>
          <a:noFill/>
        </p:spPr>
        <p:txBody>
          <a:bodyPr wrap="square" rtlCol="0">
            <a:spAutoFit/>
          </a:bodyPr>
          <a:lstStyle/>
          <a:p>
            <a:r>
              <a:rPr lang="en-US" sz="1200" b="1" dirty="0">
                <a:solidFill>
                  <a:schemeClr val="bg1"/>
                </a:solidFill>
                <a:latin typeface="Segoe UI" panose="020B0502040204020203" pitchFamily="34" charset="0"/>
                <a:ea typeface="Segoe UI" panose="020B0502040204020203" pitchFamily="34" charset="0"/>
                <a:cs typeface="Segoe UI" panose="020B0502040204020203" pitchFamily="34" charset="0"/>
              </a:rPr>
              <a:t>41%</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1" name="TextBox 79">
            <a:extLst>
              <a:ext uri="{FF2B5EF4-FFF2-40B4-BE49-F238E27FC236}">
                <a16:creationId xmlns:a16="http://schemas.microsoft.com/office/drawing/2014/main" id="{7E72B731-84AD-D041-A307-6ACE4B9334AC}"/>
              </a:ext>
            </a:extLst>
          </p:cNvPr>
          <p:cNvSpPr txBox="1"/>
          <p:nvPr/>
        </p:nvSpPr>
        <p:spPr>
          <a:xfrm>
            <a:off x="7007225" y="2656701"/>
            <a:ext cx="49053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26%</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2" name="TextBox 79">
            <a:extLst>
              <a:ext uri="{FF2B5EF4-FFF2-40B4-BE49-F238E27FC236}">
                <a16:creationId xmlns:a16="http://schemas.microsoft.com/office/drawing/2014/main" id="{7B9BE4AA-9D2B-D241-9B03-1800914AE75A}"/>
              </a:ext>
            </a:extLst>
          </p:cNvPr>
          <p:cNvSpPr txBox="1"/>
          <p:nvPr/>
        </p:nvSpPr>
        <p:spPr>
          <a:xfrm>
            <a:off x="6381750" y="3126964"/>
            <a:ext cx="49053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16%</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4" name="TextBox 79">
            <a:extLst>
              <a:ext uri="{FF2B5EF4-FFF2-40B4-BE49-F238E27FC236}">
                <a16:creationId xmlns:a16="http://schemas.microsoft.com/office/drawing/2014/main" id="{89874864-9DBF-A54F-8F31-7FF28714B119}"/>
              </a:ext>
            </a:extLst>
          </p:cNvPr>
          <p:cNvSpPr txBox="1"/>
          <p:nvPr/>
        </p:nvSpPr>
        <p:spPr>
          <a:xfrm>
            <a:off x="6305550" y="3595300"/>
            <a:ext cx="49053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14%</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5" name="TextBox 79">
            <a:extLst>
              <a:ext uri="{FF2B5EF4-FFF2-40B4-BE49-F238E27FC236}">
                <a16:creationId xmlns:a16="http://schemas.microsoft.com/office/drawing/2014/main" id="{EBEF0106-7038-1C42-B3D5-B0007BD75C2A}"/>
              </a:ext>
            </a:extLst>
          </p:cNvPr>
          <p:cNvSpPr txBox="1"/>
          <p:nvPr/>
        </p:nvSpPr>
        <p:spPr>
          <a:xfrm>
            <a:off x="5815987" y="4098515"/>
            <a:ext cx="49053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4%</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6" name="TextBox 79">
            <a:extLst>
              <a:ext uri="{FF2B5EF4-FFF2-40B4-BE49-F238E27FC236}">
                <a16:creationId xmlns:a16="http://schemas.microsoft.com/office/drawing/2014/main" id="{3CDD4FC9-DA7A-C447-8E39-D309DFAB25F7}"/>
              </a:ext>
            </a:extLst>
          </p:cNvPr>
          <p:cNvSpPr txBox="1"/>
          <p:nvPr/>
        </p:nvSpPr>
        <p:spPr>
          <a:xfrm>
            <a:off x="6913562" y="4575268"/>
            <a:ext cx="49053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24%</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7" name="TextBox 79">
            <a:extLst>
              <a:ext uri="{FF2B5EF4-FFF2-40B4-BE49-F238E27FC236}">
                <a16:creationId xmlns:a16="http://schemas.microsoft.com/office/drawing/2014/main" id="{31B4DD7B-C8F2-134E-8D5B-E06EBBCDD527}"/>
              </a:ext>
            </a:extLst>
          </p:cNvPr>
          <p:cNvSpPr txBox="1"/>
          <p:nvPr/>
        </p:nvSpPr>
        <p:spPr>
          <a:xfrm>
            <a:off x="6054725" y="5052062"/>
            <a:ext cx="49053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10%</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8" name="TextBox 87">
            <a:extLst>
              <a:ext uri="{FF2B5EF4-FFF2-40B4-BE49-F238E27FC236}">
                <a16:creationId xmlns:a16="http://schemas.microsoft.com/office/drawing/2014/main" id="{90983E4D-5D2F-B645-8453-1778AE3FB3F7}"/>
              </a:ext>
            </a:extLst>
          </p:cNvPr>
          <p:cNvSpPr txBox="1"/>
          <p:nvPr/>
        </p:nvSpPr>
        <p:spPr>
          <a:xfrm>
            <a:off x="4530725" y="2114490"/>
            <a:ext cx="1295310" cy="400110"/>
          </a:xfrm>
          <a:prstGeom prst="rect">
            <a:avLst/>
          </a:prstGeom>
          <a:noFill/>
        </p:spPr>
        <p:txBody>
          <a:bodyPr wrap="square" rtlCol="0">
            <a:spAutoFit/>
          </a:bodyPr>
          <a:lstStyle/>
          <a:p>
            <a:pPr algn="r"/>
            <a:r>
              <a:rPr lang="en-US" sz="1000" dirty="0">
                <a:solidFill>
                  <a:srgbClr val="75787B"/>
                </a:solidFill>
                <a:latin typeface="Segoe UI" panose="020B0502040204020203" pitchFamily="34" charset="0"/>
                <a:ea typeface="Segoe UI" panose="020B0502040204020203" pitchFamily="34" charset="0"/>
                <a:cs typeface="Segoe UI" panose="020B0502040204020203" pitchFamily="34" charset="0"/>
              </a:rPr>
              <a:t>Health problems or disability</a:t>
            </a:r>
            <a:endParaRPr lang="en-US" sz="1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9" name="TextBox 88">
            <a:extLst>
              <a:ext uri="{FF2B5EF4-FFF2-40B4-BE49-F238E27FC236}">
                <a16:creationId xmlns:a16="http://schemas.microsoft.com/office/drawing/2014/main" id="{4FBEAE08-21FF-3749-B283-CC08A6A28BE8}"/>
              </a:ext>
            </a:extLst>
          </p:cNvPr>
          <p:cNvSpPr txBox="1"/>
          <p:nvPr/>
        </p:nvSpPr>
        <p:spPr>
          <a:xfrm>
            <a:off x="4258491" y="2559716"/>
            <a:ext cx="1567544" cy="400110"/>
          </a:xfrm>
          <a:prstGeom prst="rect">
            <a:avLst/>
          </a:prstGeom>
          <a:noFill/>
        </p:spPr>
        <p:txBody>
          <a:bodyPr wrap="square" rtlCol="0">
            <a:spAutoFit/>
          </a:bodyPr>
          <a:lstStyle/>
          <a:p>
            <a:pPr algn="r"/>
            <a:r>
              <a:rPr lang="en-US" sz="1000" dirty="0">
                <a:solidFill>
                  <a:srgbClr val="75787B"/>
                </a:solidFill>
                <a:latin typeface="Segoe UI" panose="020B0502040204020203" pitchFamily="34" charset="0"/>
                <a:ea typeface="Segoe UI" panose="020B0502040204020203" pitchFamily="34" charset="0"/>
                <a:cs typeface="Segoe UI" panose="020B0502040204020203" pitchFamily="34" charset="0"/>
              </a:rPr>
              <a:t>Changes at company </a:t>
            </a:r>
            <a:r>
              <a:rPr lang="en-US" sz="1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000" dirty="0">
                <a:solidFill>
                  <a:srgbClr val="75787B"/>
                </a:solidFill>
                <a:latin typeface="Segoe UI" panose="020B0502040204020203" pitchFamily="34" charset="0"/>
                <a:ea typeface="Segoe UI" panose="020B0502040204020203" pitchFamily="34" charset="0"/>
                <a:cs typeface="Segoe UI" panose="020B0502040204020203" pitchFamily="34" charset="0"/>
              </a:rPr>
              <a:t>downsizing/closing</a:t>
            </a:r>
            <a:r>
              <a:rPr lang="en-US" sz="1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a:t>
            </a:r>
          </a:p>
        </p:txBody>
      </p:sp>
      <p:sp>
        <p:nvSpPr>
          <p:cNvPr id="90" name="TextBox 89">
            <a:extLst>
              <a:ext uri="{FF2B5EF4-FFF2-40B4-BE49-F238E27FC236}">
                <a16:creationId xmlns:a16="http://schemas.microsoft.com/office/drawing/2014/main" id="{D8BBECC6-BD4A-1C40-8D1D-CD54BA4E4F38}"/>
              </a:ext>
            </a:extLst>
          </p:cNvPr>
          <p:cNvSpPr txBox="1"/>
          <p:nvPr/>
        </p:nvSpPr>
        <p:spPr>
          <a:xfrm>
            <a:off x="4539345" y="3068079"/>
            <a:ext cx="1295310" cy="400110"/>
          </a:xfrm>
          <a:prstGeom prst="rect">
            <a:avLst/>
          </a:prstGeom>
          <a:noFill/>
        </p:spPr>
        <p:txBody>
          <a:bodyPr wrap="square" rtlCol="0">
            <a:spAutoFit/>
          </a:bodyPr>
          <a:lstStyle/>
          <a:p>
            <a:pPr algn="r"/>
            <a:r>
              <a:rPr lang="en-US" sz="1000" dirty="0">
                <a:solidFill>
                  <a:srgbClr val="75787B"/>
                </a:solidFill>
                <a:latin typeface="Segoe UI" panose="020B0502040204020203" pitchFamily="34" charset="0"/>
                <a:ea typeface="Segoe UI" panose="020B0502040204020203" pitchFamily="34" charset="0"/>
                <a:cs typeface="Segoe UI" panose="020B0502040204020203" pitchFamily="34" charset="0"/>
              </a:rPr>
              <a:t>Other work-related reason</a:t>
            </a:r>
            <a:endParaRPr lang="en-US" sz="1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91" name="TextBox 90">
            <a:extLst>
              <a:ext uri="{FF2B5EF4-FFF2-40B4-BE49-F238E27FC236}">
                <a16:creationId xmlns:a16="http://schemas.microsoft.com/office/drawing/2014/main" id="{ECEB3AF6-6FF1-9446-9ADD-8C9EE21A0557}"/>
              </a:ext>
            </a:extLst>
          </p:cNvPr>
          <p:cNvSpPr txBox="1"/>
          <p:nvPr/>
        </p:nvSpPr>
        <p:spPr>
          <a:xfrm>
            <a:off x="4543787" y="3586888"/>
            <a:ext cx="1295310" cy="400110"/>
          </a:xfrm>
          <a:prstGeom prst="rect">
            <a:avLst/>
          </a:prstGeom>
          <a:noFill/>
        </p:spPr>
        <p:txBody>
          <a:bodyPr wrap="square" rtlCol="0">
            <a:spAutoFit/>
          </a:bodyPr>
          <a:lstStyle/>
          <a:p>
            <a:pPr algn="r"/>
            <a:r>
              <a:rPr lang="en-US" sz="1000" dirty="0">
                <a:solidFill>
                  <a:srgbClr val="75787B"/>
                </a:solidFill>
                <a:latin typeface="Segoe UI" panose="020B0502040204020203" pitchFamily="34" charset="0"/>
                <a:ea typeface="Segoe UI" panose="020B0502040204020203" pitchFamily="34" charset="0"/>
                <a:cs typeface="Segoe UI" panose="020B0502040204020203" pitchFamily="34" charset="0"/>
              </a:rPr>
              <a:t>Care for spouse or family member</a:t>
            </a:r>
            <a:endParaRPr lang="en-US" sz="1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92" name="TextBox 91">
            <a:extLst>
              <a:ext uri="{FF2B5EF4-FFF2-40B4-BE49-F238E27FC236}">
                <a16:creationId xmlns:a16="http://schemas.microsoft.com/office/drawing/2014/main" id="{221046FC-07F2-BC4E-BEBA-49A739962F92}"/>
              </a:ext>
            </a:extLst>
          </p:cNvPr>
          <p:cNvSpPr txBox="1"/>
          <p:nvPr/>
        </p:nvSpPr>
        <p:spPr>
          <a:xfrm>
            <a:off x="4530725" y="4121816"/>
            <a:ext cx="1295310" cy="246221"/>
          </a:xfrm>
          <a:prstGeom prst="rect">
            <a:avLst/>
          </a:prstGeom>
          <a:noFill/>
        </p:spPr>
        <p:txBody>
          <a:bodyPr wrap="square" rtlCol="0">
            <a:spAutoFit/>
          </a:bodyPr>
          <a:lstStyle/>
          <a:p>
            <a:pPr algn="r"/>
            <a:r>
              <a:rPr lang="en-US" sz="1000" dirty="0">
                <a:solidFill>
                  <a:srgbClr val="75787B"/>
                </a:solidFill>
                <a:latin typeface="Segoe UI" panose="020B0502040204020203" pitchFamily="34" charset="0"/>
                <a:ea typeface="Segoe UI" panose="020B0502040204020203" pitchFamily="34" charset="0"/>
                <a:cs typeface="Segoe UI" panose="020B0502040204020203" pitchFamily="34" charset="0"/>
              </a:rPr>
              <a:t>Outdated skills</a:t>
            </a:r>
            <a:endParaRPr lang="en-US" sz="1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93" name="TextBox 92">
            <a:extLst>
              <a:ext uri="{FF2B5EF4-FFF2-40B4-BE49-F238E27FC236}">
                <a16:creationId xmlns:a16="http://schemas.microsoft.com/office/drawing/2014/main" id="{16097F54-BD1E-2948-8D5C-0EF37D994D66}"/>
              </a:ext>
            </a:extLst>
          </p:cNvPr>
          <p:cNvSpPr txBox="1"/>
          <p:nvPr/>
        </p:nvSpPr>
        <p:spPr>
          <a:xfrm>
            <a:off x="4572000" y="4540916"/>
            <a:ext cx="1295310" cy="400110"/>
          </a:xfrm>
          <a:prstGeom prst="rect">
            <a:avLst/>
          </a:prstGeom>
          <a:noFill/>
        </p:spPr>
        <p:txBody>
          <a:bodyPr wrap="square" rtlCol="0">
            <a:spAutoFit/>
          </a:bodyPr>
          <a:lstStyle/>
          <a:p>
            <a:pPr algn="r"/>
            <a:r>
              <a:rPr lang="en-US" sz="1000" dirty="0">
                <a:solidFill>
                  <a:srgbClr val="75787B"/>
                </a:solidFill>
                <a:latin typeface="Segoe UI" panose="020B0502040204020203" pitchFamily="34" charset="0"/>
                <a:ea typeface="Segoe UI" panose="020B0502040204020203" pitchFamily="34" charset="0"/>
                <a:cs typeface="Segoe UI" panose="020B0502040204020203" pitchFamily="34" charset="0"/>
              </a:rPr>
              <a:t>Able to afford early retirement</a:t>
            </a:r>
            <a:endParaRPr lang="en-US" sz="1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94" name="TextBox 93">
            <a:extLst>
              <a:ext uri="{FF2B5EF4-FFF2-40B4-BE49-F238E27FC236}">
                <a16:creationId xmlns:a16="http://schemas.microsoft.com/office/drawing/2014/main" id="{64E494EE-623A-1A4F-8B0B-0BE60550ABA3}"/>
              </a:ext>
            </a:extLst>
          </p:cNvPr>
          <p:cNvSpPr txBox="1"/>
          <p:nvPr/>
        </p:nvSpPr>
        <p:spPr>
          <a:xfrm>
            <a:off x="4572000" y="5010090"/>
            <a:ext cx="1295310" cy="400110"/>
          </a:xfrm>
          <a:prstGeom prst="rect">
            <a:avLst/>
          </a:prstGeom>
          <a:noFill/>
        </p:spPr>
        <p:txBody>
          <a:bodyPr wrap="square" rtlCol="0">
            <a:spAutoFit/>
          </a:bodyPr>
          <a:lstStyle/>
          <a:p>
            <a:pPr algn="r"/>
            <a:r>
              <a:rPr lang="en-US" sz="1000" dirty="0">
                <a:solidFill>
                  <a:srgbClr val="75787B"/>
                </a:solidFill>
                <a:latin typeface="Segoe UI" panose="020B0502040204020203" pitchFamily="34" charset="0"/>
                <a:ea typeface="Segoe UI" panose="020B0502040204020203" pitchFamily="34" charset="0"/>
                <a:cs typeface="Segoe UI" panose="020B0502040204020203" pitchFamily="34" charset="0"/>
              </a:rPr>
              <a:t>Want to do something else</a:t>
            </a:r>
            <a:endParaRPr lang="en-US" sz="1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9" name="Straight Connector 28">
            <a:extLst>
              <a:ext uri="{FF2B5EF4-FFF2-40B4-BE49-F238E27FC236}">
                <a16:creationId xmlns:a16="http://schemas.microsoft.com/office/drawing/2014/main" id="{39AA51C7-1325-FB49-AC53-DF0B182E9891}"/>
              </a:ext>
            </a:extLst>
          </p:cNvPr>
          <p:cNvCxnSpPr>
            <a:cxnSpLocks/>
          </p:cNvCxnSpPr>
          <p:nvPr/>
        </p:nvCxnSpPr>
        <p:spPr>
          <a:xfrm>
            <a:off x="490580" y="1903998"/>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81351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22633" y="6371406"/>
            <a:ext cx="311806" cy="165752"/>
          </a:xfrm>
        </p:spPr>
        <p:txBody>
          <a:bodyPr/>
          <a:lstStyle/>
          <a:p>
            <a:fld id="{2C7AFF3D-0B71-614B-ACB6-7F45BDA6A838}" type="slidenum">
              <a:rPr lang="en-US" smtClean="0">
                <a:latin typeface="Segoe UI" panose="020B0502040204020203" pitchFamily="34" charset="0"/>
              </a:rPr>
              <a:pPr/>
              <a:t>15</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91174" y="6360082"/>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6087553"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Reliability of Guaranteed Income</a:t>
            </a:r>
          </a:p>
        </p:txBody>
      </p:sp>
      <p:sp>
        <p:nvSpPr>
          <p:cNvPr id="45" name="TextBox 44">
            <a:extLst>
              <a:ext uri="{FF2B5EF4-FFF2-40B4-BE49-F238E27FC236}">
                <a16:creationId xmlns:a16="http://schemas.microsoft.com/office/drawing/2014/main" id="{7E2986C8-4C91-8C4C-8230-30CDD2B5B689}"/>
              </a:ext>
            </a:extLst>
          </p:cNvPr>
          <p:cNvSpPr txBox="1"/>
          <p:nvPr/>
        </p:nvSpPr>
        <p:spPr>
          <a:xfrm>
            <a:off x="429039" y="6020928"/>
            <a:ext cx="6077493" cy="123111"/>
          </a:xfrm>
          <a:prstGeom prst="rect">
            <a:avLst/>
          </a:prstGeom>
          <a:noFill/>
        </p:spPr>
        <p:txBody>
          <a:bodyPr wrap="square" lIns="0" tIns="0" rIns="0" bIns="0" rtlCol="0">
            <a:spAutoFit/>
          </a:bodyPr>
          <a:lstStyle/>
          <a:p>
            <a:r>
              <a:rPr lang="en-US" sz="800" dirty="0">
                <a:solidFill>
                  <a:schemeClr val="bg1">
                    <a:lumMod val="50000"/>
                  </a:schemeClr>
                </a:solidFill>
              </a:rPr>
              <a:t>Sourced internally by AXA Equitable</a:t>
            </a:r>
            <a:endParaRPr lang="en-US" sz="800" dirty="0">
              <a:solidFill>
                <a:schemeClr val="bg1">
                  <a:lumMod val="50000"/>
                </a:schemeClr>
              </a:solidFill>
              <a:latin typeface="Arial" pitchFamily="34" charset="0"/>
              <a:cs typeface="Arial" pitchFamily="34" charset="0"/>
            </a:endParaRPr>
          </a:p>
        </p:txBody>
      </p:sp>
      <p:sp>
        <p:nvSpPr>
          <p:cNvPr id="72" name="TextBox 71">
            <a:extLst>
              <a:ext uri="{FF2B5EF4-FFF2-40B4-BE49-F238E27FC236}">
                <a16:creationId xmlns:a16="http://schemas.microsoft.com/office/drawing/2014/main" id="{BE0D7F4A-233A-714B-A7B8-E83270A3C815}"/>
              </a:ext>
            </a:extLst>
          </p:cNvPr>
          <p:cNvSpPr txBox="1"/>
          <p:nvPr/>
        </p:nvSpPr>
        <p:spPr>
          <a:xfrm>
            <a:off x="348610" y="1917904"/>
            <a:ext cx="6703557" cy="523220"/>
          </a:xfrm>
          <a:prstGeom prst="rect">
            <a:avLst/>
          </a:prstGeom>
          <a:noFill/>
        </p:spPr>
        <p:txBody>
          <a:bodyPr wrap="square" rtlCol="0">
            <a:spAutoFit/>
          </a:bodyPr>
          <a:lstStyle/>
          <a:p>
            <a:r>
              <a:rPr lang="en-US" sz="1400" b="1" dirty="0">
                <a:solidFill>
                  <a:srgbClr val="75787B"/>
                </a:solidFill>
                <a:latin typeface="Segoe UI" panose="020B0502040204020203" pitchFamily="34" charset="0"/>
                <a:ea typeface="Segoe UI" panose="020B0502040204020203" pitchFamily="34" charset="0"/>
                <a:cs typeface="Segoe UI" panose="020B0502040204020203" pitchFamily="34" charset="0"/>
              </a:rPr>
              <a:t>Investment Risk: Portfolio mix and income affect the life of your savings</a:t>
            </a:r>
          </a:p>
          <a:p>
            <a:r>
              <a:rPr lang="en-US" sz="14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Probability of Meeting Income Needs over 25 years</a:t>
            </a:r>
            <a:endParaRPr lang="en-US" sz="14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aphicFrame>
        <p:nvGraphicFramePr>
          <p:cNvPr id="76" name="Chart 75">
            <a:extLst>
              <a:ext uri="{FF2B5EF4-FFF2-40B4-BE49-F238E27FC236}">
                <a16:creationId xmlns:a16="http://schemas.microsoft.com/office/drawing/2014/main" id="{4D68CB35-5C76-5C40-98EA-A375C7D40891}"/>
              </a:ext>
            </a:extLst>
          </p:cNvPr>
          <p:cNvGraphicFramePr/>
          <p:nvPr/>
        </p:nvGraphicFramePr>
        <p:xfrm>
          <a:off x="5754108" y="1946034"/>
          <a:ext cx="3487310" cy="3651400"/>
        </p:xfrm>
        <a:graphic>
          <a:graphicData uri="http://schemas.openxmlformats.org/drawingml/2006/chart">
            <c:chart xmlns:c="http://schemas.openxmlformats.org/drawingml/2006/chart" xmlns:r="http://schemas.openxmlformats.org/officeDocument/2006/relationships" r:id="rId3"/>
          </a:graphicData>
        </a:graphic>
      </p:graphicFrame>
      <p:sp>
        <p:nvSpPr>
          <p:cNvPr id="80" name="TextBox 79">
            <a:extLst>
              <a:ext uri="{FF2B5EF4-FFF2-40B4-BE49-F238E27FC236}">
                <a16:creationId xmlns:a16="http://schemas.microsoft.com/office/drawing/2014/main" id="{65AD3C36-2BDA-1A4E-8593-8F2841EC936F}"/>
              </a:ext>
            </a:extLst>
          </p:cNvPr>
          <p:cNvSpPr txBox="1"/>
          <p:nvPr/>
        </p:nvSpPr>
        <p:spPr>
          <a:xfrm>
            <a:off x="7969433" y="2147500"/>
            <a:ext cx="490538" cy="276999"/>
          </a:xfrm>
          <a:prstGeom prst="rect">
            <a:avLst/>
          </a:prstGeom>
          <a:noFill/>
        </p:spPr>
        <p:txBody>
          <a:bodyPr wrap="square" rtlCol="0">
            <a:spAutoFit/>
          </a:bodyPr>
          <a:lstStyle/>
          <a:p>
            <a:r>
              <a:rPr lang="en-US" sz="1200" b="1" dirty="0">
                <a:solidFill>
                  <a:schemeClr val="bg1"/>
                </a:solidFill>
                <a:latin typeface="Segoe UI" panose="020B0502040204020203" pitchFamily="34" charset="0"/>
                <a:ea typeface="Segoe UI" panose="020B0502040204020203" pitchFamily="34" charset="0"/>
                <a:cs typeface="Segoe UI" panose="020B0502040204020203" pitchFamily="34" charset="0"/>
              </a:rPr>
              <a:t>41%</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1" name="TextBox 79">
            <a:extLst>
              <a:ext uri="{FF2B5EF4-FFF2-40B4-BE49-F238E27FC236}">
                <a16:creationId xmlns:a16="http://schemas.microsoft.com/office/drawing/2014/main" id="{7E72B731-84AD-D041-A307-6ACE4B9334AC}"/>
              </a:ext>
            </a:extLst>
          </p:cNvPr>
          <p:cNvSpPr txBox="1"/>
          <p:nvPr/>
        </p:nvSpPr>
        <p:spPr>
          <a:xfrm>
            <a:off x="7007225" y="2656701"/>
            <a:ext cx="49053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26%</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2" name="TextBox 79">
            <a:extLst>
              <a:ext uri="{FF2B5EF4-FFF2-40B4-BE49-F238E27FC236}">
                <a16:creationId xmlns:a16="http://schemas.microsoft.com/office/drawing/2014/main" id="{7B9BE4AA-9D2B-D241-9B03-1800914AE75A}"/>
              </a:ext>
            </a:extLst>
          </p:cNvPr>
          <p:cNvSpPr txBox="1"/>
          <p:nvPr/>
        </p:nvSpPr>
        <p:spPr>
          <a:xfrm>
            <a:off x="6381750" y="3126964"/>
            <a:ext cx="49053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16%</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4" name="TextBox 79">
            <a:extLst>
              <a:ext uri="{FF2B5EF4-FFF2-40B4-BE49-F238E27FC236}">
                <a16:creationId xmlns:a16="http://schemas.microsoft.com/office/drawing/2014/main" id="{89874864-9DBF-A54F-8F31-7FF28714B119}"/>
              </a:ext>
            </a:extLst>
          </p:cNvPr>
          <p:cNvSpPr txBox="1"/>
          <p:nvPr/>
        </p:nvSpPr>
        <p:spPr>
          <a:xfrm>
            <a:off x="6305550" y="3595300"/>
            <a:ext cx="49053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14%</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5" name="TextBox 79">
            <a:extLst>
              <a:ext uri="{FF2B5EF4-FFF2-40B4-BE49-F238E27FC236}">
                <a16:creationId xmlns:a16="http://schemas.microsoft.com/office/drawing/2014/main" id="{EBEF0106-7038-1C42-B3D5-B0007BD75C2A}"/>
              </a:ext>
            </a:extLst>
          </p:cNvPr>
          <p:cNvSpPr txBox="1"/>
          <p:nvPr/>
        </p:nvSpPr>
        <p:spPr>
          <a:xfrm>
            <a:off x="5815987" y="4098515"/>
            <a:ext cx="49053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4%</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6" name="TextBox 79">
            <a:extLst>
              <a:ext uri="{FF2B5EF4-FFF2-40B4-BE49-F238E27FC236}">
                <a16:creationId xmlns:a16="http://schemas.microsoft.com/office/drawing/2014/main" id="{3CDD4FC9-DA7A-C447-8E39-D309DFAB25F7}"/>
              </a:ext>
            </a:extLst>
          </p:cNvPr>
          <p:cNvSpPr txBox="1"/>
          <p:nvPr/>
        </p:nvSpPr>
        <p:spPr>
          <a:xfrm>
            <a:off x="6913562" y="4575268"/>
            <a:ext cx="49053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24%</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7" name="TextBox 79">
            <a:extLst>
              <a:ext uri="{FF2B5EF4-FFF2-40B4-BE49-F238E27FC236}">
                <a16:creationId xmlns:a16="http://schemas.microsoft.com/office/drawing/2014/main" id="{31B4DD7B-C8F2-134E-8D5B-E06EBBCDD527}"/>
              </a:ext>
            </a:extLst>
          </p:cNvPr>
          <p:cNvSpPr txBox="1"/>
          <p:nvPr/>
        </p:nvSpPr>
        <p:spPr>
          <a:xfrm>
            <a:off x="6054725" y="5052062"/>
            <a:ext cx="49053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10%</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aphicFrame>
        <p:nvGraphicFramePr>
          <p:cNvPr id="30" name="Table 29">
            <a:extLst>
              <a:ext uri="{FF2B5EF4-FFF2-40B4-BE49-F238E27FC236}">
                <a16:creationId xmlns:a16="http://schemas.microsoft.com/office/drawing/2014/main" id="{F07A71FD-2A26-6E4B-906D-AE8C0CBD20EB}"/>
              </a:ext>
            </a:extLst>
          </p:cNvPr>
          <p:cNvGraphicFramePr>
            <a:graphicFrameLocks noGrp="1"/>
          </p:cNvGraphicFramePr>
          <p:nvPr>
            <p:extLst>
              <p:ext uri="{D42A27DB-BD31-4B8C-83A1-F6EECF244321}">
                <p14:modId xmlns:p14="http://schemas.microsoft.com/office/powerpoint/2010/main" val="2708800288"/>
              </p:ext>
            </p:extLst>
          </p:nvPr>
        </p:nvGraphicFramePr>
        <p:xfrm>
          <a:off x="443710" y="2514601"/>
          <a:ext cx="8430868" cy="2961210"/>
        </p:xfrm>
        <a:graphic>
          <a:graphicData uri="http://schemas.openxmlformats.org/drawingml/2006/table">
            <a:tbl>
              <a:tblPr firstRow="1" bandRow="1">
                <a:tableStyleId>{5C22544A-7EE6-4342-B048-85BDC9FD1C3A}</a:tableStyleId>
              </a:tblPr>
              <a:tblGrid>
                <a:gridCol w="1391479">
                  <a:extLst>
                    <a:ext uri="{9D8B030D-6E8A-4147-A177-3AD203B41FA5}">
                      <a16:colId xmlns:a16="http://schemas.microsoft.com/office/drawing/2014/main" val="3574736931"/>
                    </a:ext>
                  </a:extLst>
                </a:gridCol>
                <a:gridCol w="1085214">
                  <a:extLst>
                    <a:ext uri="{9D8B030D-6E8A-4147-A177-3AD203B41FA5}">
                      <a16:colId xmlns:a16="http://schemas.microsoft.com/office/drawing/2014/main" val="3741534565"/>
                    </a:ext>
                  </a:extLst>
                </a:gridCol>
                <a:gridCol w="1829721">
                  <a:extLst>
                    <a:ext uri="{9D8B030D-6E8A-4147-A177-3AD203B41FA5}">
                      <a16:colId xmlns:a16="http://schemas.microsoft.com/office/drawing/2014/main" val="497003334"/>
                    </a:ext>
                  </a:extLst>
                </a:gridCol>
                <a:gridCol w="1736578">
                  <a:extLst>
                    <a:ext uri="{9D8B030D-6E8A-4147-A177-3AD203B41FA5}">
                      <a16:colId xmlns:a16="http://schemas.microsoft.com/office/drawing/2014/main" val="2292970241"/>
                    </a:ext>
                  </a:extLst>
                </a:gridCol>
                <a:gridCol w="1336544">
                  <a:extLst>
                    <a:ext uri="{9D8B030D-6E8A-4147-A177-3AD203B41FA5}">
                      <a16:colId xmlns:a16="http://schemas.microsoft.com/office/drawing/2014/main" val="245460975"/>
                    </a:ext>
                  </a:extLst>
                </a:gridCol>
                <a:gridCol w="1051332">
                  <a:extLst>
                    <a:ext uri="{9D8B030D-6E8A-4147-A177-3AD203B41FA5}">
                      <a16:colId xmlns:a16="http://schemas.microsoft.com/office/drawing/2014/main" val="3028122138"/>
                    </a:ext>
                  </a:extLst>
                </a:gridCol>
              </a:tblGrid>
              <a:tr h="693963">
                <a:tc>
                  <a:txBody>
                    <a:bodyPr/>
                    <a:lstStyle/>
                    <a:p>
                      <a:pPr algn="ctr" fontAlgn="b"/>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Withdrawal </a:t>
                      </a:r>
                      <a:b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br>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Rate</a:t>
                      </a:r>
                      <a:endParaRPr lang="en-US" sz="1200" b="0" i="0" u="none" strike="noStrike" dirty="0">
                        <a:solidFill>
                          <a:schemeClr val="bg1"/>
                        </a:solidFill>
                        <a:effectLst/>
                        <a:latin typeface="Calibri" panose="020F0502020204030204" pitchFamily="34" charset="0"/>
                      </a:endParaRPr>
                    </a:p>
                  </a:txBody>
                  <a:tcPr marL="6326" marR="6326" marT="6326" marB="0" anchor="ctr">
                    <a:lnB w="38100" cmpd="sng">
                      <a:noFill/>
                    </a:lnB>
                    <a:solidFill>
                      <a:srgbClr val="2E3192"/>
                    </a:solidFill>
                  </a:tcPr>
                </a:tc>
                <a:tc>
                  <a:txBody>
                    <a:bodyPr/>
                    <a:lstStyle/>
                    <a:p>
                      <a:pPr algn="ctr" fontAlgn="b"/>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100% </a:t>
                      </a:r>
                    </a:p>
                    <a:p>
                      <a:pPr algn="ctr" fontAlgn="b"/>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Bonds</a:t>
                      </a:r>
                      <a:endParaRPr lang="en-US" sz="1200" b="0" i="0" u="none" strike="noStrike" dirty="0">
                        <a:solidFill>
                          <a:schemeClr val="bg1"/>
                        </a:solidFill>
                        <a:effectLst/>
                        <a:latin typeface="Calibri" panose="020F0502020204030204" pitchFamily="34" charset="0"/>
                      </a:endParaRPr>
                    </a:p>
                  </a:txBody>
                  <a:tcPr marL="6326" marR="6326" marT="6326" marB="0" anchor="ctr">
                    <a:lnB w="38100" cmpd="sng">
                      <a:noFill/>
                    </a:lnB>
                    <a:solidFill>
                      <a:srgbClr val="2E3192"/>
                    </a:solidFill>
                  </a:tcPr>
                </a:tc>
                <a:tc>
                  <a:txBody>
                    <a:bodyPr/>
                    <a:lstStyle/>
                    <a:p>
                      <a:pPr algn="ctr" fontAlgn="b"/>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75% Bonds</a:t>
                      </a:r>
                    </a:p>
                    <a:p>
                      <a:pPr algn="ctr" fontAlgn="b"/>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25% Stocks</a:t>
                      </a:r>
                      <a:endParaRPr lang="en-US" sz="1200" b="0" i="0" u="none" strike="noStrike" dirty="0">
                        <a:solidFill>
                          <a:schemeClr val="bg1"/>
                        </a:solidFill>
                        <a:effectLst/>
                        <a:latin typeface="Calibri" panose="020F0502020204030204" pitchFamily="34" charset="0"/>
                      </a:endParaRPr>
                    </a:p>
                  </a:txBody>
                  <a:tcPr marL="6326" marR="6326" marT="6326" marB="0" anchor="ctr">
                    <a:lnB w="38100" cmpd="sng">
                      <a:noFill/>
                    </a:lnB>
                    <a:solidFill>
                      <a:srgbClr val="2E3192"/>
                    </a:solidFill>
                  </a:tcPr>
                </a:tc>
                <a:tc>
                  <a:txBody>
                    <a:bodyPr/>
                    <a:lstStyle/>
                    <a:p>
                      <a:pPr algn="ctr" fontAlgn="b"/>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50% Bonds</a:t>
                      </a:r>
                    </a:p>
                    <a:p>
                      <a:pPr algn="ctr" fontAlgn="b"/>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50% Stocks</a:t>
                      </a:r>
                      <a:endParaRPr lang="en-US" sz="1200" b="0" i="0" u="none" strike="noStrike" dirty="0">
                        <a:solidFill>
                          <a:schemeClr val="bg1"/>
                        </a:solidFill>
                        <a:effectLst/>
                        <a:latin typeface="Calibri" panose="020F0502020204030204" pitchFamily="34" charset="0"/>
                      </a:endParaRPr>
                    </a:p>
                  </a:txBody>
                  <a:tcPr marL="6326" marR="6326" marT="6326" marB="0" anchor="ctr">
                    <a:lnB w="38100" cmpd="sng">
                      <a:noFill/>
                    </a:lnB>
                    <a:solidFill>
                      <a:srgbClr val="3369FF"/>
                    </a:solidFill>
                  </a:tcPr>
                </a:tc>
                <a:tc>
                  <a:txBody>
                    <a:bodyPr/>
                    <a:lstStyle/>
                    <a:p>
                      <a:pPr algn="ctr" fontAlgn="b"/>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25% Bonds</a:t>
                      </a:r>
                    </a:p>
                    <a:p>
                      <a:pPr algn="ctr" fontAlgn="b"/>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75% Stocks</a:t>
                      </a:r>
                      <a:endParaRPr lang="en-US" sz="1200" b="0" i="0" u="none" strike="noStrike" dirty="0">
                        <a:solidFill>
                          <a:schemeClr val="bg1"/>
                        </a:solidFill>
                        <a:effectLst/>
                        <a:latin typeface="Calibri" panose="020F0502020204030204" pitchFamily="34" charset="0"/>
                      </a:endParaRPr>
                    </a:p>
                    <a:p>
                      <a:pPr algn="ctr" fontAlgn="b"/>
                      <a:endParaRPr lang="en-US" sz="1200" b="0" i="0" u="none" strike="noStrike" dirty="0">
                        <a:solidFill>
                          <a:srgbClr val="000000"/>
                        </a:solidFill>
                        <a:effectLst/>
                        <a:latin typeface="Calibri" panose="020F0502020204030204" pitchFamily="34" charset="0"/>
                      </a:endParaRPr>
                    </a:p>
                  </a:txBody>
                  <a:tcPr marL="6326" marR="6326" marT="182880" marB="0" anchor="ctr">
                    <a:lnB w="38100" cmpd="sng">
                      <a:noFill/>
                    </a:lnB>
                    <a:solidFill>
                      <a:srgbClr val="2E3192"/>
                    </a:solidFill>
                  </a:tcPr>
                </a:tc>
                <a:tc>
                  <a:txBody>
                    <a:bodyPr/>
                    <a:lstStyle/>
                    <a:p>
                      <a:pPr algn="ctr" fontAlgn="b"/>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100% </a:t>
                      </a:r>
                      <a:b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br>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Stocks</a:t>
                      </a:r>
                      <a:endParaRPr lang="en-US" sz="1200" b="0" i="0" u="none" strike="noStrike" dirty="0">
                        <a:solidFill>
                          <a:schemeClr val="bg1"/>
                        </a:solidFill>
                        <a:effectLst/>
                        <a:latin typeface="Calibri" panose="020F0502020204030204" pitchFamily="34" charset="0"/>
                      </a:endParaRPr>
                    </a:p>
                  </a:txBody>
                  <a:tcPr marL="6326" marR="6326" marT="6326" marB="0" anchor="ctr">
                    <a:lnB w="38100" cmpd="sng">
                      <a:noFill/>
                    </a:lnB>
                    <a:solidFill>
                      <a:srgbClr val="2E3192"/>
                    </a:solidFill>
                  </a:tcPr>
                </a:tc>
                <a:extLst>
                  <a:ext uri="{0D108BD9-81ED-4DB2-BD59-A6C34878D82A}">
                    <a16:rowId xmlns:a16="http://schemas.microsoft.com/office/drawing/2014/main" val="3906048409"/>
                  </a:ext>
                </a:extLst>
              </a:tr>
              <a:tr h="445938">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4%</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38100" cmpd="sng">
                      <a:noFill/>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86%</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38100" cmpd="sng">
                      <a:noFill/>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95%</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38100" cmpd="sng">
                      <a:noFill/>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dirty="0">
                          <a:solidFill>
                            <a:srgbClr val="3369FF"/>
                          </a:solidFill>
                          <a:latin typeface="Segoe UI" panose="020B0502040204020203" pitchFamily="34" charset="0"/>
                          <a:ea typeface="Segoe UI" panose="020B0502040204020203" pitchFamily="34" charset="0"/>
                          <a:cs typeface="Segoe UI" panose="020B0502040204020203" pitchFamily="34" charset="0"/>
                        </a:rPr>
                        <a:t>95%</a:t>
                      </a:r>
                      <a:endParaRPr lang="en-US" sz="1800" b="1" i="0" u="none" strike="noStrike" dirty="0">
                        <a:solidFill>
                          <a:srgbClr val="3369FF"/>
                        </a:solidFill>
                        <a:effectLst/>
                        <a:latin typeface="Calibri" panose="020F0502020204030204" pitchFamily="34" charset="0"/>
                      </a:endParaRPr>
                    </a:p>
                  </a:txBody>
                  <a:tcPr marL="6326" marR="6326" marT="6326" marB="0" anchor="ctr">
                    <a:lnL w="12700" cmpd="sng">
                      <a:noFill/>
                    </a:lnL>
                    <a:lnR w="12700" cmpd="sng">
                      <a:noFill/>
                    </a:lnR>
                    <a:lnT w="38100" cmpd="sng">
                      <a:noFill/>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92%</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38100" cmpd="sng">
                      <a:noFill/>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88%</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38100" cmpd="sng">
                      <a:noFill/>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3569449"/>
                  </a:ext>
                </a:extLst>
              </a:tr>
              <a:tr h="445938">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5%</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35%</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u="none" strike="noStrike" dirty="0">
                          <a:solidFill>
                            <a:srgbClr val="002577"/>
                          </a:solidFill>
                          <a:effectLst/>
                        </a:rPr>
                        <a:t>71</a:t>
                      </a: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dirty="0">
                          <a:solidFill>
                            <a:srgbClr val="3369FF"/>
                          </a:solidFill>
                          <a:latin typeface="Segoe UI" panose="020B0502040204020203" pitchFamily="34" charset="0"/>
                          <a:ea typeface="Segoe UI" panose="020B0502040204020203" pitchFamily="34" charset="0"/>
                          <a:cs typeface="Segoe UI" panose="020B0502040204020203" pitchFamily="34" charset="0"/>
                        </a:rPr>
                        <a:t>79%</a:t>
                      </a:r>
                      <a:endParaRPr lang="en-US" sz="1800" b="1" i="0" u="none" strike="noStrike" dirty="0">
                        <a:solidFill>
                          <a:srgbClr val="3369FF"/>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79%</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76%</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6780630"/>
                  </a:ext>
                </a:extLst>
              </a:tr>
              <a:tr h="445938">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6%</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4%</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u="none" strike="noStrike" dirty="0">
                          <a:solidFill>
                            <a:srgbClr val="002577"/>
                          </a:solidFill>
                          <a:effectLst/>
                        </a:rPr>
                        <a:t> </a:t>
                      </a: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28%</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dirty="0">
                          <a:solidFill>
                            <a:srgbClr val="3369FF"/>
                          </a:solidFill>
                          <a:latin typeface="Segoe UI" panose="020B0502040204020203" pitchFamily="34" charset="0"/>
                          <a:ea typeface="Segoe UI" panose="020B0502040204020203" pitchFamily="34" charset="0"/>
                          <a:cs typeface="Segoe UI" panose="020B0502040204020203" pitchFamily="34" charset="0"/>
                        </a:rPr>
                        <a:t>52%</a:t>
                      </a:r>
                      <a:endParaRPr lang="en-US" sz="1800" b="1" i="0" u="none" strike="noStrike" dirty="0">
                        <a:solidFill>
                          <a:srgbClr val="3369FF"/>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60%</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62%</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1897633"/>
                  </a:ext>
                </a:extLst>
              </a:tr>
              <a:tr h="445938">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7%</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0%</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5%</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dirty="0">
                          <a:solidFill>
                            <a:srgbClr val="3369FF"/>
                          </a:solidFill>
                          <a:latin typeface="Segoe UI" panose="020B0502040204020203" pitchFamily="34" charset="0"/>
                          <a:ea typeface="Segoe UI" panose="020B0502040204020203" pitchFamily="34" charset="0"/>
                          <a:cs typeface="Segoe UI" panose="020B0502040204020203" pitchFamily="34" charset="0"/>
                        </a:rPr>
                        <a:t>27%</a:t>
                      </a:r>
                      <a:endParaRPr lang="en-US" sz="1800" b="1" i="0" u="none" strike="noStrike" dirty="0">
                        <a:solidFill>
                          <a:srgbClr val="3369FF"/>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42%</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48%</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2926332"/>
                  </a:ext>
                </a:extLst>
              </a:tr>
              <a:tr h="445938">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8%</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0%</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0%</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dirty="0">
                          <a:solidFill>
                            <a:srgbClr val="3369FF"/>
                          </a:solidFill>
                          <a:latin typeface="Segoe UI" panose="020B0502040204020203" pitchFamily="34" charset="0"/>
                          <a:ea typeface="Segoe UI" panose="020B0502040204020203" pitchFamily="34" charset="0"/>
                          <a:cs typeface="Segoe UI" panose="020B0502040204020203" pitchFamily="34" charset="0"/>
                        </a:rPr>
                        <a:t>11%</a:t>
                      </a:r>
                      <a:endParaRPr lang="en-US" sz="1800" b="1" i="0" u="none" strike="noStrike" dirty="0">
                        <a:solidFill>
                          <a:srgbClr val="3369FF"/>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26%</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36%</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1615437"/>
                  </a:ext>
                </a:extLst>
              </a:tr>
            </a:tbl>
          </a:graphicData>
        </a:graphic>
      </p:graphicFrame>
      <p:sp>
        <p:nvSpPr>
          <p:cNvPr id="31" name="TextBox 30">
            <a:extLst>
              <a:ext uri="{FF2B5EF4-FFF2-40B4-BE49-F238E27FC236}">
                <a16:creationId xmlns:a16="http://schemas.microsoft.com/office/drawing/2014/main" id="{B27ED21E-D174-814E-A0C7-E64B6CAA7217}"/>
              </a:ext>
            </a:extLst>
          </p:cNvPr>
          <p:cNvSpPr txBox="1"/>
          <p:nvPr/>
        </p:nvSpPr>
        <p:spPr>
          <a:xfrm>
            <a:off x="337530" y="815496"/>
            <a:ext cx="7160233" cy="307777"/>
          </a:xfrm>
          <a:prstGeom prst="rect">
            <a:avLst/>
          </a:prstGeom>
          <a:noFill/>
        </p:spPr>
        <p:txBody>
          <a:bodyPr wrap="square" rtlCol="0">
            <a:spAutoFit/>
          </a:bodyPr>
          <a:lstStyle/>
          <a:p>
            <a:r>
              <a:rPr lang="en-US" sz="1400" dirty="0">
                <a:solidFill>
                  <a:srgbClr val="3369FF"/>
                </a:solidFill>
                <a:latin typeface="Segoe UI" panose="020B0502040204020203" pitchFamily="34" charset="0"/>
                <a:ea typeface="Segoe UI" panose="020B0502040204020203" pitchFamily="34" charset="0"/>
                <a:cs typeface="Segoe UI" panose="020B0502040204020203" pitchFamily="34" charset="0"/>
              </a:rPr>
              <a:t>Withdrawing from a diversified portfolio</a:t>
            </a:r>
          </a:p>
        </p:txBody>
      </p:sp>
      <p:cxnSp>
        <p:nvCxnSpPr>
          <p:cNvPr id="6" name="Straight Arrow Connector 5">
            <a:extLst>
              <a:ext uri="{FF2B5EF4-FFF2-40B4-BE49-F238E27FC236}">
                <a16:creationId xmlns:a16="http://schemas.microsoft.com/office/drawing/2014/main" id="{3CE95B3E-19F9-5D47-A265-91C2196D1C18}"/>
              </a:ext>
            </a:extLst>
          </p:cNvPr>
          <p:cNvCxnSpPr>
            <a:cxnSpLocks/>
          </p:cNvCxnSpPr>
          <p:nvPr/>
        </p:nvCxnSpPr>
        <p:spPr>
          <a:xfrm>
            <a:off x="1530626" y="5759722"/>
            <a:ext cx="5853596" cy="0"/>
          </a:xfrm>
          <a:prstGeom prst="straightConnector1">
            <a:avLst/>
          </a:prstGeom>
          <a:ln w="31750">
            <a:solidFill>
              <a:schemeClr val="bg1">
                <a:lumMod val="50000"/>
              </a:schemeClr>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1EFBCAD5-A910-4A46-A476-B9D2678E3984}"/>
              </a:ext>
            </a:extLst>
          </p:cNvPr>
          <p:cNvSpPr txBox="1"/>
          <p:nvPr/>
        </p:nvSpPr>
        <p:spPr>
          <a:xfrm>
            <a:off x="337930" y="5574192"/>
            <a:ext cx="1915766" cy="338554"/>
          </a:xfrm>
          <a:prstGeom prst="rect">
            <a:avLst/>
          </a:prstGeom>
          <a:noFill/>
        </p:spPr>
        <p:txBody>
          <a:bodyPr wrap="square" rtlCol="0">
            <a:spAutoFit/>
          </a:bodyPr>
          <a:lstStyle/>
          <a:p>
            <a:r>
              <a:rPr lang="en-US" sz="1600" b="1" dirty="0">
                <a:solidFill>
                  <a:srgbClr val="3369FF"/>
                </a:solidFill>
                <a:latin typeface="Segoe UI" panose="020B0502040204020203" pitchFamily="34" charset="0"/>
                <a:ea typeface="Segoe UI" panose="020B0502040204020203" pitchFamily="34" charset="0"/>
                <a:cs typeface="Segoe UI" panose="020B0502040204020203" pitchFamily="34" charset="0"/>
              </a:rPr>
              <a:t>Less Likely</a:t>
            </a:r>
          </a:p>
        </p:txBody>
      </p:sp>
      <p:sp>
        <p:nvSpPr>
          <p:cNvPr id="37" name="TextBox 36">
            <a:extLst>
              <a:ext uri="{FF2B5EF4-FFF2-40B4-BE49-F238E27FC236}">
                <a16:creationId xmlns:a16="http://schemas.microsoft.com/office/drawing/2014/main" id="{706B29B1-183F-4C4A-ABBE-4FD9DBB0122B}"/>
              </a:ext>
            </a:extLst>
          </p:cNvPr>
          <p:cNvSpPr txBox="1"/>
          <p:nvPr/>
        </p:nvSpPr>
        <p:spPr>
          <a:xfrm>
            <a:off x="7384222" y="5574192"/>
            <a:ext cx="2114205" cy="338554"/>
          </a:xfrm>
          <a:prstGeom prst="rect">
            <a:avLst/>
          </a:prstGeom>
          <a:noFill/>
        </p:spPr>
        <p:txBody>
          <a:bodyPr wrap="square" rtlCol="0">
            <a:spAutoFit/>
          </a:bodyPr>
          <a:lstStyle/>
          <a:p>
            <a:r>
              <a:rPr lang="en-US" sz="1600" b="1" dirty="0">
                <a:solidFill>
                  <a:srgbClr val="3369FF"/>
                </a:solidFill>
                <a:latin typeface="Segoe UI" panose="020B0502040204020203" pitchFamily="34" charset="0"/>
                <a:ea typeface="Segoe UI" panose="020B0502040204020203" pitchFamily="34" charset="0"/>
                <a:cs typeface="Segoe UI" panose="020B0502040204020203" pitchFamily="34" charset="0"/>
              </a:rPr>
              <a:t>More Likely</a:t>
            </a:r>
          </a:p>
        </p:txBody>
      </p:sp>
      <p:sp>
        <p:nvSpPr>
          <p:cNvPr id="21" name="Rectangle 20">
            <a:extLst>
              <a:ext uri="{FF2B5EF4-FFF2-40B4-BE49-F238E27FC236}">
                <a16:creationId xmlns:a16="http://schemas.microsoft.com/office/drawing/2014/main" id="{162A9C8D-FCE5-B148-96AE-A23167BCA800}"/>
              </a:ext>
            </a:extLst>
          </p:cNvPr>
          <p:cNvSpPr/>
          <p:nvPr/>
        </p:nvSpPr>
        <p:spPr bwMode="auto">
          <a:xfrm>
            <a:off x="4746347" y="2522483"/>
            <a:ext cx="1738535" cy="2963917"/>
          </a:xfrm>
          <a:prstGeom prst="rect">
            <a:avLst/>
          </a:prstGeom>
          <a:noFill/>
          <a:ln w="28575">
            <a:solidFill>
              <a:srgbClr val="2E3192"/>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40331934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22633" y="6371406"/>
            <a:ext cx="311806" cy="165752"/>
          </a:xfrm>
        </p:spPr>
        <p:txBody>
          <a:bodyPr/>
          <a:lstStyle/>
          <a:p>
            <a:fld id="{2C7AFF3D-0B71-614B-ACB6-7F45BDA6A838}" type="slidenum">
              <a:rPr lang="en-US" smtClean="0">
                <a:latin typeface="Segoe UI" panose="020B0502040204020203" pitchFamily="34" charset="0"/>
              </a:rPr>
              <a:pPr/>
              <a:t>16</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91174" y="6360082"/>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6087553"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The Need for Planning</a:t>
            </a:r>
          </a:p>
        </p:txBody>
      </p:sp>
      <p:sp>
        <p:nvSpPr>
          <p:cNvPr id="45" name="TextBox 44">
            <a:extLst>
              <a:ext uri="{FF2B5EF4-FFF2-40B4-BE49-F238E27FC236}">
                <a16:creationId xmlns:a16="http://schemas.microsoft.com/office/drawing/2014/main" id="{7E2986C8-4C91-8C4C-8230-30CDD2B5B689}"/>
              </a:ext>
            </a:extLst>
          </p:cNvPr>
          <p:cNvSpPr txBox="1"/>
          <p:nvPr/>
        </p:nvSpPr>
        <p:spPr>
          <a:xfrm>
            <a:off x="429039" y="6020928"/>
            <a:ext cx="6077493" cy="123111"/>
          </a:xfrm>
          <a:prstGeom prst="rect">
            <a:avLst/>
          </a:prstGeom>
          <a:noFill/>
        </p:spPr>
        <p:txBody>
          <a:bodyPr wrap="square" lIns="0" tIns="0" rIns="0" bIns="0" rtlCol="0">
            <a:spAutoFit/>
          </a:bodyPr>
          <a:lstStyle/>
          <a:p>
            <a:pPr fontAlgn="base">
              <a:spcBef>
                <a:spcPct val="0"/>
              </a:spcBef>
              <a:spcAft>
                <a:spcPct val="0"/>
              </a:spcAft>
              <a:buFont typeface="Wingdings 2" pitchFamily="18" charset="2"/>
              <a:buNone/>
            </a:pPr>
            <a:r>
              <a:rPr lang="en-US" altLang="en-US" sz="800" dirty="0">
                <a:solidFill>
                  <a:schemeClr val="bg1">
                    <a:lumMod val="50000"/>
                  </a:schemeClr>
                </a:solidFill>
              </a:rPr>
              <a:t>Source: Fidelity Couples Retirement Study 2015</a:t>
            </a:r>
            <a:endParaRPr lang="en-US" altLang="en-US" sz="800" dirty="0">
              <a:solidFill>
                <a:schemeClr val="bg1">
                  <a:lumMod val="50000"/>
                </a:schemeClr>
              </a:solidFill>
              <a:latin typeface="Helvetica" pitchFamily="34" charset="0"/>
            </a:endParaRPr>
          </a:p>
        </p:txBody>
      </p:sp>
      <p:graphicFrame>
        <p:nvGraphicFramePr>
          <p:cNvPr id="76" name="Chart 75">
            <a:extLst>
              <a:ext uri="{FF2B5EF4-FFF2-40B4-BE49-F238E27FC236}">
                <a16:creationId xmlns:a16="http://schemas.microsoft.com/office/drawing/2014/main" id="{4D68CB35-5C76-5C40-98EA-A375C7D40891}"/>
              </a:ext>
            </a:extLst>
          </p:cNvPr>
          <p:cNvGraphicFramePr/>
          <p:nvPr/>
        </p:nvGraphicFramePr>
        <p:xfrm>
          <a:off x="5754108" y="1946034"/>
          <a:ext cx="3487310" cy="3651400"/>
        </p:xfrm>
        <a:graphic>
          <a:graphicData uri="http://schemas.openxmlformats.org/drawingml/2006/chart">
            <c:chart xmlns:c="http://schemas.openxmlformats.org/drawingml/2006/chart" xmlns:r="http://schemas.openxmlformats.org/officeDocument/2006/relationships" r:id="rId3"/>
          </a:graphicData>
        </a:graphic>
      </p:graphicFrame>
      <p:sp>
        <p:nvSpPr>
          <p:cNvPr id="80" name="TextBox 79">
            <a:extLst>
              <a:ext uri="{FF2B5EF4-FFF2-40B4-BE49-F238E27FC236}">
                <a16:creationId xmlns:a16="http://schemas.microsoft.com/office/drawing/2014/main" id="{65AD3C36-2BDA-1A4E-8593-8F2841EC936F}"/>
              </a:ext>
            </a:extLst>
          </p:cNvPr>
          <p:cNvSpPr txBox="1"/>
          <p:nvPr/>
        </p:nvSpPr>
        <p:spPr>
          <a:xfrm>
            <a:off x="7969433" y="2147500"/>
            <a:ext cx="490538" cy="276999"/>
          </a:xfrm>
          <a:prstGeom prst="rect">
            <a:avLst/>
          </a:prstGeom>
          <a:noFill/>
        </p:spPr>
        <p:txBody>
          <a:bodyPr wrap="square" rtlCol="0">
            <a:spAutoFit/>
          </a:bodyPr>
          <a:lstStyle/>
          <a:p>
            <a:r>
              <a:rPr lang="en-US" sz="1200" b="1" dirty="0">
                <a:solidFill>
                  <a:schemeClr val="bg1"/>
                </a:solidFill>
                <a:latin typeface="Segoe UI" panose="020B0502040204020203" pitchFamily="34" charset="0"/>
                <a:ea typeface="Segoe UI" panose="020B0502040204020203" pitchFamily="34" charset="0"/>
                <a:cs typeface="Segoe UI" panose="020B0502040204020203" pitchFamily="34" charset="0"/>
              </a:rPr>
              <a:t>41%</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1" name="TextBox 79">
            <a:extLst>
              <a:ext uri="{FF2B5EF4-FFF2-40B4-BE49-F238E27FC236}">
                <a16:creationId xmlns:a16="http://schemas.microsoft.com/office/drawing/2014/main" id="{7E72B731-84AD-D041-A307-6ACE4B9334AC}"/>
              </a:ext>
            </a:extLst>
          </p:cNvPr>
          <p:cNvSpPr txBox="1"/>
          <p:nvPr/>
        </p:nvSpPr>
        <p:spPr>
          <a:xfrm>
            <a:off x="7007225" y="2656701"/>
            <a:ext cx="49053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26%</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2" name="TextBox 79">
            <a:extLst>
              <a:ext uri="{FF2B5EF4-FFF2-40B4-BE49-F238E27FC236}">
                <a16:creationId xmlns:a16="http://schemas.microsoft.com/office/drawing/2014/main" id="{7B9BE4AA-9D2B-D241-9B03-1800914AE75A}"/>
              </a:ext>
            </a:extLst>
          </p:cNvPr>
          <p:cNvSpPr txBox="1"/>
          <p:nvPr/>
        </p:nvSpPr>
        <p:spPr>
          <a:xfrm>
            <a:off x="6381750" y="3126964"/>
            <a:ext cx="49053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16%</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4" name="TextBox 79">
            <a:extLst>
              <a:ext uri="{FF2B5EF4-FFF2-40B4-BE49-F238E27FC236}">
                <a16:creationId xmlns:a16="http://schemas.microsoft.com/office/drawing/2014/main" id="{89874864-9DBF-A54F-8F31-7FF28714B119}"/>
              </a:ext>
            </a:extLst>
          </p:cNvPr>
          <p:cNvSpPr txBox="1"/>
          <p:nvPr/>
        </p:nvSpPr>
        <p:spPr>
          <a:xfrm>
            <a:off x="6305550" y="3595300"/>
            <a:ext cx="49053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14%</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5" name="TextBox 79">
            <a:extLst>
              <a:ext uri="{FF2B5EF4-FFF2-40B4-BE49-F238E27FC236}">
                <a16:creationId xmlns:a16="http://schemas.microsoft.com/office/drawing/2014/main" id="{EBEF0106-7038-1C42-B3D5-B0007BD75C2A}"/>
              </a:ext>
            </a:extLst>
          </p:cNvPr>
          <p:cNvSpPr txBox="1"/>
          <p:nvPr/>
        </p:nvSpPr>
        <p:spPr>
          <a:xfrm>
            <a:off x="5815987" y="4098515"/>
            <a:ext cx="49053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4%</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6" name="TextBox 79">
            <a:extLst>
              <a:ext uri="{FF2B5EF4-FFF2-40B4-BE49-F238E27FC236}">
                <a16:creationId xmlns:a16="http://schemas.microsoft.com/office/drawing/2014/main" id="{3CDD4FC9-DA7A-C447-8E39-D309DFAB25F7}"/>
              </a:ext>
            </a:extLst>
          </p:cNvPr>
          <p:cNvSpPr txBox="1"/>
          <p:nvPr/>
        </p:nvSpPr>
        <p:spPr>
          <a:xfrm>
            <a:off x="6913562" y="4575268"/>
            <a:ext cx="49053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24%</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7" name="TextBox 79">
            <a:extLst>
              <a:ext uri="{FF2B5EF4-FFF2-40B4-BE49-F238E27FC236}">
                <a16:creationId xmlns:a16="http://schemas.microsoft.com/office/drawing/2014/main" id="{31B4DD7B-C8F2-134E-8D5B-E06EBBCDD527}"/>
              </a:ext>
            </a:extLst>
          </p:cNvPr>
          <p:cNvSpPr txBox="1"/>
          <p:nvPr/>
        </p:nvSpPr>
        <p:spPr>
          <a:xfrm>
            <a:off x="6054725" y="5052062"/>
            <a:ext cx="49053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Segoe UI" panose="020B0502040204020203" pitchFamily="34" charset="0"/>
                <a:ea typeface="Segoe UI Historic" panose="020B0502040204020203" pitchFamily="34" charset="0"/>
                <a:cs typeface="Segoe UI" panose="020B0502040204020203" pitchFamily="34" charset="0"/>
              </a:rPr>
              <a:t>10%</a:t>
            </a:r>
            <a:endParaRPr lang="en-US" sz="12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aphicFrame>
        <p:nvGraphicFramePr>
          <p:cNvPr id="30" name="Table 29">
            <a:extLst>
              <a:ext uri="{FF2B5EF4-FFF2-40B4-BE49-F238E27FC236}">
                <a16:creationId xmlns:a16="http://schemas.microsoft.com/office/drawing/2014/main" id="{F07A71FD-2A26-6E4B-906D-AE8C0CBD20EB}"/>
              </a:ext>
            </a:extLst>
          </p:cNvPr>
          <p:cNvGraphicFramePr>
            <a:graphicFrameLocks noGrp="1"/>
          </p:cNvGraphicFramePr>
          <p:nvPr>
            <p:extLst>
              <p:ext uri="{D42A27DB-BD31-4B8C-83A1-F6EECF244321}">
                <p14:modId xmlns:p14="http://schemas.microsoft.com/office/powerpoint/2010/main" val="2792392219"/>
              </p:ext>
            </p:extLst>
          </p:nvPr>
        </p:nvGraphicFramePr>
        <p:xfrm>
          <a:off x="419100" y="2140613"/>
          <a:ext cx="8299174" cy="3665922"/>
        </p:xfrm>
        <a:graphic>
          <a:graphicData uri="http://schemas.openxmlformats.org/drawingml/2006/table">
            <a:tbl>
              <a:tblPr firstRow="1" bandRow="1">
                <a:tableStyleId>{5C22544A-7EE6-4342-B048-85BDC9FD1C3A}</a:tableStyleId>
              </a:tblPr>
              <a:tblGrid>
                <a:gridCol w="5136874">
                  <a:extLst>
                    <a:ext uri="{9D8B030D-6E8A-4147-A177-3AD203B41FA5}">
                      <a16:colId xmlns:a16="http://schemas.microsoft.com/office/drawing/2014/main" val="3574736931"/>
                    </a:ext>
                  </a:extLst>
                </a:gridCol>
                <a:gridCol w="1522345">
                  <a:extLst>
                    <a:ext uri="{9D8B030D-6E8A-4147-A177-3AD203B41FA5}">
                      <a16:colId xmlns:a16="http://schemas.microsoft.com/office/drawing/2014/main" val="3741534565"/>
                    </a:ext>
                  </a:extLst>
                </a:gridCol>
                <a:gridCol w="1639955">
                  <a:extLst>
                    <a:ext uri="{9D8B030D-6E8A-4147-A177-3AD203B41FA5}">
                      <a16:colId xmlns:a16="http://schemas.microsoft.com/office/drawing/2014/main" val="497003334"/>
                    </a:ext>
                  </a:extLst>
                </a:gridCol>
              </a:tblGrid>
              <a:tr h="920330">
                <a:tc>
                  <a:txBody>
                    <a:bodyPr/>
                    <a:lstStyle/>
                    <a:p>
                      <a:pPr algn="l" fontAlgn="b"/>
                      <a:r>
                        <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rPr>
                        <a:t>Couples with a Retirement Plan in Place are:</a:t>
                      </a:r>
                      <a:endParaRPr lang="en-US" sz="1600" b="0" i="0" u="none" strike="noStrike" dirty="0">
                        <a:solidFill>
                          <a:schemeClr val="bg1"/>
                        </a:solidFill>
                        <a:effectLst/>
                        <a:latin typeface="Calibri" panose="020F0502020204030204" pitchFamily="34" charset="0"/>
                      </a:endParaRPr>
                    </a:p>
                  </a:txBody>
                  <a:tcPr marL="365760" marR="6326" marT="6326" marB="0" anchor="ctr">
                    <a:lnB w="38100" cmpd="sng">
                      <a:noFill/>
                    </a:lnB>
                    <a:solidFill>
                      <a:srgbClr val="2E3192"/>
                    </a:solidFill>
                  </a:tcPr>
                </a:tc>
                <a:tc>
                  <a:txBody>
                    <a:bodyPr/>
                    <a:lstStyle/>
                    <a:p>
                      <a:pPr algn="ctr" fontAlgn="b"/>
                      <a:r>
                        <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rPr>
                        <a:t>With Plan </a:t>
                      </a:r>
                      <a:endParaRPr lang="en-US" sz="1600" b="0" i="0" u="none" strike="noStrike" dirty="0">
                        <a:solidFill>
                          <a:schemeClr val="bg1"/>
                        </a:solidFill>
                        <a:effectLst/>
                        <a:latin typeface="Calibri" panose="020F0502020204030204" pitchFamily="34" charset="0"/>
                      </a:endParaRPr>
                    </a:p>
                  </a:txBody>
                  <a:tcPr marL="6326" marR="6326" marT="6326" marB="0" anchor="ctr">
                    <a:lnB w="38100" cmpd="sng">
                      <a:noFill/>
                    </a:lnB>
                    <a:solidFill>
                      <a:srgbClr val="2E3192"/>
                    </a:solidFill>
                  </a:tcPr>
                </a:tc>
                <a:tc>
                  <a:txBody>
                    <a:bodyPr/>
                    <a:lstStyle/>
                    <a:p>
                      <a:pPr algn="ctr" fontAlgn="b"/>
                      <a:r>
                        <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rPr>
                        <a:t>Without Plan</a:t>
                      </a:r>
                      <a:endParaRPr lang="en-US" sz="1600" b="0" i="0" u="none" strike="noStrike" dirty="0">
                        <a:solidFill>
                          <a:schemeClr val="bg1"/>
                        </a:solidFill>
                        <a:effectLst/>
                        <a:latin typeface="Calibri" panose="020F0502020204030204" pitchFamily="34" charset="0"/>
                      </a:endParaRPr>
                    </a:p>
                  </a:txBody>
                  <a:tcPr marL="6326" marR="6326" marT="6326" marB="0" anchor="ctr">
                    <a:lnB w="38100" cmpd="sng">
                      <a:noFill/>
                    </a:lnB>
                    <a:solidFill>
                      <a:srgbClr val="2E3192"/>
                    </a:solidFill>
                  </a:tcPr>
                </a:tc>
                <a:extLst>
                  <a:ext uri="{0D108BD9-81ED-4DB2-BD59-A6C34878D82A}">
                    <a16:rowId xmlns:a16="http://schemas.microsoft.com/office/drawing/2014/main" val="3906048409"/>
                  </a:ext>
                </a:extLst>
              </a:tr>
              <a:tr h="725866">
                <a:tc>
                  <a:txBody>
                    <a:bodyPr/>
                    <a:lstStyle/>
                    <a:p>
                      <a:pPr algn="l" fontAlgn="b"/>
                      <a:r>
                        <a:rPr lang="en-US" sz="1600" b="0" dirty="0">
                          <a:solidFill>
                            <a:srgbClr val="002577"/>
                          </a:solidFill>
                          <a:latin typeface="Segoe UI" panose="020B0502040204020203" pitchFamily="34" charset="0"/>
                          <a:ea typeface="Segoe UI" panose="020B0502040204020203" pitchFamily="34" charset="0"/>
                          <a:cs typeface="Segoe UI" panose="020B0502040204020203" pitchFamily="34" charset="0"/>
                        </a:rPr>
                        <a:t>Twice as likely to expect to live a “very comfortable” retirement</a:t>
                      </a:r>
                      <a:endParaRPr lang="en-US" sz="1600" b="0" i="0" u="none" strike="noStrike" dirty="0">
                        <a:solidFill>
                          <a:srgbClr val="002577"/>
                        </a:solidFill>
                        <a:effectLst/>
                        <a:latin typeface="Calibri" panose="020F0502020204030204" pitchFamily="34" charset="0"/>
                      </a:endParaRPr>
                    </a:p>
                  </a:txBody>
                  <a:tcPr marL="365760" marR="6326" marT="6326" marB="0" anchor="ctr">
                    <a:lnL w="12700" cmpd="sng">
                      <a:noFill/>
                    </a:lnL>
                    <a:lnR w="12700" cmpd="sng">
                      <a:noFill/>
                    </a:lnR>
                    <a:lnT w="38100" cmpd="sng">
                      <a:noFill/>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42%</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38100" cmpd="sng">
                      <a:noFill/>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18%</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38100" cmpd="sng">
                      <a:noFill/>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3569449"/>
                  </a:ext>
                </a:extLst>
              </a:tr>
              <a:tr h="725556">
                <a:tc>
                  <a:txBody>
                    <a:bodyPr/>
                    <a:lstStyle/>
                    <a:p>
                      <a:pPr algn="l" fontAlgn="b"/>
                      <a:r>
                        <a:rPr lang="en-US" sz="1600" b="0" dirty="0">
                          <a:solidFill>
                            <a:srgbClr val="002577"/>
                          </a:solidFill>
                          <a:latin typeface="Segoe UI" panose="020B0502040204020203" pitchFamily="34" charset="0"/>
                          <a:ea typeface="Segoe UI" panose="020B0502040204020203" pitchFamily="34" charset="0"/>
                          <a:cs typeface="Segoe UI" panose="020B0502040204020203" pitchFamily="34" charset="0"/>
                        </a:rPr>
                        <a:t>More likely to be “completely confident” in assuming full financial responsibility for retirement if needed</a:t>
                      </a:r>
                      <a:endParaRPr lang="en-US" sz="1600" b="0" i="0" u="none" strike="noStrike" dirty="0">
                        <a:solidFill>
                          <a:srgbClr val="002577"/>
                        </a:solidFill>
                        <a:effectLst/>
                        <a:latin typeface="Calibri" panose="020F0502020204030204" pitchFamily="34" charset="0"/>
                      </a:endParaRPr>
                    </a:p>
                  </a:txBody>
                  <a:tcPr marL="365760"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67%</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u="none" strike="noStrike" dirty="0">
                          <a:solidFill>
                            <a:srgbClr val="002577"/>
                          </a:solidFill>
                          <a:effectLst/>
                        </a:rPr>
                        <a:t>42</a:t>
                      </a: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6780630"/>
                  </a:ext>
                </a:extLst>
              </a:tr>
              <a:tr h="647085">
                <a:tc>
                  <a:txBody>
                    <a:bodyPr/>
                    <a:lstStyle/>
                    <a:p>
                      <a:pPr algn="l" fontAlgn="b"/>
                      <a:r>
                        <a:rPr lang="en-US" sz="1600" b="0" dirty="0">
                          <a:solidFill>
                            <a:srgbClr val="002577"/>
                          </a:solidFill>
                          <a:latin typeface="Segoe UI" panose="020B0502040204020203" pitchFamily="34" charset="0"/>
                          <a:ea typeface="Segoe UI" panose="020B0502040204020203" pitchFamily="34" charset="0"/>
                          <a:cs typeface="Segoe UI" panose="020B0502040204020203" pitchFamily="34" charset="0"/>
                        </a:rPr>
                        <a:t>More likely to be “completely confident” in their partner’s ability to assume full responsibility</a:t>
                      </a:r>
                      <a:endParaRPr lang="en-US" sz="1600" b="0" i="0" u="none" strike="noStrike" dirty="0">
                        <a:solidFill>
                          <a:srgbClr val="002577"/>
                        </a:solidFill>
                        <a:effectLst/>
                        <a:latin typeface="Calibri" panose="020F0502020204030204" pitchFamily="34" charset="0"/>
                      </a:endParaRPr>
                    </a:p>
                  </a:txBody>
                  <a:tcPr marL="365760"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63%</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u="none" strike="noStrike" dirty="0">
                          <a:solidFill>
                            <a:srgbClr val="002577"/>
                          </a:solidFill>
                          <a:effectLst/>
                        </a:rPr>
                        <a:t>43</a:t>
                      </a: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1897633"/>
                  </a:ext>
                </a:extLst>
              </a:tr>
              <a:tr h="647085">
                <a:tc>
                  <a:txBody>
                    <a:bodyPr/>
                    <a:lstStyle/>
                    <a:p>
                      <a:pPr algn="l" fontAlgn="b"/>
                      <a:r>
                        <a:rPr lang="en-US" sz="1600" b="0" dirty="0">
                          <a:solidFill>
                            <a:srgbClr val="002577"/>
                          </a:solidFill>
                          <a:latin typeface="Segoe UI" panose="020B0502040204020203" pitchFamily="34" charset="0"/>
                          <a:ea typeface="Segoe UI" panose="020B0502040204020203" pitchFamily="34" charset="0"/>
                          <a:cs typeface="Segoe UI" panose="020B0502040204020203" pitchFamily="34" charset="0"/>
                        </a:rPr>
                        <a:t>Less likely to have “no idea” when it comes to how much they need in retirement</a:t>
                      </a:r>
                      <a:endParaRPr lang="en-US" sz="1600" b="0" i="0" u="none" strike="noStrike" dirty="0">
                        <a:solidFill>
                          <a:srgbClr val="002577"/>
                        </a:solidFill>
                        <a:effectLst/>
                        <a:latin typeface="Calibri" panose="020F0502020204030204" pitchFamily="34" charset="0"/>
                      </a:endParaRPr>
                    </a:p>
                  </a:txBody>
                  <a:tcPr marL="365760"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28%</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54%</a:t>
                      </a:r>
                      <a:endParaRPr lang="en-US" sz="1800" b="0" i="0" u="none" strike="noStrike" dirty="0">
                        <a:solidFill>
                          <a:srgbClr val="002577"/>
                        </a:solidFill>
                        <a:effectLst/>
                        <a:latin typeface="Calibri" panose="020F0502020204030204" pitchFamily="34" charset="0"/>
                      </a:endParaRPr>
                    </a:p>
                  </a:txBody>
                  <a:tcPr marL="6326" marR="6326" marT="6326"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2926332"/>
                  </a:ext>
                </a:extLst>
              </a:tr>
            </a:tbl>
          </a:graphicData>
        </a:graphic>
      </p:graphicFrame>
      <p:sp>
        <p:nvSpPr>
          <p:cNvPr id="31" name="TextBox 30">
            <a:extLst>
              <a:ext uri="{FF2B5EF4-FFF2-40B4-BE49-F238E27FC236}">
                <a16:creationId xmlns:a16="http://schemas.microsoft.com/office/drawing/2014/main" id="{B27ED21E-D174-814E-A0C7-E64B6CAA7217}"/>
              </a:ext>
            </a:extLst>
          </p:cNvPr>
          <p:cNvSpPr txBox="1"/>
          <p:nvPr/>
        </p:nvSpPr>
        <p:spPr>
          <a:xfrm>
            <a:off x="353432" y="774674"/>
            <a:ext cx="7160233" cy="523220"/>
          </a:xfrm>
          <a:prstGeom prst="rect">
            <a:avLst/>
          </a:prstGeom>
          <a:noFill/>
        </p:spPr>
        <p:txBody>
          <a:bodyPr wrap="square" rtlCol="0">
            <a:spAutoFit/>
          </a:bodyPr>
          <a:lstStyle/>
          <a:p>
            <a:r>
              <a:rPr lang="en-US" sz="1400" dirty="0">
                <a:solidFill>
                  <a:srgbClr val="3369FF"/>
                </a:solidFill>
                <a:latin typeface="Segoe UI" panose="020B0502040204020203" pitchFamily="34" charset="0"/>
                <a:ea typeface="Segoe UI" panose="020B0502040204020203" pitchFamily="34" charset="0"/>
                <a:cs typeface="Segoe UI" panose="020B0502040204020203" pitchFamily="34" charset="0"/>
              </a:rPr>
              <a:t>Planning for the future can be a long way towards achieving greater peace of mind and alignment as a couple</a:t>
            </a:r>
          </a:p>
        </p:txBody>
      </p:sp>
    </p:spTree>
    <p:extLst>
      <p:ext uri="{BB962C8B-B14F-4D97-AF65-F5344CB8AC3E}">
        <p14:creationId xmlns:p14="http://schemas.microsoft.com/office/powerpoint/2010/main" val="13103224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17227" y="6371406"/>
            <a:ext cx="317212" cy="188420"/>
          </a:xfrm>
        </p:spPr>
        <p:txBody>
          <a:bodyPr/>
          <a:lstStyle/>
          <a:p>
            <a:fld id="{2C7AFF3D-0B71-614B-ACB6-7F45BDA6A838}" type="slidenum">
              <a:rPr lang="en-US" smtClean="0">
                <a:latin typeface="Segoe UI" panose="020B0502040204020203" pitchFamily="34" charset="0"/>
              </a:rPr>
              <a:pPr/>
              <a:t>17</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79960"/>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1" y="381000"/>
            <a:ext cx="4649688"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Healthcare</a:t>
            </a:r>
          </a:p>
        </p:txBody>
      </p:sp>
      <p:sp>
        <p:nvSpPr>
          <p:cNvPr id="33" name="Text Placeholder 4">
            <a:extLst>
              <a:ext uri="{FF2B5EF4-FFF2-40B4-BE49-F238E27FC236}">
                <a16:creationId xmlns:a16="http://schemas.microsoft.com/office/drawing/2014/main" id="{6FFFEBC6-1137-BD47-B39C-D0F4CEA11FB0}"/>
              </a:ext>
            </a:extLst>
          </p:cNvPr>
          <p:cNvSpPr txBox="1">
            <a:spLocks/>
          </p:cNvSpPr>
          <p:nvPr/>
        </p:nvSpPr>
        <p:spPr>
          <a:xfrm>
            <a:off x="3331154" y="2551699"/>
            <a:ext cx="4659163" cy="61923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2400"/>
              </a:lnSpc>
              <a:spcBef>
                <a:spcPts val="0"/>
              </a:spcBef>
            </a:pPr>
            <a:r>
              <a:rPr lang="en-US" sz="2400" dirty="0">
                <a:solidFill>
                  <a:srgbClr val="3369FF"/>
                </a:solidFill>
                <a:latin typeface="Segoe UI" panose="020B0502040204020203" pitchFamily="34" charset="0"/>
                <a:ea typeface="Segoe UI" panose="020B0502040204020203" pitchFamily="34" charset="0"/>
                <a:cs typeface="Segoe UI" panose="020B0502040204020203" pitchFamily="34" charset="0"/>
              </a:rPr>
              <a:t>Only 18% of consumers report having worked with their financial professionals to estimate retirement health care costs.</a:t>
            </a:r>
            <a:endParaRPr lang="en-US" sz="2400" b="0" dirty="0">
              <a:solidFill>
                <a:srgbClr val="3369FF"/>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43" name="Straight Connector 42">
            <a:extLst>
              <a:ext uri="{FF2B5EF4-FFF2-40B4-BE49-F238E27FC236}">
                <a16:creationId xmlns:a16="http://schemas.microsoft.com/office/drawing/2014/main" id="{7AFB0420-5CD8-3043-9CFE-2C917C960255}"/>
              </a:ext>
            </a:extLst>
          </p:cNvPr>
          <p:cNvCxnSpPr>
            <a:cxnSpLocks/>
          </p:cNvCxnSpPr>
          <p:nvPr/>
        </p:nvCxnSpPr>
        <p:spPr>
          <a:xfrm>
            <a:off x="419100" y="2139416"/>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DBF1986-E741-784A-A1CF-BD318E2C4D89}"/>
              </a:ext>
            </a:extLst>
          </p:cNvPr>
          <p:cNvCxnSpPr>
            <a:cxnSpLocks/>
          </p:cNvCxnSpPr>
          <p:nvPr/>
        </p:nvCxnSpPr>
        <p:spPr>
          <a:xfrm>
            <a:off x="419100" y="5614410"/>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E2986C8-4C91-8C4C-8230-30CDD2B5B689}"/>
              </a:ext>
            </a:extLst>
          </p:cNvPr>
          <p:cNvSpPr txBox="1"/>
          <p:nvPr/>
        </p:nvSpPr>
        <p:spPr>
          <a:xfrm>
            <a:off x="436192" y="5668334"/>
            <a:ext cx="8220791" cy="492443"/>
          </a:xfrm>
          <a:prstGeom prst="rect">
            <a:avLst/>
          </a:prstGeom>
          <a:noFill/>
        </p:spPr>
        <p:txBody>
          <a:bodyPr wrap="square" lIns="0" tIns="0" rIns="0" bIns="0" rtlCol="0">
            <a:spAutoFit/>
          </a:bodyPr>
          <a:lstStyle/>
          <a:p>
            <a:r>
              <a:rPr lang="en-US" sz="800" dirty="0">
                <a:solidFill>
                  <a:schemeClr val="bg1">
                    <a:lumMod val="50000"/>
                  </a:schemeClr>
                </a:solidFill>
              </a:rPr>
              <a:t>Insured Retirement Institute, Protection, Growth, and Income, 2018</a:t>
            </a:r>
          </a:p>
          <a:p>
            <a:r>
              <a:rPr lang="en-US" sz="800" dirty="0">
                <a:solidFill>
                  <a:schemeClr val="bg1">
                    <a:lumMod val="50000"/>
                  </a:schemeClr>
                </a:solidFill>
              </a:rPr>
              <a:t>1 Estimate based on a hypothetical couple retiring in 2017, 65 years old, with life expectancies that align with Society of Actuaries’ RP-2014 Healthy Annuitant rates with Mortality Improvements Scale MP-2016. The estimate does not include other health-related expenses, such as over-the-counter medications, most dental services, and long-term care. Life expectancies based on research and analysis by Fidelity Investments Benefits Consulting group and data from the Society of Actuaries, 2014.</a:t>
            </a:r>
            <a:endParaRPr lang="en-US" sz="800" dirty="0">
              <a:solidFill>
                <a:schemeClr val="bg1">
                  <a:lumMod val="50000"/>
                </a:schemeClr>
              </a:solidFill>
              <a:latin typeface="Arial" pitchFamily="34" charset="0"/>
              <a:cs typeface="Arial" pitchFamily="34" charset="0"/>
            </a:endParaRPr>
          </a:p>
        </p:txBody>
      </p:sp>
      <p:graphicFrame>
        <p:nvGraphicFramePr>
          <p:cNvPr id="15" name="Chart 14">
            <a:extLst>
              <a:ext uri="{FF2B5EF4-FFF2-40B4-BE49-F238E27FC236}">
                <a16:creationId xmlns:a16="http://schemas.microsoft.com/office/drawing/2014/main" id="{816B0A0D-33A7-BD48-80A4-50DD10C50B69}"/>
              </a:ext>
            </a:extLst>
          </p:cNvPr>
          <p:cNvGraphicFramePr/>
          <p:nvPr>
            <p:extLst>
              <p:ext uri="{D42A27DB-BD31-4B8C-83A1-F6EECF244321}">
                <p14:modId xmlns:p14="http://schemas.microsoft.com/office/powerpoint/2010/main" val="1775454457"/>
              </p:ext>
            </p:extLst>
          </p:nvPr>
        </p:nvGraphicFramePr>
        <p:xfrm>
          <a:off x="0" y="1982782"/>
          <a:ext cx="3048000"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4">
            <a:extLst>
              <a:ext uri="{FF2B5EF4-FFF2-40B4-BE49-F238E27FC236}">
                <a16:creationId xmlns:a16="http://schemas.microsoft.com/office/drawing/2014/main" id="{31357CA4-7B74-C84F-9CEB-6D37ED09DB2A}"/>
              </a:ext>
            </a:extLst>
          </p:cNvPr>
          <p:cNvSpPr txBox="1">
            <a:spLocks/>
          </p:cNvSpPr>
          <p:nvPr/>
        </p:nvSpPr>
        <p:spPr>
          <a:xfrm>
            <a:off x="786853" y="4415259"/>
            <a:ext cx="2417821"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0"/>
              </a:spcBef>
            </a:pP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59% </a:t>
            </a:r>
            <a:r>
              <a:rPr lang="en-US" sz="1400" b="0" dirty="0">
                <a:solidFill>
                  <a:srgbClr val="75787B"/>
                </a:solidFill>
                <a:latin typeface="Segoe UI" panose="020B0502040204020203" pitchFamily="34" charset="0"/>
                <a:ea typeface="Segoe UI" panose="020B0502040204020203" pitchFamily="34" charset="0"/>
                <a:cs typeface="Segoe UI" panose="020B0502040204020203" pitchFamily="34" charset="0"/>
              </a:rPr>
              <a:t>of consumers believe they are not prepared for a major </a:t>
            </a: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health event</a:t>
            </a:r>
            <a:endParaRPr lang="en-US" sz="1400" b="0" dirty="0">
              <a:solidFill>
                <a:srgbClr val="75787B"/>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14435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18</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79960"/>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1" y="381000"/>
            <a:ext cx="4649688"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Inflation</a:t>
            </a:r>
          </a:p>
        </p:txBody>
      </p:sp>
      <p:sp>
        <p:nvSpPr>
          <p:cNvPr id="33" name="Text Placeholder 4">
            <a:extLst>
              <a:ext uri="{FF2B5EF4-FFF2-40B4-BE49-F238E27FC236}">
                <a16:creationId xmlns:a16="http://schemas.microsoft.com/office/drawing/2014/main" id="{6FFFEBC6-1137-BD47-B39C-D0F4CEA11FB0}"/>
              </a:ext>
            </a:extLst>
          </p:cNvPr>
          <p:cNvSpPr txBox="1">
            <a:spLocks/>
          </p:cNvSpPr>
          <p:nvPr/>
        </p:nvSpPr>
        <p:spPr>
          <a:xfrm>
            <a:off x="3086100" y="2514600"/>
            <a:ext cx="4693961" cy="61923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2400"/>
              </a:lnSpc>
              <a:spcBef>
                <a:spcPts val="0"/>
              </a:spcBef>
            </a:pPr>
            <a:r>
              <a:rPr lang="en-US" sz="2400" dirty="0">
                <a:solidFill>
                  <a:srgbClr val="3369FF"/>
                </a:solidFill>
                <a:latin typeface="Segoe UI" panose="020B0502040204020203" pitchFamily="34" charset="0"/>
                <a:ea typeface="Segoe UI" panose="020B0502040204020203" pitchFamily="34" charset="0"/>
                <a:cs typeface="Segoe UI" panose="020B0502040204020203" pitchFamily="34" charset="0"/>
              </a:rPr>
              <a:t>Though 92% of consumers recognize that inflation will have an impact on their savings, only 26% are very concerned about inflation.</a:t>
            </a:r>
            <a:endParaRPr lang="en-US" sz="2400" b="0" dirty="0">
              <a:solidFill>
                <a:srgbClr val="3369FF"/>
              </a:solidFill>
              <a:latin typeface="Segoe UI" panose="020B0502040204020203" pitchFamily="34" charset="0"/>
              <a:ea typeface="Segoe UI" panose="020B0502040204020203" pitchFamily="34" charset="0"/>
              <a:cs typeface="Segoe UI" panose="020B0502040204020203" pitchFamily="34" charset="0"/>
            </a:endParaRPr>
          </a:p>
        </p:txBody>
      </p:sp>
      <p:sp>
        <p:nvSpPr>
          <p:cNvPr id="45" name="TextBox 44">
            <a:extLst>
              <a:ext uri="{FF2B5EF4-FFF2-40B4-BE49-F238E27FC236}">
                <a16:creationId xmlns:a16="http://schemas.microsoft.com/office/drawing/2014/main" id="{7E2986C8-4C91-8C4C-8230-30CDD2B5B689}"/>
              </a:ext>
            </a:extLst>
          </p:cNvPr>
          <p:cNvSpPr txBox="1"/>
          <p:nvPr/>
        </p:nvSpPr>
        <p:spPr>
          <a:xfrm>
            <a:off x="419100" y="5673058"/>
            <a:ext cx="8220791" cy="123111"/>
          </a:xfrm>
          <a:prstGeom prst="rect">
            <a:avLst/>
          </a:prstGeom>
          <a:noFill/>
        </p:spPr>
        <p:txBody>
          <a:bodyPr wrap="square" lIns="0" tIns="0" rIns="0" bIns="0" rtlCol="0">
            <a:spAutoFit/>
          </a:bodyPr>
          <a:lstStyle/>
          <a:p>
            <a:r>
              <a:rPr lang="en-US" sz="800" dirty="0">
                <a:solidFill>
                  <a:srgbClr val="000000"/>
                </a:solidFill>
              </a:rPr>
              <a:t>Insured Retirement Institute, Protection, Growth, and Income, 2018 </a:t>
            </a:r>
            <a:endParaRPr lang="en-US" sz="800" dirty="0">
              <a:latin typeface="Arial" pitchFamily="34" charset="0"/>
              <a:cs typeface="Arial" pitchFamily="34" charset="0"/>
            </a:endParaRPr>
          </a:p>
        </p:txBody>
      </p:sp>
      <p:graphicFrame>
        <p:nvGraphicFramePr>
          <p:cNvPr id="13" name="Chart 12">
            <a:extLst>
              <a:ext uri="{FF2B5EF4-FFF2-40B4-BE49-F238E27FC236}">
                <a16:creationId xmlns:a16="http://schemas.microsoft.com/office/drawing/2014/main" id="{85964CB7-667A-D347-8A1A-9A6C45B2A8CD}"/>
              </a:ext>
            </a:extLst>
          </p:cNvPr>
          <p:cNvGraphicFramePr/>
          <p:nvPr>
            <p:extLst>
              <p:ext uri="{D42A27DB-BD31-4B8C-83A1-F6EECF244321}">
                <p14:modId xmlns:p14="http://schemas.microsoft.com/office/powerpoint/2010/main" val="110759056"/>
              </p:ext>
            </p:extLst>
          </p:nvPr>
        </p:nvGraphicFramePr>
        <p:xfrm>
          <a:off x="0" y="1982782"/>
          <a:ext cx="3048000"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 Placeholder 4">
            <a:extLst>
              <a:ext uri="{FF2B5EF4-FFF2-40B4-BE49-F238E27FC236}">
                <a16:creationId xmlns:a16="http://schemas.microsoft.com/office/drawing/2014/main" id="{9521AFE0-6B70-344A-80BD-4B5A2FA93990}"/>
              </a:ext>
            </a:extLst>
          </p:cNvPr>
          <p:cNvSpPr txBox="1">
            <a:spLocks/>
          </p:cNvSpPr>
          <p:nvPr/>
        </p:nvSpPr>
        <p:spPr>
          <a:xfrm>
            <a:off x="894522" y="4415259"/>
            <a:ext cx="1798982"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0"/>
              </a:spcBef>
            </a:pP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Only 26% </a:t>
            </a:r>
            <a:r>
              <a:rPr lang="en-US" sz="1400" b="0" dirty="0">
                <a:solidFill>
                  <a:srgbClr val="75787B"/>
                </a:solidFill>
                <a:latin typeface="Segoe UI" panose="020B0502040204020203" pitchFamily="34" charset="0"/>
                <a:ea typeface="Segoe UI" panose="020B0502040204020203" pitchFamily="34" charset="0"/>
                <a:cs typeface="Segoe UI" panose="020B0502040204020203" pitchFamily="34" charset="0"/>
              </a:rPr>
              <a:t>are concerned about </a:t>
            </a: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inflation</a:t>
            </a:r>
          </a:p>
        </p:txBody>
      </p:sp>
      <p:cxnSp>
        <p:nvCxnSpPr>
          <p:cNvPr id="18" name="Straight Connector 17">
            <a:extLst>
              <a:ext uri="{FF2B5EF4-FFF2-40B4-BE49-F238E27FC236}">
                <a16:creationId xmlns:a16="http://schemas.microsoft.com/office/drawing/2014/main" id="{883BB4E4-4225-484D-986A-7FFBABE574E3}"/>
              </a:ext>
            </a:extLst>
          </p:cNvPr>
          <p:cNvCxnSpPr>
            <a:cxnSpLocks/>
          </p:cNvCxnSpPr>
          <p:nvPr/>
        </p:nvCxnSpPr>
        <p:spPr>
          <a:xfrm>
            <a:off x="419100" y="2139416"/>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C70369A-DCB4-6B45-83C8-86A1161D4687}"/>
              </a:ext>
            </a:extLst>
          </p:cNvPr>
          <p:cNvCxnSpPr>
            <a:cxnSpLocks/>
          </p:cNvCxnSpPr>
          <p:nvPr/>
        </p:nvCxnSpPr>
        <p:spPr>
          <a:xfrm>
            <a:off x="419100" y="5614410"/>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19703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Connector 24">
            <a:extLst>
              <a:ext uri="{FF2B5EF4-FFF2-40B4-BE49-F238E27FC236}">
                <a16:creationId xmlns:a16="http://schemas.microsoft.com/office/drawing/2014/main" id="{15574A61-5BE5-F941-A705-394257E2B332}"/>
              </a:ext>
            </a:extLst>
          </p:cNvPr>
          <p:cNvCxnSpPr>
            <a:cxnSpLocks/>
          </p:cNvCxnSpPr>
          <p:nvPr/>
        </p:nvCxnSpPr>
        <p:spPr>
          <a:xfrm flipV="1">
            <a:off x="5519911" y="2946441"/>
            <a:ext cx="2905085" cy="543510"/>
          </a:xfrm>
          <a:prstGeom prst="line">
            <a:avLst/>
          </a:prstGeom>
          <a:ln>
            <a:solidFill>
              <a:srgbClr val="75787B"/>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CBF3832-F1E6-B94A-9971-998E05BBCB82}"/>
              </a:ext>
            </a:extLst>
          </p:cNvPr>
          <p:cNvCxnSpPr>
            <a:cxnSpLocks/>
          </p:cNvCxnSpPr>
          <p:nvPr/>
        </p:nvCxnSpPr>
        <p:spPr>
          <a:xfrm flipV="1">
            <a:off x="5519910" y="3656023"/>
            <a:ext cx="2940026" cy="538477"/>
          </a:xfrm>
          <a:prstGeom prst="line">
            <a:avLst/>
          </a:prstGeom>
          <a:ln>
            <a:solidFill>
              <a:srgbClr val="75787B"/>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4E3027A-BC36-4746-872F-EC3440B1C46B}"/>
              </a:ext>
            </a:extLst>
          </p:cNvPr>
          <p:cNvCxnSpPr/>
          <p:nvPr/>
        </p:nvCxnSpPr>
        <p:spPr>
          <a:xfrm flipV="1">
            <a:off x="2631925" y="4093206"/>
            <a:ext cx="2256183" cy="231495"/>
          </a:xfrm>
          <a:prstGeom prst="line">
            <a:avLst/>
          </a:prstGeom>
          <a:ln>
            <a:solidFill>
              <a:srgbClr val="75787B"/>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729D205-23DE-CE4B-ACD5-6512BCF0BD30}"/>
              </a:ext>
            </a:extLst>
          </p:cNvPr>
          <p:cNvCxnSpPr>
            <a:cxnSpLocks/>
          </p:cNvCxnSpPr>
          <p:nvPr/>
        </p:nvCxnSpPr>
        <p:spPr>
          <a:xfrm flipV="1">
            <a:off x="5634717" y="2181502"/>
            <a:ext cx="2940026" cy="538477"/>
          </a:xfrm>
          <a:prstGeom prst="line">
            <a:avLst/>
          </a:prstGeom>
          <a:ln>
            <a:solidFill>
              <a:srgbClr val="75787B"/>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EF754DB-8F0D-6049-BE7E-14436832614D}"/>
              </a:ext>
            </a:extLst>
          </p:cNvPr>
          <p:cNvCxnSpPr/>
          <p:nvPr/>
        </p:nvCxnSpPr>
        <p:spPr>
          <a:xfrm flipV="1">
            <a:off x="2462213" y="3378591"/>
            <a:ext cx="2256183" cy="231495"/>
          </a:xfrm>
          <a:prstGeom prst="line">
            <a:avLst/>
          </a:prstGeom>
          <a:ln>
            <a:solidFill>
              <a:srgbClr val="75787B"/>
            </a:solidFill>
            <a:prstDash val="dash"/>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19</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79960"/>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1" y="381000"/>
            <a:ext cx="4649688"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Inflation</a:t>
            </a:r>
          </a:p>
        </p:txBody>
      </p:sp>
      <p:sp>
        <p:nvSpPr>
          <p:cNvPr id="45" name="TextBox 44">
            <a:extLst>
              <a:ext uri="{FF2B5EF4-FFF2-40B4-BE49-F238E27FC236}">
                <a16:creationId xmlns:a16="http://schemas.microsoft.com/office/drawing/2014/main" id="{7E2986C8-4C91-8C4C-8230-30CDD2B5B689}"/>
              </a:ext>
            </a:extLst>
          </p:cNvPr>
          <p:cNvSpPr txBox="1"/>
          <p:nvPr/>
        </p:nvSpPr>
        <p:spPr>
          <a:xfrm>
            <a:off x="420329" y="5682998"/>
            <a:ext cx="8220791" cy="369332"/>
          </a:xfrm>
          <a:prstGeom prst="rect">
            <a:avLst/>
          </a:prstGeom>
          <a:noFill/>
        </p:spPr>
        <p:txBody>
          <a:bodyPr wrap="square" lIns="0" tIns="0" rIns="0" bIns="0" rtlCol="0">
            <a:spAutoFit/>
          </a:bodyPr>
          <a:lstStyle/>
          <a:p>
            <a:r>
              <a:rPr lang="en-US" sz="800" dirty="0">
                <a:solidFill>
                  <a:schemeClr val="bg1">
                    <a:lumMod val="50000"/>
                  </a:schemeClr>
                </a:solidFill>
                <a:cs typeface="Arial" pitchFamily="34" charset="0"/>
              </a:rPr>
              <a:t>1 US Census, </a:t>
            </a:r>
            <a:r>
              <a:rPr lang="en-US" sz="800" dirty="0">
                <a:solidFill>
                  <a:schemeClr val="bg1">
                    <a:lumMod val="50000"/>
                  </a:schemeClr>
                </a:solidFill>
              </a:rPr>
              <a:t>Median and Average Sales Prices of New Homes Sold in United States</a:t>
            </a:r>
          </a:p>
          <a:p>
            <a:r>
              <a:rPr lang="en-US" sz="800" dirty="0">
                <a:solidFill>
                  <a:schemeClr val="bg1">
                    <a:lumMod val="50000"/>
                  </a:schemeClr>
                </a:solidFill>
                <a:cs typeface="Arial" pitchFamily="34" charset="0"/>
              </a:rPr>
              <a:t>2 Office of Energy Efficiency and Renewable Energy, </a:t>
            </a:r>
            <a:r>
              <a:rPr lang="en-US" sz="800" dirty="0">
                <a:solidFill>
                  <a:schemeClr val="bg1">
                    <a:lumMod val="50000"/>
                  </a:schemeClr>
                </a:solidFill>
              </a:rPr>
              <a:t>Average Historical Annual Gasoline Pump Price, 1929-2015, March 2016.</a:t>
            </a:r>
            <a:endParaRPr lang="en-US" sz="800" dirty="0">
              <a:solidFill>
                <a:schemeClr val="bg1">
                  <a:lumMod val="50000"/>
                </a:schemeClr>
              </a:solidFill>
              <a:cs typeface="Arial" pitchFamily="34" charset="0"/>
            </a:endParaRPr>
          </a:p>
          <a:p>
            <a:r>
              <a:rPr lang="en-US" sz="800" dirty="0">
                <a:solidFill>
                  <a:schemeClr val="bg1">
                    <a:lumMod val="50000"/>
                  </a:schemeClr>
                </a:solidFill>
                <a:cs typeface="Arial" pitchFamily="34" charset="0"/>
              </a:rPr>
              <a:t>3 U.S. Department of Labor, Bureau of Labor Statistics. Retail price from 1960 through 1978; U.S. average, by month.</a:t>
            </a:r>
          </a:p>
        </p:txBody>
      </p:sp>
      <p:cxnSp>
        <p:nvCxnSpPr>
          <p:cNvPr id="18" name="Straight Connector 17">
            <a:extLst>
              <a:ext uri="{FF2B5EF4-FFF2-40B4-BE49-F238E27FC236}">
                <a16:creationId xmlns:a16="http://schemas.microsoft.com/office/drawing/2014/main" id="{883BB4E4-4225-484D-986A-7FFBABE574E3}"/>
              </a:ext>
            </a:extLst>
          </p:cNvPr>
          <p:cNvCxnSpPr>
            <a:cxnSpLocks/>
          </p:cNvCxnSpPr>
          <p:nvPr/>
        </p:nvCxnSpPr>
        <p:spPr>
          <a:xfrm>
            <a:off x="419100" y="1308987"/>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C70369A-DCB4-6B45-83C8-86A1161D4687}"/>
              </a:ext>
            </a:extLst>
          </p:cNvPr>
          <p:cNvCxnSpPr>
            <a:cxnSpLocks/>
          </p:cNvCxnSpPr>
          <p:nvPr/>
        </p:nvCxnSpPr>
        <p:spPr>
          <a:xfrm>
            <a:off x="419100" y="5614410"/>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B9BF208-30C5-9C47-8E3C-548BF6091C55}"/>
              </a:ext>
            </a:extLst>
          </p:cNvPr>
          <p:cNvCxnSpPr/>
          <p:nvPr/>
        </p:nvCxnSpPr>
        <p:spPr>
          <a:xfrm flipV="1">
            <a:off x="2626934" y="2658945"/>
            <a:ext cx="2256183" cy="231495"/>
          </a:xfrm>
          <a:prstGeom prst="line">
            <a:avLst/>
          </a:prstGeom>
          <a:ln>
            <a:solidFill>
              <a:srgbClr val="75787B"/>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DBE62E66-275A-A24E-BC2A-D34467B97C2F}"/>
              </a:ext>
            </a:extLst>
          </p:cNvPr>
          <p:cNvSpPr txBox="1"/>
          <p:nvPr/>
        </p:nvSpPr>
        <p:spPr>
          <a:xfrm>
            <a:off x="339086" y="2768248"/>
            <a:ext cx="848564" cy="2376035"/>
          </a:xfrm>
          <a:prstGeom prst="rect">
            <a:avLst/>
          </a:prstGeom>
          <a:noFill/>
        </p:spPr>
        <p:txBody>
          <a:bodyPr wrap="square" rtlCol="0">
            <a:spAutoFit/>
          </a:bodyPr>
          <a:lstStyle/>
          <a:p>
            <a:pPr lvl="0" algn="r" defTabSz="913437">
              <a:spcBef>
                <a:spcPts val="3200"/>
              </a:spcBef>
              <a:defRPr/>
            </a:pPr>
            <a:r>
              <a:rPr lang="en-US" dirty="0">
                <a:solidFill>
                  <a:srgbClr val="75787B"/>
                </a:solidFill>
                <a:latin typeface="Segoe UI" panose="020B0502040204020203" pitchFamily="34" charset="0"/>
              </a:rPr>
              <a:t>House</a:t>
            </a:r>
          </a:p>
          <a:p>
            <a:pPr lvl="0" algn="r" defTabSz="913437">
              <a:spcBef>
                <a:spcPts val="3200"/>
              </a:spcBef>
              <a:defRPr/>
            </a:pPr>
            <a:r>
              <a:rPr lang="en-US" kern="0" dirty="0">
                <a:solidFill>
                  <a:srgbClr val="75787B"/>
                </a:solidFill>
                <a:latin typeface="Segoe UI" panose="020B0502040204020203" pitchFamily="34" charset="0"/>
                <a:ea typeface="ＭＳ Ｐゴシック" charset="0"/>
              </a:rPr>
              <a:t>Gas </a:t>
            </a:r>
            <a:br>
              <a:rPr lang="en-US" kern="0" dirty="0">
                <a:solidFill>
                  <a:srgbClr val="75787B"/>
                </a:solidFill>
                <a:latin typeface="Segoe UI" panose="020B0502040204020203" pitchFamily="34" charset="0"/>
                <a:ea typeface="ＭＳ Ｐゴシック" charset="0"/>
              </a:rPr>
            </a:br>
            <a:r>
              <a:rPr lang="en-US" sz="900" kern="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Per gallon)</a:t>
            </a:r>
          </a:p>
          <a:p>
            <a:pPr algn="r" defTabSz="913437">
              <a:spcBef>
                <a:spcPts val="3200"/>
              </a:spcBef>
              <a:defRPr/>
            </a:pPr>
            <a:r>
              <a:rPr lang="en-US" kern="0" dirty="0">
                <a:solidFill>
                  <a:srgbClr val="75787B"/>
                </a:solidFill>
                <a:latin typeface="Segoe UI" panose="020B0502040204020203" pitchFamily="34" charset="0"/>
                <a:ea typeface="ＭＳ Ｐゴシック" charset="0"/>
              </a:rPr>
              <a:t>Milk </a:t>
            </a:r>
            <a:br>
              <a:rPr lang="en-US" kern="0" dirty="0">
                <a:solidFill>
                  <a:srgbClr val="75787B"/>
                </a:solidFill>
                <a:latin typeface="Segoe UI" panose="020B0502040204020203" pitchFamily="34" charset="0"/>
                <a:ea typeface="ＭＳ Ｐゴシック" charset="0"/>
              </a:rPr>
            </a:br>
            <a:r>
              <a:rPr lang="en-US" sz="900" kern="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Per gallon)</a:t>
            </a:r>
          </a:p>
          <a:p>
            <a:pPr lvl="0" algn="r" defTabSz="913437">
              <a:spcBef>
                <a:spcPts val="3200"/>
              </a:spcBef>
              <a:defRPr/>
            </a:pPr>
            <a:endParaRPr lang="en-US" kern="0" dirty="0">
              <a:solidFill>
                <a:srgbClr val="75787B"/>
              </a:solidFill>
              <a:ea typeface="ＭＳ Ｐゴシック" charset="0"/>
            </a:endParaRPr>
          </a:p>
        </p:txBody>
      </p:sp>
      <p:grpSp>
        <p:nvGrpSpPr>
          <p:cNvPr id="20" name="Group 19">
            <a:extLst>
              <a:ext uri="{FF2B5EF4-FFF2-40B4-BE49-F238E27FC236}">
                <a16:creationId xmlns:a16="http://schemas.microsoft.com/office/drawing/2014/main" id="{95BD4C7E-7DFE-A64E-A398-7178D01A75EA}"/>
              </a:ext>
            </a:extLst>
          </p:cNvPr>
          <p:cNvGrpSpPr/>
          <p:nvPr/>
        </p:nvGrpSpPr>
        <p:grpSpPr>
          <a:xfrm>
            <a:off x="1432810" y="2667813"/>
            <a:ext cx="1442692" cy="1780558"/>
            <a:chOff x="1642846" y="3645733"/>
            <a:chExt cx="1631394" cy="1997073"/>
          </a:xfrm>
        </p:grpSpPr>
        <p:sp>
          <p:nvSpPr>
            <p:cNvPr id="58" name="Rounded Rectangle 57">
              <a:extLst>
                <a:ext uri="{FF2B5EF4-FFF2-40B4-BE49-F238E27FC236}">
                  <a16:creationId xmlns:a16="http://schemas.microsoft.com/office/drawing/2014/main" id="{E4FE479B-858B-A74C-A2BF-E63B1C5F4744}"/>
                </a:ext>
              </a:extLst>
            </p:cNvPr>
            <p:cNvSpPr/>
            <p:nvPr/>
          </p:nvSpPr>
          <p:spPr>
            <a:xfrm>
              <a:off x="1642846" y="4477167"/>
              <a:ext cx="1630932" cy="367466"/>
            </a:xfrm>
            <a:prstGeom prst="roundRect">
              <a:avLst>
                <a:gd name="adj" fmla="val 0"/>
              </a:avLst>
            </a:prstGeom>
            <a:solidFill>
              <a:srgbClr val="2E3192"/>
            </a:solidFill>
            <a:ln w="12700" cap="flat" cmpd="sng" algn="ctr">
              <a:solidFill>
                <a:schemeClr val="bg1"/>
              </a:solidFill>
              <a:prstDash val="solid"/>
            </a:ln>
            <a:effectLst/>
          </p:spPr>
          <p:style>
            <a:lnRef idx="0">
              <a:scrgbClr r="0" g="0" b="0"/>
            </a:lnRef>
            <a:fillRef idx="0">
              <a:scrgbClr r="0" g="0" b="0"/>
            </a:fillRef>
            <a:effectRef idx="0">
              <a:scrgbClr r="0" g="0" b="0"/>
            </a:effectRef>
            <a:fontRef idx="major"/>
          </p:style>
          <p:txBody>
            <a:bodyPr wrap="none"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ＭＳ Ｐゴシック" charset="0"/>
                  <a:cs typeface="+mn-cs"/>
                </a:rPr>
                <a:t>$0.57</a:t>
              </a:r>
              <a:r>
                <a:rPr kumimoji="0" lang="en-US" sz="1400" b="1" i="0" u="none" strike="noStrike" kern="0" cap="none" spc="0" normalizeH="0" baseline="30000" noProof="0" dirty="0">
                  <a:ln>
                    <a:noFill/>
                  </a:ln>
                  <a:solidFill>
                    <a:prstClr val="white"/>
                  </a:solidFill>
                  <a:effectLst/>
                  <a:uLnTx/>
                  <a:uFillTx/>
                  <a:latin typeface="+mj-lt"/>
                  <a:ea typeface="ＭＳ Ｐゴシック" charset="0"/>
                  <a:cs typeface="+mn-cs"/>
                </a:rPr>
                <a:t>2</a:t>
              </a:r>
            </a:p>
          </p:txBody>
        </p:sp>
        <p:sp>
          <p:nvSpPr>
            <p:cNvPr id="59" name="Rounded Rectangle 58">
              <a:extLst>
                <a:ext uri="{FF2B5EF4-FFF2-40B4-BE49-F238E27FC236}">
                  <a16:creationId xmlns:a16="http://schemas.microsoft.com/office/drawing/2014/main" id="{822D1BAE-7DFF-C04A-A2CD-2576EE463CD3}"/>
                </a:ext>
              </a:extLst>
            </p:cNvPr>
            <p:cNvSpPr/>
            <p:nvPr/>
          </p:nvSpPr>
          <p:spPr>
            <a:xfrm>
              <a:off x="1644710" y="3645733"/>
              <a:ext cx="1629530" cy="367467"/>
            </a:xfrm>
            <a:prstGeom prst="roundRect">
              <a:avLst>
                <a:gd name="adj" fmla="val 0"/>
              </a:avLst>
            </a:prstGeom>
            <a:solidFill>
              <a:srgbClr val="0070C0"/>
            </a:solidFill>
            <a:ln w="12700" cap="flat" cmpd="sng" algn="ctr">
              <a:solidFill>
                <a:schemeClr val="bg1"/>
              </a:solidFill>
              <a:prstDash val="solid"/>
            </a:ln>
            <a:effectLst/>
          </p:spPr>
          <p:style>
            <a:lnRef idx="0">
              <a:scrgbClr r="0" g="0" b="0"/>
            </a:lnRef>
            <a:fillRef idx="0">
              <a:scrgbClr r="0" g="0" b="0"/>
            </a:fillRef>
            <a:effectRef idx="0">
              <a:scrgbClr r="0" g="0" b="0"/>
            </a:effectRef>
            <a:fontRef idx="major"/>
          </p:style>
          <p:txBody>
            <a:bodyPr wrap="none"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ＭＳ Ｐゴシック" charset="0"/>
                  <a:cs typeface="+mn-cs"/>
                </a:rPr>
                <a:t>$45,900</a:t>
              </a:r>
              <a:r>
                <a:rPr kumimoji="0" lang="en-US" sz="1400" b="1" i="0" u="none" strike="noStrike" kern="0" cap="none" spc="0" normalizeH="0" baseline="30000" noProof="0" dirty="0">
                  <a:ln>
                    <a:noFill/>
                  </a:ln>
                  <a:solidFill>
                    <a:prstClr val="white"/>
                  </a:solidFill>
                  <a:effectLst/>
                  <a:uLnTx/>
                  <a:uFillTx/>
                  <a:latin typeface="+mj-lt"/>
                  <a:ea typeface="ＭＳ Ｐゴシック" charset="0"/>
                  <a:cs typeface="+mn-cs"/>
                </a:rPr>
                <a:t>1</a:t>
              </a:r>
            </a:p>
          </p:txBody>
        </p:sp>
        <p:sp>
          <p:nvSpPr>
            <p:cNvPr id="60" name="Rounded Rectangle 59">
              <a:extLst>
                <a:ext uri="{FF2B5EF4-FFF2-40B4-BE49-F238E27FC236}">
                  <a16:creationId xmlns:a16="http://schemas.microsoft.com/office/drawing/2014/main" id="{80C3EE80-B7DA-C940-9CAE-06FDA11E7E09}"/>
                </a:ext>
              </a:extLst>
            </p:cNvPr>
            <p:cNvSpPr/>
            <p:nvPr/>
          </p:nvSpPr>
          <p:spPr>
            <a:xfrm>
              <a:off x="1642846" y="5275340"/>
              <a:ext cx="1630932" cy="367466"/>
            </a:xfrm>
            <a:prstGeom prst="roundRect">
              <a:avLst>
                <a:gd name="adj" fmla="val 0"/>
              </a:avLst>
            </a:prstGeom>
            <a:solidFill>
              <a:srgbClr val="3368FB"/>
            </a:solidFill>
            <a:ln w="12700" cap="flat" cmpd="sng" algn="ctr">
              <a:solidFill>
                <a:schemeClr val="bg1"/>
              </a:solidFill>
              <a:prstDash val="solid"/>
            </a:ln>
            <a:effectLst/>
          </p:spPr>
          <p:style>
            <a:lnRef idx="0">
              <a:scrgbClr r="0" g="0" b="0"/>
            </a:lnRef>
            <a:fillRef idx="0">
              <a:scrgbClr r="0" g="0" b="0"/>
            </a:fillRef>
            <a:effectRef idx="0">
              <a:scrgbClr r="0" g="0" b="0"/>
            </a:effectRef>
            <a:fontRef idx="major"/>
          </p:style>
          <p:txBody>
            <a:bodyPr wrap="none"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ＭＳ Ｐゴシック" charset="0"/>
                  <a:cs typeface="+mn-cs"/>
                </a:rPr>
                <a:t>$1.57</a:t>
              </a:r>
              <a:r>
                <a:rPr kumimoji="0" lang="en-US" sz="1400" b="1" i="0" u="none" strike="noStrike" kern="0" cap="none" spc="0" normalizeH="0" baseline="30000" noProof="0" dirty="0">
                  <a:ln>
                    <a:noFill/>
                  </a:ln>
                  <a:solidFill>
                    <a:prstClr val="white"/>
                  </a:solidFill>
                  <a:effectLst/>
                  <a:uLnTx/>
                  <a:uFillTx/>
                  <a:latin typeface="+mj-lt"/>
                  <a:ea typeface="ＭＳ Ｐゴシック" charset="0"/>
                  <a:cs typeface="+mn-cs"/>
                </a:rPr>
                <a:t>3</a:t>
              </a:r>
            </a:p>
          </p:txBody>
        </p:sp>
      </p:grpSp>
      <p:sp>
        <p:nvSpPr>
          <p:cNvPr id="21" name="Freeform 20">
            <a:extLst>
              <a:ext uri="{FF2B5EF4-FFF2-40B4-BE49-F238E27FC236}">
                <a16:creationId xmlns:a16="http://schemas.microsoft.com/office/drawing/2014/main" id="{CD0CFBAE-F339-7D48-A36D-4D649B51D631}"/>
              </a:ext>
            </a:extLst>
          </p:cNvPr>
          <p:cNvSpPr>
            <a:spLocks/>
          </p:cNvSpPr>
          <p:nvPr/>
        </p:nvSpPr>
        <p:spPr bwMode="auto">
          <a:xfrm>
            <a:off x="1199351" y="1819471"/>
            <a:ext cx="7658900" cy="2860158"/>
          </a:xfrm>
          <a:custGeom>
            <a:avLst/>
            <a:gdLst>
              <a:gd name="T0" fmla="*/ 0 w 8623005"/>
              <a:gd name="T1" fmla="*/ 0 h 4093535"/>
              <a:gd name="T2" fmla="*/ 0 w 8623005"/>
              <a:gd name="T3" fmla="*/ 3227939 h 4093535"/>
              <a:gd name="T4" fmla="*/ 4419854 w 8623005"/>
              <a:gd name="T5" fmla="*/ 3227939 h 4093535"/>
              <a:gd name="T6" fmla="*/ 0 60000 65536"/>
              <a:gd name="T7" fmla="*/ 0 60000 65536"/>
              <a:gd name="T8" fmla="*/ 0 60000 65536"/>
            </a:gdLst>
            <a:ahLst/>
            <a:cxnLst>
              <a:cxn ang="T6">
                <a:pos x="T0" y="T1"/>
              </a:cxn>
              <a:cxn ang="T7">
                <a:pos x="T2" y="T3"/>
              </a:cxn>
              <a:cxn ang="T8">
                <a:pos x="T4" y="T5"/>
              </a:cxn>
            </a:cxnLst>
            <a:rect l="0" t="0" r="r" b="b"/>
            <a:pathLst>
              <a:path w="8623005" h="4093535">
                <a:moveTo>
                  <a:pt x="0" y="0"/>
                </a:moveTo>
                <a:lnTo>
                  <a:pt x="0" y="4093535"/>
                </a:lnTo>
                <a:lnTo>
                  <a:pt x="8623005" y="4093535"/>
                </a:lnTo>
              </a:path>
            </a:pathLst>
          </a:custGeom>
          <a:noFill/>
          <a:ln w="12700">
            <a:solidFill>
              <a:srgbClr val="75787B"/>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style>
          <a:lnRef idx="0">
            <a:scrgbClr r="0" g="0" b="0"/>
          </a:lnRef>
          <a:fillRef idx="0">
            <a:scrgbClr r="0" g="0" b="0"/>
          </a:fillRef>
          <a:effectRef idx="0">
            <a:scrgbClr r="0" g="0" b="0"/>
          </a:effectRef>
          <a:fontRef idx="major"/>
        </p:style>
        <p:txBody>
          <a:bodyPr wrap="none" lIns="17981" tIns="45672" rIns="17981"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913437"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5787B"/>
              </a:solidFill>
              <a:effectLst/>
              <a:uLnTx/>
              <a:uFillTx/>
              <a:latin typeface="+mj-lt"/>
              <a:ea typeface="ＭＳ Ｐゴシック" charset="0"/>
              <a:cs typeface="+mn-cs"/>
            </a:endParaRPr>
          </a:p>
        </p:txBody>
      </p:sp>
      <p:grpSp>
        <p:nvGrpSpPr>
          <p:cNvPr id="22" name="Group 21">
            <a:extLst>
              <a:ext uri="{FF2B5EF4-FFF2-40B4-BE49-F238E27FC236}">
                <a16:creationId xmlns:a16="http://schemas.microsoft.com/office/drawing/2014/main" id="{689F7460-31B9-A64C-8E03-AB634DFB722C}"/>
              </a:ext>
            </a:extLst>
          </p:cNvPr>
          <p:cNvGrpSpPr/>
          <p:nvPr/>
        </p:nvGrpSpPr>
        <p:grpSpPr>
          <a:xfrm>
            <a:off x="4282247" y="2538051"/>
            <a:ext cx="1442692" cy="1780558"/>
            <a:chOff x="1642846" y="3645733"/>
            <a:chExt cx="1631394" cy="1997073"/>
          </a:xfrm>
        </p:grpSpPr>
        <p:sp>
          <p:nvSpPr>
            <p:cNvPr id="55" name="Rounded Rectangle 54">
              <a:extLst>
                <a:ext uri="{FF2B5EF4-FFF2-40B4-BE49-F238E27FC236}">
                  <a16:creationId xmlns:a16="http://schemas.microsoft.com/office/drawing/2014/main" id="{3D6F2372-1319-2F47-AAE1-5C5C78303817}"/>
                </a:ext>
              </a:extLst>
            </p:cNvPr>
            <p:cNvSpPr/>
            <p:nvPr/>
          </p:nvSpPr>
          <p:spPr>
            <a:xfrm>
              <a:off x="1642846" y="4477167"/>
              <a:ext cx="1630932" cy="367466"/>
            </a:xfrm>
            <a:prstGeom prst="roundRect">
              <a:avLst>
                <a:gd name="adj" fmla="val 0"/>
              </a:avLst>
            </a:prstGeom>
            <a:solidFill>
              <a:srgbClr val="2E3192"/>
            </a:solidFill>
            <a:ln w="12700" cap="flat" cmpd="sng" algn="ctr">
              <a:solidFill>
                <a:schemeClr val="bg1"/>
              </a:solidFill>
              <a:prstDash val="solid"/>
            </a:ln>
            <a:effectLst/>
          </p:spPr>
          <p:style>
            <a:lnRef idx="0">
              <a:scrgbClr r="0" g="0" b="0"/>
            </a:lnRef>
            <a:fillRef idx="0">
              <a:scrgbClr r="0" g="0" b="0"/>
            </a:fillRef>
            <a:effectRef idx="0">
              <a:scrgbClr r="0" g="0" b="0"/>
            </a:effectRef>
            <a:fontRef idx="major"/>
          </p:style>
          <p:txBody>
            <a:bodyPr wrap="none"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ＭＳ Ｐゴシック" charset="0"/>
                  <a:cs typeface="+mn-cs"/>
                </a:rPr>
                <a:t>$2.79</a:t>
              </a:r>
              <a:endParaRPr kumimoji="0" lang="en-US" sz="1400" b="1" i="0" u="none" strike="noStrike" kern="0" cap="none" spc="0" normalizeH="0" baseline="30000" noProof="0" dirty="0">
                <a:ln>
                  <a:noFill/>
                </a:ln>
                <a:solidFill>
                  <a:prstClr val="white"/>
                </a:solidFill>
                <a:effectLst/>
                <a:uLnTx/>
                <a:uFillTx/>
                <a:latin typeface="+mj-lt"/>
                <a:ea typeface="ＭＳ Ｐゴシック" charset="0"/>
                <a:cs typeface="+mn-cs"/>
              </a:endParaRPr>
            </a:p>
          </p:txBody>
        </p:sp>
        <p:sp>
          <p:nvSpPr>
            <p:cNvPr id="56" name="Rounded Rectangle 55">
              <a:extLst>
                <a:ext uri="{FF2B5EF4-FFF2-40B4-BE49-F238E27FC236}">
                  <a16:creationId xmlns:a16="http://schemas.microsoft.com/office/drawing/2014/main" id="{CAA9D265-140F-F344-99B3-8F8A75E10C19}"/>
                </a:ext>
              </a:extLst>
            </p:cNvPr>
            <p:cNvSpPr/>
            <p:nvPr/>
          </p:nvSpPr>
          <p:spPr>
            <a:xfrm>
              <a:off x="1644710" y="3645733"/>
              <a:ext cx="1629530" cy="367467"/>
            </a:xfrm>
            <a:prstGeom prst="roundRect">
              <a:avLst>
                <a:gd name="adj" fmla="val 0"/>
              </a:avLst>
            </a:prstGeom>
            <a:solidFill>
              <a:srgbClr val="0070C0"/>
            </a:solidFill>
            <a:ln w="12700" cap="flat" cmpd="sng" algn="ctr">
              <a:solidFill>
                <a:schemeClr val="bg1"/>
              </a:solidFill>
              <a:prstDash val="solid"/>
            </a:ln>
            <a:effectLst/>
          </p:spPr>
          <p:style>
            <a:lnRef idx="0">
              <a:scrgbClr r="0" g="0" b="0"/>
            </a:lnRef>
            <a:fillRef idx="0">
              <a:scrgbClr r="0" g="0" b="0"/>
            </a:fillRef>
            <a:effectRef idx="0">
              <a:scrgbClr r="0" g="0" b="0"/>
            </a:effectRef>
            <a:fontRef idx="major"/>
          </p:style>
          <p:txBody>
            <a:bodyPr wrap="none"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ＭＳ Ｐゴシック" charset="0"/>
                  <a:cs typeface="+mn-cs"/>
                </a:rPr>
                <a:t>$268,700</a:t>
              </a:r>
              <a:endParaRPr kumimoji="0" lang="en-US" sz="1400" b="1" i="0" u="none" strike="noStrike" kern="0" cap="none" spc="0" normalizeH="0" baseline="30000" noProof="0" dirty="0">
                <a:ln>
                  <a:noFill/>
                </a:ln>
                <a:solidFill>
                  <a:prstClr val="white"/>
                </a:solidFill>
                <a:effectLst/>
                <a:uLnTx/>
                <a:uFillTx/>
                <a:latin typeface="+mj-lt"/>
                <a:ea typeface="ＭＳ Ｐゴシック" charset="0"/>
                <a:cs typeface="+mn-cs"/>
              </a:endParaRPr>
            </a:p>
          </p:txBody>
        </p:sp>
        <p:sp>
          <p:nvSpPr>
            <p:cNvPr id="57" name="Rounded Rectangle 56">
              <a:extLst>
                <a:ext uri="{FF2B5EF4-FFF2-40B4-BE49-F238E27FC236}">
                  <a16:creationId xmlns:a16="http://schemas.microsoft.com/office/drawing/2014/main" id="{D94864A7-5844-0548-B285-17CF0F8D08C4}"/>
                </a:ext>
              </a:extLst>
            </p:cNvPr>
            <p:cNvSpPr/>
            <p:nvPr/>
          </p:nvSpPr>
          <p:spPr>
            <a:xfrm>
              <a:off x="1642846" y="5275340"/>
              <a:ext cx="1630932" cy="367466"/>
            </a:xfrm>
            <a:prstGeom prst="roundRect">
              <a:avLst>
                <a:gd name="adj" fmla="val 0"/>
              </a:avLst>
            </a:prstGeom>
            <a:solidFill>
              <a:srgbClr val="3368FB"/>
            </a:solidFill>
            <a:ln w="12700" cap="flat" cmpd="sng" algn="ctr">
              <a:solidFill>
                <a:schemeClr val="bg1"/>
              </a:solidFill>
              <a:prstDash val="solid"/>
            </a:ln>
            <a:effectLst/>
          </p:spPr>
          <p:style>
            <a:lnRef idx="0">
              <a:scrgbClr r="0" g="0" b="0"/>
            </a:lnRef>
            <a:fillRef idx="0">
              <a:scrgbClr r="0" g="0" b="0"/>
            </a:fillRef>
            <a:effectRef idx="0">
              <a:scrgbClr r="0" g="0" b="0"/>
            </a:effectRef>
            <a:fontRef idx="major"/>
          </p:style>
          <p:txBody>
            <a:bodyPr wrap="none"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ＭＳ Ｐゴシック" charset="0"/>
                  <a:cs typeface="+mn-cs"/>
                </a:rPr>
                <a:t>$3.33</a:t>
              </a:r>
              <a:endParaRPr kumimoji="0" lang="en-US" sz="1400" b="1" i="0" u="none" strike="noStrike" kern="0" cap="none" spc="0" normalizeH="0" baseline="30000" noProof="0" dirty="0">
                <a:ln>
                  <a:noFill/>
                </a:ln>
                <a:solidFill>
                  <a:prstClr val="white"/>
                </a:solidFill>
                <a:effectLst/>
                <a:uLnTx/>
                <a:uFillTx/>
                <a:latin typeface="+mj-lt"/>
                <a:ea typeface="ＭＳ Ｐゴシック" charset="0"/>
                <a:cs typeface="+mn-cs"/>
              </a:endParaRPr>
            </a:p>
          </p:txBody>
        </p:sp>
      </p:grpSp>
      <p:grpSp>
        <p:nvGrpSpPr>
          <p:cNvPr id="23" name="Group 22">
            <a:extLst>
              <a:ext uri="{FF2B5EF4-FFF2-40B4-BE49-F238E27FC236}">
                <a16:creationId xmlns:a16="http://schemas.microsoft.com/office/drawing/2014/main" id="{034683EA-CF4B-894F-A134-DCF5F691A0A9}"/>
              </a:ext>
            </a:extLst>
          </p:cNvPr>
          <p:cNvGrpSpPr/>
          <p:nvPr/>
        </p:nvGrpSpPr>
        <p:grpSpPr>
          <a:xfrm>
            <a:off x="7405159" y="2010084"/>
            <a:ext cx="1442692" cy="1780558"/>
            <a:chOff x="1642846" y="3645733"/>
            <a:chExt cx="1631394" cy="1997073"/>
          </a:xfrm>
        </p:grpSpPr>
        <p:sp>
          <p:nvSpPr>
            <p:cNvPr id="52" name="Rounded Rectangle 51">
              <a:extLst>
                <a:ext uri="{FF2B5EF4-FFF2-40B4-BE49-F238E27FC236}">
                  <a16:creationId xmlns:a16="http://schemas.microsoft.com/office/drawing/2014/main" id="{B1AEAF1C-A0B4-AA4F-B36A-5ED8159C4D92}"/>
                </a:ext>
              </a:extLst>
            </p:cNvPr>
            <p:cNvSpPr/>
            <p:nvPr/>
          </p:nvSpPr>
          <p:spPr>
            <a:xfrm>
              <a:off x="1642846" y="4477167"/>
              <a:ext cx="1630932" cy="367466"/>
            </a:xfrm>
            <a:prstGeom prst="roundRect">
              <a:avLst>
                <a:gd name="adj" fmla="val 0"/>
              </a:avLst>
            </a:prstGeom>
            <a:solidFill>
              <a:srgbClr val="2E3192"/>
            </a:solidFill>
            <a:ln w="12700" cap="flat" cmpd="sng" algn="ctr">
              <a:solidFill>
                <a:schemeClr val="bg1"/>
              </a:solidFill>
              <a:prstDash val="solid"/>
            </a:ln>
            <a:effectLst/>
          </p:spPr>
          <p:style>
            <a:lnRef idx="0">
              <a:scrgbClr r="0" g="0" b="0"/>
            </a:lnRef>
            <a:fillRef idx="0">
              <a:scrgbClr r="0" g="0" b="0"/>
            </a:fillRef>
            <a:effectRef idx="0">
              <a:scrgbClr r="0" g="0" b="0"/>
            </a:effectRef>
            <a:fontRef idx="major"/>
          </p:style>
          <p:txBody>
            <a:bodyPr wrap="none"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ＭＳ Ｐゴシック" charset="0"/>
                  <a:cs typeface="+mn-cs"/>
                </a:rPr>
                <a:t>$5.14</a:t>
              </a:r>
              <a:endParaRPr kumimoji="0" lang="en-US" sz="1400" b="1" i="0" u="none" strike="noStrike" kern="0" cap="none" spc="0" normalizeH="0" baseline="30000" noProof="0" dirty="0">
                <a:ln>
                  <a:noFill/>
                </a:ln>
                <a:solidFill>
                  <a:prstClr val="white"/>
                </a:solidFill>
                <a:effectLst/>
                <a:uLnTx/>
                <a:uFillTx/>
                <a:latin typeface="+mj-lt"/>
                <a:ea typeface="ＭＳ Ｐゴシック" charset="0"/>
                <a:cs typeface="+mn-cs"/>
              </a:endParaRPr>
            </a:p>
          </p:txBody>
        </p:sp>
        <p:sp>
          <p:nvSpPr>
            <p:cNvPr id="53" name="Rounded Rectangle 52">
              <a:extLst>
                <a:ext uri="{FF2B5EF4-FFF2-40B4-BE49-F238E27FC236}">
                  <a16:creationId xmlns:a16="http://schemas.microsoft.com/office/drawing/2014/main" id="{346891F1-C224-A54B-AEDC-AA471C16217F}"/>
                </a:ext>
              </a:extLst>
            </p:cNvPr>
            <p:cNvSpPr/>
            <p:nvPr/>
          </p:nvSpPr>
          <p:spPr>
            <a:xfrm>
              <a:off x="1644710" y="3645733"/>
              <a:ext cx="1629530" cy="367467"/>
            </a:xfrm>
            <a:prstGeom prst="roundRect">
              <a:avLst>
                <a:gd name="adj" fmla="val 0"/>
              </a:avLst>
            </a:prstGeom>
            <a:solidFill>
              <a:srgbClr val="0070C0"/>
            </a:solidFill>
            <a:ln w="12700" cap="flat" cmpd="sng" algn="ctr">
              <a:solidFill>
                <a:schemeClr val="bg1"/>
              </a:solidFill>
              <a:prstDash val="solid"/>
            </a:ln>
            <a:effectLst/>
          </p:spPr>
          <p:style>
            <a:lnRef idx="0">
              <a:scrgbClr r="0" g="0" b="0"/>
            </a:lnRef>
            <a:fillRef idx="0">
              <a:scrgbClr r="0" g="0" b="0"/>
            </a:fillRef>
            <a:effectRef idx="0">
              <a:scrgbClr r="0" g="0" b="0"/>
            </a:effectRef>
            <a:fontRef idx="major"/>
          </p:style>
          <p:txBody>
            <a:bodyPr wrap="none"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ＭＳ Ｐゴシック" charset="0"/>
                  <a:cs typeface="+mn-cs"/>
                </a:rPr>
                <a:t>$609,452</a:t>
              </a:r>
              <a:endParaRPr kumimoji="0" lang="en-US" sz="1400" b="1" i="0" u="none" strike="noStrike" kern="0" cap="none" spc="0" normalizeH="0" baseline="30000" noProof="0" dirty="0">
                <a:ln>
                  <a:noFill/>
                </a:ln>
                <a:solidFill>
                  <a:prstClr val="white"/>
                </a:solidFill>
                <a:effectLst/>
                <a:uLnTx/>
                <a:uFillTx/>
                <a:latin typeface="+mj-lt"/>
                <a:ea typeface="ＭＳ Ｐゴシック" charset="0"/>
                <a:cs typeface="+mn-cs"/>
              </a:endParaRPr>
            </a:p>
          </p:txBody>
        </p:sp>
        <p:sp>
          <p:nvSpPr>
            <p:cNvPr id="54" name="Rounded Rectangle 53">
              <a:extLst>
                <a:ext uri="{FF2B5EF4-FFF2-40B4-BE49-F238E27FC236}">
                  <a16:creationId xmlns:a16="http://schemas.microsoft.com/office/drawing/2014/main" id="{66D37613-88F2-0A4C-A4B6-599F16DF045A}"/>
                </a:ext>
              </a:extLst>
            </p:cNvPr>
            <p:cNvSpPr/>
            <p:nvPr/>
          </p:nvSpPr>
          <p:spPr>
            <a:xfrm>
              <a:off x="1642847" y="5275340"/>
              <a:ext cx="1630932" cy="367466"/>
            </a:xfrm>
            <a:prstGeom prst="roundRect">
              <a:avLst>
                <a:gd name="adj" fmla="val 0"/>
              </a:avLst>
            </a:prstGeom>
            <a:solidFill>
              <a:srgbClr val="3368FB"/>
            </a:solidFill>
            <a:ln w="12700" cap="flat" cmpd="sng" algn="ctr">
              <a:solidFill>
                <a:schemeClr val="bg1"/>
              </a:solidFill>
              <a:prstDash val="solid"/>
            </a:ln>
            <a:effectLst/>
          </p:spPr>
          <p:style>
            <a:lnRef idx="0">
              <a:scrgbClr r="0" g="0" b="0"/>
            </a:lnRef>
            <a:fillRef idx="0">
              <a:scrgbClr r="0" g="0" b="0"/>
            </a:fillRef>
            <a:effectRef idx="0">
              <a:scrgbClr r="0" g="0" b="0"/>
            </a:effectRef>
            <a:fontRef idx="major"/>
          </p:style>
          <p:txBody>
            <a:bodyPr wrap="none"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ＭＳ Ｐゴシック" charset="0"/>
                  <a:cs typeface="+mn-cs"/>
                </a:rPr>
                <a:t>$7.55</a:t>
              </a:r>
              <a:endParaRPr kumimoji="0" lang="en-US" sz="1400" b="1" i="0" u="none" strike="noStrike" kern="0" cap="none" spc="0" normalizeH="0" baseline="30000" noProof="0" dirty="0">
                <a:ln>
                  <a:noFill/>
                </a:ln>
                <a:solidFill>
                  <a:prstClr val="white"/>
                </a:solidFill>
                <a:effectLst/>
                <a:uLnTx/>
                <a:uFillTx/>
                <a:latin typeface="+mj-lt"/>
                <a:ea typeface="ＭＳ Ｐゴシック" charset="0"/>
                <a:cs typeface="+mn-cs"/>
              </a:endParaRPr>
            </a:p>
          </p:txBody>
        </p:sp>
      </p:grpSp>
      <p:grpSp>
        <p:nvGrpSpPr>
          <p:cNvPr id="29" name="Group 28">
            <a:extLst>
              <a:ext uri="{FF2B5EF4-FFF2-40B4-BE49-F238E27FC236}">
                <a16:creationId xmlns:a16="http://schemas.microsoft.com/office/drawing/2014/main" id="{C48ACE80-C486-C743-AE1D-FBE4C64A3B74}"/>
              </a:ext>
            </a:extLst>
          </p:cNvPr>
          <p:cNvGrpSpPr/>
          <p:nvPr/>
        </p:nvGrpSpPr>
        <p:grpSpPr>
          <a:xfrm>
            <a:off x="595239" y="2522913"/>
            <a:ext cx="258859" cy="293401"/>
            <a:chOff x="6100019" y="3688778"/>
            <a:chExt cx="444500" cy="489584"/>
          </a:xfrm>
          <a:solidFill>
            <a:srgbClr val="0070C0"/>
          </a:solidFill>
        </p:grpSpPr>
        <p:sp>
          <p:nvSpPr>
            <p:cNvPr id="50" name="object 22">
              <a:extLst>
                <a:ext uri="{FF2B5EF4-FFF2-40B4-BE49-F238E27FC236}">
                  <a16:creationId xmlns:a16="http://schemas.microsoft.com/office/drawing/2014/main" id="{9EB144BA-C5A4-2647-BD39-74EDB8FD8C1B}"/>
                </a:ext>
              </a:extLst>
            </p:cNvPr>
            <p:cNvSpPr/>
            <p:nvPr/>
          </p:nvSpPr>
          <p:spPr>
            <a:xfrm>
              <a:off x="6100019" y="3688778"/>
              <a:ext cx="444500" cy="489584"/>
            </a:xfrm>
            <a:custGeom>
              <a:avLst/>
              <a:gdLst/>
              <a:ahLst/>
              <a:cxnLst/>
              <a:rect l="l" t="t" r="r" b="b"/>
              <a:pathLst>
                <a:path w="444500" h="489585">
                  <a:moveTo>
                    <a:pt x="397598" y="230009"/>
                  </a:moveTo>
                  <a:lnTo>
                    <a:pt x="46393" y="230009"/>
                  </a:lnTo>
                  <a:lnTo>
                    <a:pt x="46393" y="485571"/>
                  </a:lnTo>
                  <a:lnTo>
                    <a:pt x="49923" y="489076"/>
                  </a:lnTo>
                  <a:lnTo>
                    <a:pt x="234073" y="489076"/>
                  </a:lnTo>
                  <a:lnTo>
                    <a:pt x="234073" y="372325"/>
                  </a:lnTo>
                  <a:lnTo>
                    <a:pt x="81407" y="372325"/>
                  </a:lnTo>
                  <a:lnTo>
                    <a:pt x="81407" y="320078"/>
                  </a:lnTo>
                  <a:lnTo>
                    <a:pt x="234073" y="320078"/>
                  </a:lnTo>
                  <a:lnTo>
                    <a:pt x="234073" y="309600"/>
                  </a:lnTo>
                  <a:lnTo>
                    <a:pt x="81407" y="309600"/>
                  </a:lnTo>
                  <a:lnTo>
                    <a:pt x="81407" y="257340"/>
                  </a:lnTo>
                  <a:lnTo>
                    <a:pt x="397598" y="257340"/>
                  </a:lnTo>
                  <a:lnTo>
                    <a:pt x="397598" y="230009"/>
                  </a:lnTo>
                  <a:close/>
                </a:path>
                <a:path w="444500" h="489585">
                  <a:moveTo>
                    <a:pt x="397598" y="257340"/>
                  </a:moveTo>
                  <a:lnTo>
                    <a:pt x="346557" y="257340"/>
                  </a:lnTo>
                  <a:lnTo>
                    <a:pt x="346557" y="489076"/>
                  </a:lnTo>
                  <a:lnTo>
                    <a:pt x="394081" y="489076"/>
                  </a:lnTo>
                  <a:lnTo>
                    <a:pt x="397598" y="485571"/>
                  </a:lnTo>
                  <a:lnTo>
                    <a:pt x="397598" y="257340"/>
                  </a:lnTo>
                  <a:close/>
                </a:path>
                <a:path w="444500" h="489585">
                  <a:moveTo>
                    <a:pt x="142900" y="320078"/>
                  </a:moveTo>
                  <a:lnTo>
                    <a:pt x="132410" y="320078"/>
                  </a:lnTo>
                  <a:lnTo>
                    <a:pt x="132410" y="372325"/>
                  </a:lnTo>
                  <a:lnTo>
                    <a:pt x="142900" y="372325"/>
                  </a:lnTo>
                  <a:lnTo>
                    <a:pt x="142900" y="320078"/>
                  </a:lnTo>
                  <a:close/>
                </a:path>
                <a:path w="444500" h="489585">
                  <a:moveTo>
                    <a:pt x="234073" y="320078"/>
                  </a:moveTo>
                  <a:lnTo>
                    <a:pt x="193916" y="320078"/>
                  </a:lnTo>
                  <a:lnTo>
                    <a:pt x="193916" y="372325"/>
                  </a:lnTo>
                  <a:lnTo>
                    <a:pt x="234073" y="372325"/>
                  </a:lnTo>
                  <a:lnTo>
                    <a:pt x="234073" y="320078"/>
                  </a:lnTo>
                  <a:close/>
                </a:path>
                <a:path w="444500" h="489585">
                  <a:moveTo>
                    <a:pt x="142900" y="257340"/>
                  </a:moveTo>
                  <a:lnTo>
                    <a:pt x="132410" y="257340"/>
                  </a:lnTo>
                  <a:lnTo>
                    <a:pt x="132410" y="309600"/>
                  </a:lnTo>
                  <a:lnTo>
                    <a:pt x="142900" y="309600"/>
                  </a:lnTo>
                  <a:lnTo>
                    <a:pt x="142900" y="257340"/>
                  </a:lnTo>
                  <a:close/>
                </a:path>
                <a:path w="444500" h="489585">
                  <a:moveTo>
                    <a:pt x="234073" y="257340"/>
                  </a:moveTo>
                  <a:lnTo>
                    <a:pt x="193916" y="257340"/>
                  </a:lnTo>
                  <a:lnTo>
                    <a:pt x="193916" y="309600"/>
                  </a:lnTo>
                  <a:lnTo>
                    <a:pt x="234073" y="309600"/>
                  </a:lnTo>
                  <a:lnTo>
                    <a:pt x="234073" y="257340"/>
                  </a:lnTo>
                  <a:close/>
                </a:path>
                <a:path w="444500" h="489585">
                  <a:moveTo>
                    <a:pt x="224497" y="0"/>
                  </a:moveTo>
                  <a:lnTo>
                    <a:pt x="219532" y="0"/>
                  </a:lnTo>
                  <a:lnTo>
                    <a:pt x="673" y="218846"/>
                  </a:lnTo>
                  <a:lnTo>
                    <a:pt x="0" y="222224"/>
                  </a:lnTo>
                  <a:lnTo>
                    <a:pt x="2438" y="228104"/>
                  </a:lnTo>
                  <a:lnTo>
                    <a:pt x="5308" y="230009"/>
                  </a:lnTo>
                  <a:lnTo>
                    <a:pt x="438734" y="230009"/>
                  </a:lnTo>
                  <a:lnTo>
                    <a:pt x="441591" y="228104"/>
                  </a:lnTo>
                  <a:lnTo>
                    <a:pt x="444030" y="222224"/>
                  </a:lnTo>
                  <a:lnTo>
                    <a:pt x="443344" y="218846"/>
                  </a:lnTo>
                  <a:lnTo>
                    <a:pt x="387286" y="162788"/>
                  </a:lnTo>
                  <a:lnTo>
                    <a:pt x="387286" y="84950"/>
                  </a:lnTo>
                  <a:lnTo>
                    <a:pt x="309460" y="84950"/>
                  </a:lnTo>
                  <a:lnTo>
                    <a:pt x="224497" y="0"/>
                  </a:lnTo>
                  <a:close/>
                </a:path>
                <a:path w="444500" h="489585">
                  <a:moveTo>
                    <a:pt x="383768" y="62674"/>
                  </a:moveTo>
                  <a:lnTo>
                    <a:pt x="312978" y="62674"/>
                  </a:lnTo>
                  <a:lnTo>
                    <a:pt x="309460" y="66192"/>
                  </a:lnTo>
                  <a:lnTo>
                    <a:pt x="309460" y="84950"/>
                  </a:lnTo>
                  <a:lnTo>
                    <a:pt x="387286" y="84950"/>
                  </a:lnTo>
                  <a:lnTo>
                    <a:pt x="387286" y="66192"/>
                  </a:lnTo>
                  <a:lnTo>
                    <a:pt x="383768" y="62674"/>
                  </a:lnTo>
                  <a:close/>
                </a:path>
              </a:pathLst>
            </a:custGeom>
            <a:grpFill/>
          </p:spPr>
          <p:txBody>
            <a:bodyPr wrap="square" lIns="0" tIns="0" rIns="0" bIns="0" rtlCol="0"/>
            <a:lstStyle/>
            <a:p>
              <a:pPr marL="0" marR="0" lvl="0" indent="0" algn="l" defTabSz="91343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51" name="object 23">
              <a:extLst>
                <a:ext uri="{FF2B5EF4-FFF2-40B4-BE49-F238E27FC236}">
                  <a16:creationId xmlns:a16="http://schemas.microsoft.com/office/drawing/2014/main" id="{E839FA2A-2D4D-1444-A6E5-4CB53C5E3154}"/>
                </a:ext>
              </a:extLst>
            </p:cNvPr>
            <p:cNvSpPr/>
            <p:nvPr/>
          </p:nvSpPr>
          <p:spPr>
            <a:xfrm>
              <a:off x="6344572" y="3956612"/>
              <a:ext cx="92075" cy="221615"/>
            </a:xfrm>
            <a:custGeom>
              <a:avLst/>
              <a:gdLst/>
              <a:ahLst/>
              <a:cxnLst/>
              <a:rect l="l" t="t" r="r" b="b"/>
              <a:pathLst>
                <a:path w="92075" h="221614">
                  <a:moveTo>
                    <a:pt x="91528" y="0"/>
                  </a:moveTo>
                  <a:lnTo>
                    <a:pt x="0" y="0"/>
                  </a:lnTo>
                  <a:lnTo>
                    <a:pt x="0" y="221246"/>
                  </a:lnTo>
                  <a:lnTo>
                    <a:pt x="91528" y="221246"/>
                  </a:lnTo>
                  <a:lnTo>
                    <a:pt x="91528" y="126898"/>
                  </a:lnTo>
                  <a:lnTo>
                    <a:pt x="15506" y="126898"/>
                  </a:lnTo>
                  <a:lnTo>
                    <a:pt x="11468" y="122897"/>
                  </a:lnTo>
                  <a:lnTo>
                    <a:pt x="11468" y="112991"/>
                  </a:lnTo>
                  <a:lnTo>
                    <a:pt x="15506" y="108978"/>
                  </a:lnTo>
                  <a:lnTo>
                    <a:pt x="91528" y="108978"/>
                  </a:lnTo>
                  <a:lnTo>
                    <a:pt x="91528" y="0"/>
                  </a:lnTo>
                  <a:close/>
                </a:path>
                <a:path w="92075" h="221614">
                  <a:moveTo>
                    <a:pt x="91528" y="108978"/>
                  </a:moveTo>
                  <a:lnTo>
                    <a:pt x="25387" y="108978"/>
                  </a:lnTo>
                  <a:lnTo>
                    <a:pt x="29425" y="112991"/>
                  </a:lnTo>
                  <a:lnTo>
                    <a:pt x="29425" y="122897"/>
                  </a:lnTo>
                  <a:lnTo>
                    <a:pt x="25387" y="126898"/>
                  </a:lnTo>
                  <a:lnTo>
                    <a:pt x="91528" y="126898"/>
                  </a:lnTo>
                  <a:lnTo>
                    <a:pt x="91528" y="108978"/>
                  </a:lnTo>
                  <a:close/>
                </a:path>
              </a:pathLst>
            </a:custGeom>
            <a:grpFill/>
          </p:spPr>
          <p:txBody>
            <a:bodyPr wrap="square" lIns="0" tIns="0" rIns="0" bIns="0" rtlCol="0"/>
            <a:lstStyle/>
            <a:p>
              <a:pPr marL="0" marR="0" lvl="0" indent="0" algn="l" defTabSz="91343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0"/>
                <a:cs typeface="+mn-cs"/>
              </a:endParaRPr>
            </a:p>
          </p:txBody>
        </p:sp>
      </p:grpSp>
      <p:grpSp>
        <p:nvGrpSpPr>
          <p:cNvPr id="30" name="Group 29">
            <a:extLst>
              <a:ext uri="{FF2B5EF4-FFF2-40B4-BE49-F238E27FC236}">
                <a16:creationId xmlns:a16="http://schemas.microsoft.com/office/drawing/2014/main" id="{A606974C-C9A2-4D4C-93BA-7FACC0137EBD}"/>
              </a:ext>
            </a:extLst>
          </p:cNvPr>
          <p:cNvGrpSpPr/>
          <p:nvPr/>
        </p:nvGrpSpPr>
        <p:grpSpPr>
          <a:xfrm>
            <a:off x="567938" y="4022013"/>
            <a:ext cx="189662" cy="295226"/>
            <a:chOff x="6171170" y="4531547"/>
            <a:chExt cx="302260" cy="433070"/>
          </a:xfrm>
          <a:solidFill>
            <a:srgbClr val="3369FF"/>
          </a:solidFill>
        </p:grpSpPr>
        <p:sp>
          <p:nvSpPr>
            <p:cNvPr id="40" name="object 24">
              <a:extLst>
                <a:ext uri="{FF2B5EF4-FFF2-40B4-BE49-F238E27FC236}">
                  <a16:creationId xmlns:a16="http://schemas.microsoft.com/office/drawing/2014/main" id="{D434138D-3758-9541-83F9-B90076444F4B}"/>
                </a:ext>
              </a:extLst>
            </p:cNvPr>
            <p:cNvSpPr/>
            <p:nvPr/>
          </p:nvSpPr>
          <p:spPr>
            <a:xfrm>
              <a:off x="6171170" y="4531547"/>
              <a:ext cx="302260" cy="433070"/>
            </a:xfrm>
            <a:custGeom>
              <a:avLst/>
              <a:gdLst/>
              <a:ahLst/>
              <a:cxnLst/>
              <a:rect l="l" t="t" r="r" b="b"/>
              <a:pathLst>
                <a:path w="302260" h="433070">
                  <a:moveTo>
                    <a:pt x="181356" y="0"/>
                  </a:moveTo>
                  <a:lnTo>
                    <a:pt x="120370" y="0"/>
                  </a:lnTo>
                  <a:lnTo>
                    <a:pt x="116573" y="3784"/>
                  </a:lnTo>
                  <a:lnTo>
                    <a:pt x="116573" y="33870"/>
                  </a:lnTo>
                  <a:lnTo>
                    <a:pt x="108063" y="37628"/>
                  </a:lnTo>
                  <a:lnTo>
                    <a:pt x="68502" y="70975"/>
                  </a:lnTo>
                  <a:lnTo>
                    <a:pt x="38558" y="107401"/>
                  </a:lnTo>
                  <a:lnTo>
                    <a:pt x="14299" y="145243"/>
                  </a:lnTo>
                  <a:lnTo>
                    <a:pt x="1" y="184877"/>
                  </a:lnTo>
                  <a:lnTo>
                    <a:pt x="0" y="365201"/>
                  </a:lnTo>
                  <a:lnTo>
                    <a:pt x="1541" y="379651"/>
                  </a:lnTo>
                  <a:lnTo>
                    <a:pt x="22077" y="415297"/>
                  </a:lnTo>
                  <a:lnTo>
                    <a:pt x="59700" y="432573"/>
                  </a:lnTo>
                  <a:lnTo>
                    <a:pt x="233883" y="433057"/>
                  </a:lnTo>
                  <a:lnTo>
                    <a:pt x="248335" y="431514"/>
                  </a:lnTo>
                  <a:lnTo>
                    <a:pt x="283980" y="410966"/>
                  </a:lnTo>
                  <a:lnTo>
                    <a:pt x="301254" y="373349"/>
                  </a:lnTo>
                  <a:lnTo>
                    <a:pt x="301739" y="185140"/>
                  </a:lnTo>
                  <a:lnTo>
                    <a:pt x="301104" y="177165"/>
                  </a:lnTo>
                  <a:lnTo>
                    <a:pt x="299209" y="167231"/>
                  </a:lnTo>
                  <a:lnTo>
                    <a:pt x="296704" y="158096"/>
                  </a:lnTo>
                  <a:lnTo>
                    <a:pt x="267028" y="158096"/>
                  </a:lnTo>
                  <a:lnTo>
                    <a:pt x="255182" y="156923"/>
                  </a:lnTo>
                  <a:lnTo>
                    <a:pt x="219302" y="139714"/>
                  </a:lnTo>
                  <a:lnTo>
                    <a:pt x="199141" y="102141"/>
                  </a:lnTo>
                  <a:lnTo>
                    <a:pt x="192090" y="68169"/>
                  </a:lnTo>
                  <a:lnTo>
                    <a:pt x="240809" y="68169"/>
                  </a:lnTo>
                  <a:lnTo>
                    <a:pt x="234548" y="62448"/>
                  </a:lnTo>
                  <a:lnTo>
                    <a:pt x="223709" y="53819"/>
                  </a:lnTo>
                  <a:lnTo>
                    <a:pt x="213014" y="46472"/>
                  </a:lnTo>
                  <a:lnTo>
                    <a:pt x="202739" y="40538"/>
                  </a:lnTo>
                  <a:lnTo>
                    <a:pt x="193163" y="36147"/>
                  </a:lnTo>
                  <a:lnTo>
                    <a:pt x="185140" y="8470"/>
                  </a:lnTo>
                  <a:lnTo>
                    <a:pt x="185140" y="3784"/>
                  </a:lnTo>
                  <a:lnTo>
                    <a:pt x="181356" y="0"/>
                  </a:lnTo>
                  <a:close/>
                </a:path>
                <a:path w="302260" h="433070">
                  <a:moveTo>
                    <a:pt x="240809" y="68169"/>
                  </a:moveTo>
                  <a:lnTo>
                    <a:pt x="192090" y="68169"/>
                  </a:lnTo>
                  <a:lnTo>
                    <a:pt x="200598" y="72818"/>
                  </a:lnTo>
                  <a:lnTo>
                    <a:pt x="210078" y="79287"/>
                  </a:lnTo>
                  <a:lnTo>
                    <a:pt x="240187" y="108638"/>
                  </a:lnTo>
                  <a:lnTo>
                    <a:pt x="262730" y="147048"/>
                  </a:lnTo>
                  <a:lnTo>
                    <a:pt x="267028" y="158096"/>
                  </a:lnTo>
                  <a:lnTo>
                    <a:pt x="296704" y="158096"/>
                  </a:lnTo>
                  <a:lnTo>
                    <a:pt x="279277" y="116587"/>
                  </a:lnTo>
                  <a:lnTo>
                    <a:pt x="255540" y="83027"/>
                  </a:lnTo>
                  <a:lnTo>
                    <a:pt x="245250" y="72227"/>
                  </a:lnTo>
                  <a:lnTo>
                    <a:pt x="240809" y="68169"/>
                  </a:lnTo>
                  <a:close/>
                </a:path>
              </a:pathLst>
            </a:custGeom>
            <a:grpFill/>
          </p:spPr>
          <p:txBody>
            <a:bodyPr wrap="square" lIns="0" tIns="0" rIns="0" bIns="0" rtlCol="0"/>
            <a:lstStyle/>
            <a:p>
              <a:pPr marL="0" marR="0" lvl="0" indent="0" algn="l" defTabSz="91343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41" name="object 25">
              <a:extLst>
                <a:ext uri="{FF2B5EF4-FFF2-40B4-BE49-F238E27FC236}">
                  <a16:creationId xmlns:a16="http://schemas.microsoft.com/office/drawing/2014/main" id="{916B9AC6-B392-3645-9B21-54117D20CE43}"/>
                </a:ext>
              </a:extLst>
            </p:cNvPr>
            <p:cNvSpPr/>
            <p:nvPr/>
          </p:nvSpPr>
          <p:spPr>
            <a:xfrm>
              <a:off x="6226026" y="4802518"/>
              <a:ext cx="65405" cy="59690"/>
            </a:xfrm>
            <a:custGeom>
              <a:avLst/>
              <a:gdLst/>
              <a:ahLst/>
              <a:cxnLst/>
              <a:rect l="l" t="t" r="r" b="b"/>
              <a:pathLst>
                <a:path w="65404" h="59689">
                  <a:moveTo>
                    <a:pt x="21793" y="0"/>
                  </a:moveTo>
                  <a:lnTo>
                    <a:pt x="0" y="0"/>
                  </a:lnTo>
                  <a:lnTo>
                    <a:pt x="0" y="59550"/>
                  </a:lnTo>
                  <a:lnTo>
                    <a:pt x="11734" y="59550"/>
                  </a:lnTo>
                  <a:lnTo>
                    <a:pt x="11734" y="10998"/>
                  </a:lnTo>
                  <a:lnTo>
                    <a:pt x="25011" y="10998"/>
                  </a:lnTo>
                  <a:lnTo>
                    <a:pt x="21793" y="0"/>
                  </a:lnTo>
                  <a:close/>
                </a:path>
                <a:path w="65404" h="59689">
                  <a:moveTo>
                    <a:pt x="25011" y="10998"/>
                  </a:moveTo>
                  <a:lnTo>
                    <a:pt x="11912" y="10998"/>
                  </a:lnTo>
                  <a:lnTo>
                    <a:pt x="26403" y="59550"/>
                  </a:lnTo>
                  <a:lnTo>
                    <a:pt x="35953" y="59550"/>
                  </a:lnTo>
                  <a:lnTo>
                    <a:pt x="43217" y="35674"/>
                  </a:lnTo>
                  <a:lnTo>
                    <a:pt x="32232" y="35674"/>
                  </a:lnTo>
                  <a:lnTo>
                    <a:pt x="25011" y="10998"/>
                  </a:lnTo>
                  <a:close/>
                </a:path>
                <a:path w="65404" h="59689">
                  <a:moveTo>
                    <a:pt x="64960" y="10998"/>
                  </a:moveTo>
                  <a:lnTo>
                    <a:pt x="51066" y="10998"/>
                  </a:lnTo>
                  <a:lnTo>
                    <a:pt x="51066" y="59550"/>
                  </a:lnTo>
                  <a:lnTo>
                    <a:pt x="64960" y="59550"/>
                  </a:lnTo>
                  <a:lnTo>
                    <a:pt x="64960" y="10998"/>
                  </a:lnTo>
                  <a:close/>
                </a:path>
                <a:path w="65404" h="59689">
                  <a:moveTo>
                    <a:pt x="64960" y="0"/>
                  </a:moveTo>
                  <a:lnTo>
                    <a:pt x="43167" y="0"/>
                  </a:lnTo>
                  <a:lnTo>
                    <a:pt x="32232" y="35674"/>
                  </a:lnTo>
                  <a:lnTo>
                    <a:pt x="43217" y="35674"/>
                  </a:lnTo>
                  <a:lnTo>
                    <a:pt x="50723" y="10998"/>
                  </a:lnTo>
                  <a:lnTo>
                    <a:pt x="64960" y="10998"/>
                  </a:lnTo>
                  <a:lnTo>
                    <a:pt x="64960" y="0"/>
                  </a:lnTo>
                  <a:close/>
                </a:path>
              </a:pathLst>
            </a:custGeom>
            <a:grpFill/>
          </p:spPr>
          <p:txBody>
            <a:bodyPr wrap="square" lIns="0" tIns="0" rIns="0" bIns="0" rtlCol="0"/>
            <a:lstStyle/>
            <a:p>
              <a:pPr marL="0" marR="0" lvl="0" indent="0" algn="l" defTabSz="91343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42" name="object 26">
              <a:extLst>
                <a:ext uri="{FF2B5EF4-FFF2-40B4-BE49-F238E27FC236}">
                  <a16:creationId xmlns:a16="http://schemas.microsoft.com/office/drawing/2014/main" id="{1E45DB1E-7389-DE4D-B658-BA28F3C31430}"/>
                </a:ext>
              </a:extLst>
            </p:cNvPr>
            <p:cNvSpPr/>
            <p:nvPr/>
          </p:nvSpPr>
          <p:spPr>
            <a:xfrm>
              <a:off x="6309537" y="4802517"/>
              <a:ext cx="0" cy="59690"/>
            </a:xfrm>
            <a:custGeom>
              <a:avLst/>
              <a:gdLst/>
              <a:ahLst/>
              <a:cxnLst/>
              <a:rect l="l" t="t" r="r" b="b"/>
              <a:pathLst>
                <a:path h="59689">
                  <a:moveTo>
                    <a:pt x="0" y="0"/>
                  </a:moveTo>
                  <a:lnTo>
                    <a:pt x="0" y="59550"/>
                  </a:lnTo>
                </a:path>
              </a:pathLst>
            </a:custGeom>
            <a:grpFill/>
            <a:ln w="13868">
              <a:solidFill>
                <a:srgbClr val="FFFFFF"/>
              </a:solidFill>
            </a:ln>
          </p:spPr>
          <p:txBody>
            <a:bodyPr wrap="square" lIns="0" tIns="0" rIns="0" bIns="0" rtlCol="0"/>
            <a:lstStyle/>
            <a:p>
              <a:pPr marL="0" marR="0" lvl="0" indent="0" algn="l" defTabSz="91343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43" name="object 27">
              <a:extLst>
                <a:ext uri="{FF2B5EF4-FFF2-40B4-BE49-F238E27FC236}">
                  <a16:creationId xmlns:a16="http://schemas.microsoft.com/office/drawing/2014/main" id="{1021DBAF-78BE-7041-B5CF-7320370F08E2}"/>
                </a:ext>
              </a:extLst>
            </p:cNvPr>
            <p:cNvSpPr/>
            <p:nvPr/>
          </p:nvSpPr>
          <p:spPr>
            <a:xfrm>
              <a:off x="6328027" y="4802507"/>
              <a:ext cx="38100" cy="59690"/>
            </a:xfrm>
            <a:custGeom>
              <a:avLst/>
              <a:gdLst/>
              <a:ahLst/>
              <a:cxnLst/>
              <a:rect l="l" t="t" r="r" b="b"/>
              <a:pathLst>
                <a:path w="38100" h="59689">
                  <a:moveTo>
                    <a:pt x="13881" y="0"/>
                  </a:moveTo>
                  <a:lnTo>
                    <a:pt x="0" y="0"/>
                  </a:lnTo>
                  <a:lnTo>
                    <a:pt x="0" y="59562"/>
                  </a:lnTo>
                  <a:lnTo>
                    <a:pt x="37833" y="59562"/>
                  </a:lnTo>
                  <a:lnTo>
                    <a:pt x="37833" y="47751"/>
                  </a:lnTo>
                  <a:lnTo>
                    <a:pt x="13881" y="47751"/>
                  </a:lnTo>
                  <a:lnTo>
                    <a:pt x="13881" y="0"/>
                  </a:lnTo>
                  <a:close/>
                </a:path>
              </a:pathLst>
            </a:custGeom>
            <a:grpFill/>
          </p:spPr>
          <p:txBody>
            <a:bodyPr wrap="square" lIns="0" tIns="0" rIns="0" bIns="0" rtlCol="0"/>
            <a:lstStyle/>
            <a:p>
              <a:pPr marL="0" marR="0" lvl="0" indent="0" algn="l" defTabSz="91343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44" name="object 28">
              <a:extLst>
                <a:ext uri="{FF2B5EF4-FFF2-40B4-BE49-F238E27FC236}">
                  <a16:creationId xmlns:a16="http://schemas.microsoft.com/office/drawing/2014/main" id="{C8FB2FAF-84E1-CD48-971E-3ECD7F82F7E0}"/>
                </a:ext>
              </a:extLst>
            </p:cNvPr>
            <p:cNvSpPr/>
            <p:nvPr/>
          </p:nvSpPr>
          <p:spPr>
            <a:xfrm>
              <a:off x="6372040" y="4802512"/>
              <a:ext cx="49530" cy="59690"/>
            </a:xfrm>
            <a:custGeom>
              <a:avLst/>
              <a:gdLst/>
              <a:ahLst/>
              <a:cxnLst/>
              <a:rect l="l" t="t" r="r" b="b"/>
              <a:pathLst>
                <a:path w="49529" h="59689">
                  <a:moveTo>
                    <a:pt x="13538" y="0"/>
                  </a:moveTo>
                  <a:lnTo>
                    <a:pt x="0" y="0"/>
                  </a:lnTo>
                  <a:lnTo>
                    <a:pt x="0" y="59550"/>
                  </a:lnTo>
                  <a:lnTo>
                    <a:pt x="13538" y="59550"/>
                  </a:lnTo>
                  <a:lnTo>
                    <a:pt x="13538" y="45821"/>
                  </a:lnTo>
                  <a:lnTo>
                    <a:pt x="21958" y="33756"/>
                  </a:lnTo>
                  <a:lnTo>
                    <a:pt x="37086" y="33756"/>
                  </a:lnTo>
                  <a:lnTo>
                    <a:pt x="34416" y="28041"/>
                  </a:lnTo>
                  <a:lnTo>
                    <a:pt x="13538" y="28041"/>
                  </a:lnTo>
                  <a:lnTo>
                    <a:pt x="13538" y="0"/>
                  </a:lnTo>
                  <a:close/>
                </a:path>
                <a:path w="49529" h="59689">
                  <a:moveTo>
                    <a:pt x="37086" y="33756"/>
                  </a:moveTo>
                  <a:lnTo>
                    <a:pt x="21958" y="33756"/>
                  </a:lnTo>
                  <a:lnTo>
                    <a:pt x="33743" y="59550"/>
                  </a:lnTo>
                  <a:lnTo>
                    <a:pt x="49136" y="59550"/>
                  </a:lnTo>
                  <a:lnTo>
                    <a:pt x="37086" y="33756"/>
                  </a:lnTo>
                  <a:close/>
                </a:path>
                <a:path w="49529" h="59689">
                  <a:moveTo>
                    <a:pt x="45554" y="0"/>
                  </a:moveTo>
                  <a:lnTo>
                    <a:pt x="32169" y="0"/>
                  </a:lnTo>
                  <a:lnTo>
                    <a:pt x="13538" y="28041"/>
                  </a:lnTo>
                  <a:lnTo>
                    <a:pt x="34416" y="28041"/>
                  </a:lnTo>
                  <a:lnTo>
                    <a:pt x="31254" y="21272"/>
                  </a:lnTo>
                  <a:lnTo>
                    <a:pt x="45554" y="0"/>
                  </a:lnTo>
                  <a:close/>
                </a:path>
              </a:pathLst>
            </a:custGeom>
            <a:grpFill/>
          </p:spPr>
          <p:txBody>
            <a:bodyPr wrap="square" lIns="0" tIns="0" rIns="0" bIns="0" rtlCol="0"/>
            <a:lstStyle/>
            <a:p>
              <a:pPr marL="0" marR="0" lvl="0" indent="0" algn="l" defTabSz="91343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46" name="object 29">
              <a:extLst>
                <a:ext uri="{FF2B5EF4-FFF2-40B4-BE49-F238E27FC236}">
                  <a16:creationId xmlns:a16="http://schemas.microsoft.com/office/drawing/2014/main" id="{FE410CEC-2E17-6245-B6BB-A0A874AD880C}"/>
                </a:ext>
              </a:extLst>
            </p:cNvPr>
            <p:cNvSpPr/>
            <p:nvPr/>
          </p:nvSpPr>
          <p:spPr>
            <a:xfrm>
              <a:off x="6202946" y="4883150"/>
              <a:ext cx="238125" cy="0"/>
            </a:xfrm>
            <a:custGeom>
              <a:avLst/>
              <a:gdLst/>
              <a:ahLst/>
              <a:cxnLst/>
              <a:rect l="l" t="t" r="r" b="b"/>
              <a:pathLst>
                <a:path w="238125">
                  <a:moveTo>
                    <a:pt x="0" y="0"/>
                  </a:moveTo>
                  <a:lnTo>
                    <a:pt x="238137" y="0"/>
                  </a:lnTo>
                </a:path>
              </a:pathLst>
            </a:custGeom>
            <a:grpFill/>
            <a:ln w="7619">
              <a:solidFill>
                <a:srgbClr val="FFFFFF"/>
              </a:solidFill>
            </a:ln>
          </p:spPr>
          <p:txBody>
            <a:bodyPr wrap="square" lIns="0" tIns="0" rIns="0" bIns="0" rtlCol="0"/>
            <a:lstStyle/>
            <a:p>
              <a:pPr marL="0" marR="0" lvl="0" indent="0" algn="l" defTabSz="91343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47" name="object 30">
              <a:extLst>
                <a:ext uri="{FF2B5EF4-FFF2-40B4-BE49-F238E27FC236}">
                  <a16:creationId xmlns:a16="http://schemas.microsoft.com/office/drawing/2014/main" id="{BE6DAB93-E23F-3047-A1C6-EF1CCA65D177}"/>
                </a:ext>
              </a:extLst>
            </p:cNvPr>
            <p:cNvSpPr/>
            <p:nvPr/>
          </p:nvSpPr>
          <p:spPr>
            <a:xfrm>
              <a:off x="6206693" y="4785359"/>
              <a:ext cx="0" cy="93980"/>
            </a:xfrm>
            <a:custGeom>
              <a:avLst/>
              <a:gdLst/>
              <a:ahLst/>
              <a:cxnLst/>
              <a:rect l="l" t="t" r="r" b="b"/>
              <a:pathLst>
                <a:path h="93979">
                  <a:moveTo>
                    <a:pt x="0" y="0"/>
                  </a:moveTo>
                  <a:lnTo>
                    <a:pt x="0" y="93980"/>
                  </a:lnTo>
                </a:path>
              </a:pathLst>
            </a:custGeom>
            <a:grpFill/>
            <a:ln w="7492">
              <a:solidFill>
                <a:srgbClr val="FFFFFF"/>
              </a:solidFill>
            </a:ln>
          </p:spPr>
          <p:txBody>
            <a:bodyPr wrap="square" lIns="0" tIns="0" rIns="0" bIns="0" rtlCol="0"/>
            <a:lstStyle/>
            <a:p>
              <a:pPr marL="0" marR="0" lvl="0" indent="0" algn="l" defTabSz="91343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48" name="object 31">
              <a:extLst>
                <a:ext uri="{FF2B5EF4-FFF2-40B4-BE49-F238E27FC236}">
                  <a16:creationId xmlns:a16="http://schemas.microsoft.com/office/drawing/2014/main" id="{6B6D5699-DCCE-3642-9B46-37B8BEDF5117}"/>
                </a:ext>
              </a:extLst>
            </p:cNvPr>
            <p:cNvSpPr/>
            <p:nvPr/>
          </p:nvSpPr>
          <p:spPr>
            <a:xfrm>
              <a:off x="6202946" y="4781550"/>
              <a:ext cx="238125" cy="0"/>
            </a:xfrm>
            <a:custGeom>
              <a:avLst/>
              <a:gdLst/>
              <a:ahLst/>
              <a:cxnLst/>
              <a:rect l="l" t="t" r="r" b="b"/>
              <a:pathLst>
                <a:path w="238125">
                  <a:moveTo>
                    <a:pt x="0" y="0"/>
                  </a:moveTo>
                  <a:lnTo>
                    <a:pt x="238137" y="0"/>
                  </a:lnTo>
                </a:path>
              </a:pathLst>
            </a:custGeom>
            <a:grpFill/>
            <a:ln w="7619">
              <a:solidFill>
                <a:srgbClr val="FFFFFF"/>
              </a:solidFill>
            </a:ln>
          </p:spPr>
          <p:txBody>
            <a:bodyPr wrap="square" lIns="0" tIns="0" rIns="0" bIns="0" rtlCol="0"/>
            <a:lstStyle/>
            <a:p>
              <a:pPr marL="0" marR="0" lvl="0" indent="0" algn="l" defTabSz="91343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49" name="object 32">
              <a:extLst>
                <a:ext uri="{FF2B5EF4-FFF2-40B4-BE49-F238E27FC236}">
                  <a16:creationId xmlns:a16="http://schemas.microsoft.com/office/drawing/2014/main" id="{5BB16016-FFCD-9043-8820-F11954A5E92D}"/>
                </a:ext>
              </a:extLst>
            </p:cNvPr>
            <p:cNvSpPr/>
            <p:nvPr/>
          </p:nvSpPr>
          <p:spPr>
            <a:xfrm>
              <a:off x="6437344" y="4785537"/>
              <a:ext cx="0" cy="94615"/>
            </a:xfrm>
            <a:custGeom>
              <a:avLst/>
              <a:gdLst/>
              <a:ahLst/>
              <a:cxnLst/>
              <a:rect l="l" t="t" r="r" b="b"/>
              <a:pathLst>
                <a:path h="94614">
                  <a:moveTo>
                    <a:pt x="0" y="0"/>
                  </a:moveTo>
                  <a:lnTo>
                    <a:pt x="0" y="94310"/>
                  </a:lnTo>
                </a:path>
              </a:pathLst>
            </a:custGeom>
            <a:grpFill/>
            <a:ln w="7480">
              <a:solidFill>
                <a:srgbClr val="FFFFFF"/>
              </a:solidFill>
            </a:ln>
          </p:spPr>
          <p:txBody>
            <a:bodyPr wrap="square" lIns="0" tIns="0" rIns="0" bIns="0" rtlCol="0"/>
            <a:lstStyle/>
            <a:p>
              <a:pPr marL="0" marR="0" lvl="0" indent="0" algn="l" defTabSz="91343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0"/>
                <a:cs typeface="+mn-cs"/>
              </a:endParaRPr>
            </a:p>
          </p:txBody>
        </p:sp>
      </p:grpSp>
      <p:grpSp>
        <p:nvGrpSpPr>
          <p:cNvPr id="31" name="Group 30">
            <a:extLst>
              <a:ext uri="{FF2B5EF4-FFF2-40B4-BE49-F238E27FC236}">
                <a16:creationId xmlns:a16="http://schemas.microsoft.com/office/drawing/2014/main" id="{2D06F287-AD33-3A42-8C88-1F870473F5A4}"/>
              </a:ext>
            </a:extLst>
          </p:cNvPr>
          <p:cNvGrpSpPr/>
          <p:nvPr/>
        </p:nvGrpSpPr>
        <p:grpSpPr>
          <a:xfrm>
            <a:off x="577066" y="3329982"/>
            <a:ext cx="226201" cy="264133"/>
            <a:chOff x="6205260" y="5454516"/>
            <a:chExt cx="278807" cy="324485"/>
          </a:xfrm>
          <a:solidFill>
            <a:srgbClr val="002577"/>
          </a:solidFill>
        </p:grpSpPr>
        <p:sp>
          <p:nvSpPr>
            <p:cNvPr id="34" name="object 33">
              <a:extLst>
                <a:ext uri="{FF2B5EF4-FFF2-40B4-BE49-F238E27FC236}">
                  <a16:creationId xmlns:a16="http://schemas.microsoft.com/office/drawing/2014/main" id="{ED654C64-BB56-2A4A-B1DD-BD9B78916082}"/>
                </a:ext>
              </a:extLst>
            </p:cNvPr>
            <p:cNvSpPr/>
            <p:nvPr/>
          </p:nvSpPr>
          <p:spPr>
            <a:xfrm>
              <a:off x="6397707" y="5489631"/>
              <a:ext cx="86360" cy="264160"/>
            </a:xfrm>
            <a:custGeom>
              <a:avLst/>
              <a:gdLst/>
              <a:ahLst/>
              <a:cxnLst/>
              <a:rect l="l" t="t" r="r" b="b"/>
              <a:pathLst>
                <a:path w="86360" h="264160">
                  <a:moveTo>
                    <a:pt x="1091" y="163029"/>
                  </a:moveTo>
                  <a:lnTo>
                    <a:pt x="951" y="164757"/>
                  </a:lnTo>
                  <a:lnTo>
                    <a:pt x="901" y="166191"/>
                  </a:lnTo>
                  <a:lnTo>
                    <a:pt x="0" y="173149"/>
                  </a:lnTo>
                  <a:lnTo>
                    <a:pt x="5" y="173841"/>
                  </a:lnTo>
                  <a:lnTo>
                    <a:pt x="761" y="177761"/>
                  </a:lnTo>
                  <a:lnTo>
                    <a:pt x="17296" y="179971"/>
                  </a:lnTo>
                  <a:lnTo>
                    <a:pt x="19659" y="183769"/>
                  </a:lnTo>
                  <a:lnTo>
                    <a:pt x="19898" y="193440"/>
                  </a:lnTo>
                  <a:lnTo>
                    <a:pt x="19993" y="200495"/>
                  </a:lnTo>
                  <a:lnTo>
                    <a:pt x="20104" y="212692"/>
                  </a:lnTo>
                  <a:lnTo>
                    <a:pt x="20229" y="222700"/>
                  </a:lnTo>
                  <a:lnTo>
                    <a:pt x="43218" y="259949"/>
                  </a:lnTo>
                  <a:lnTo>
                    <a:pt x="60557" y="263861"/>
                  </a:lnTo>
                  <a:lnTo>
                    <a:pt x="72991" y="258994"/>
                  </a:lnTo>
                  <a:lnTo>
                    <a:pt x="82271" y="250127"/>
                  </a:lnTo>
                  <a:lnTo>
                    <a:pt x="82678" y="248975"/>
                  </a:lnTo>
                  <a:lnTo>
                    <a:pt x="49034" y="248975"/>
                  </a:lnTo>
                  <a:lnTo>
                    <a:pt x="39648" y="241820"/>
                  </a:lnTo>
                  <a:lnTo>
                    <a:pt x="33733" y="184235"/>
                  </a:lnTo>
                  <a:lnTo>
                    <a:pt x="27874" y="173149"/>
                  </a:lnTo>
                  <a:lnTo>
                    <a:pt x="16873" y="165805"/>
                  </a:lnTo>
                  <a:lnTo>
                    <a:pt x="1091" y="163029"/>
                  </a:lnTo>
                  <a:close/>
                </a:path>
                <a:path w="86360" h="264160">
                  <a:moveTo>
                    <a:pt x="1155" y="0"/>
                  </a:moveTo>
                  <a:lnTo>
                    <a:pt x="4615" y="18401"/>
                  </a:lnTo>
                  <a:lnTo>
                    <a:pt x="16352" y="22304"/>
                  </a:lnTo>
                  <a:lnTo>
                    <a:pt x="28708" y="26865"/>
                  </a:lnTo>
                  <a:lnTo>
                    <a:pt x="22485" y="38631"/>
                  </a:lnTo>
                  <a:lnTo>
                    <a:pt x="19758" y="50792"/>
                  </a:lnTo>
                  <a:lnTo>
                    <a:pt x="19326" y="63212"/>
                  </a:lnTo>
                  <a:lnTo>
                    <a:pt x="19989" y="75755"/>
                  </a:lnTo>
                  <a:lnTo>
                    <a:pt x="20106" y="77387"/>
                  </a:lnTo>
                  <a:lnTo>
                    <a:pt x="20116" y="79997"/>
                  </a:lnTo>
                  <a:lnTo>
                    <a:pt x="20745" y="88683"/>
                  </a:lnTo>
                  <a:lnTo>
                    <a:pt x="24305" y="99595"/>
                  </a:lnTo>
                  <a:lnTo>
                    <a:pt x="34721" y="112288"/>
                  </a:lnTo>
                  <a:lnTo>
                    <a:pt x="36650" y="125022"/>
                  </a:lnTo>
                  <a:lnTo>
                    <a:pt x="46446" y="161882"/>
                  </a:lnTo>
                  <a:lnTo>
                    <a:pt x="67398" y="215277"/>
                  </a:lnTo>
                  <a:lnTo>
                    <a:pt x="69709" y="221462"/>
                  </a:lnTo>
                  <a:lnTo>
                    <a:pt x="71507" y="227964"/>
                  </a:lnTo>
                  <a:lnTo>
                    <a:pt x="70655" y="240121"/>
                  </a:lnTo>
                  <a:lnTo>
                    <a:pt x="61464" y="248545"/>
                  </a:lnTo>
                  <a:lnTo>
                    <a:pt x="49034" y="248975"/>
                  </a:lnTo>
                  <a:lnTo>
                    <a:pt x="82678" y="248975"/>
                  </a:lnTo>
                  <a:lnTo>
                    <a:pt x="86345" y="238605"/>
                  </a:lnTo>
                  <a:lnTo>
                    <a:pt x="86121" y="229013"/>
                  </a:lnTo>
                  <a:lnTo>
                    <a:pt x="83609" y="217400"/>
                  </a:lnTo>
                  <a:lnTo>
                    <a:pt x="77634" y="201633"/>
                  </a:lnTo>
                  <a:lnTo>
                    <a:pt x="72905" y="190184"/>
                  </a:lnTo>
                  <a:lnTo>
                    <a:pt x="67637" y="177108"/>
                  </a:lnTo>
                  <a:lnTo>
                    <a:pt x="53396" y="131738"/>
                  </a:lnTo>
                  <a:lnTo>
                    <a:pt x="48588" y="92748"/>
                  </a:lnTo>
                  <a:lnTo>
                    <a:pt x="26948" y="92748"/>
                  </a:lnTo>
                  <a:lnTo>
                    <a:pt x="25856" y="89408"/>
                  </a:lnTo>
                  <a:lnTo>
                    <a:pt x="25141" y="82209"/>
                  </a:lnTo>
                  <a:lnTo>
                    <a:pt x="24063" y="69607"/>
                  </a:lnTo>
                  <a:lnTo>
                    <a:pt x="23037" y="56870"/>
                  </a:lnTo>
                  <a:lnTo>
                    <a:pt x="27774" y="55105"/>
                  </a:lnTo>
                  <a:lnTo>
                    <a:pt x="48986" y="55105"/>
                  </a:lnTo>
                  <a:lnTo>
                    <a:pt x="49058" y="50792"/>
                  </a:lnTo>
                  <a:lnTo>
                    <a:pt x="49189" y="39295"/>
                  </a:lnTo>
                  <a:lnTo>
                    <a:pt x="49199" y="22872"/>
                  </a:lnTo>
                  <a:lnTo>
                    <a:pt x="47230" y="16941"/>
                  </a:lnTo>
                  <a:lnTo>
                    <a:pt x="37172" y="12836"/>
                  </a:lnTo>
                  <a:lnTo>
                    <a:pt x="25400" y="8466"/>
                  </a:lnTo>
                  <a:lnTo>
                    <a:pt x="1155" y="0"/>
                  </a:lnTo>
                  <a:close/>
                </a:path>
                <a:path w="86360" h="264160">
                  <a:moveTo>
                    <a:pt x="48986" y="55105"/>
                  </a:moveTo>
                  <a:lnTo>
                    <a:pt x="27774" y="55105"/>
                  </a:lnTo>
                  <a:lnTo>
                    <a:pt x="30377" y="55359"/>
                  </a:lnTo>
                  <a:lnTo>
                    <a:pt x="31018" y="66855"/>
                  </a:lnTo>
                  <a:lnTo>
                    <a:pt x="32061" y="79997"/>
                  </a:lnTo>
                  <a:lnTo>
                    <a:pt x="33108" y="92252"/>
                  </a:lnTo>
                  <a:lnTo>
                    <a:pt x="26948" y="92748"/>
                  </a:lnTo>
                  <a:lnTo>
                    <a:pt x="48588" y="92748"/>
                  </a:lnTo>
                  <a:lnTo>
                    <a:pt x="48547" y="75755"/>
                  </a:lnTo>
                  <a:lnTo>
                    <a:pt x="48835" y="63212"/>
                  </a:lnTo>
                  <a:lnTo>
                    <a:pt x="48986" y="55105"/>
                  </a:lnTo>
                  <a:close/>
                </a:path>
              </a:pathLst>
            </a:custGeom>
            <a:grpFill/>
          </p:spPr>
          <p:txBody>
            <a:bodyPr wrap="square" lIns="0" tIns="0" rIns="0" bIns="0" rtlCol="0"/>
            <a:lstStyle/>
            <a:p>
              <a:pPr marL="0" marR="0" lvl="0" indent="0" algn="l" defTabSz="91343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35" name="object 34">
              <a:extLst>
                <a:ext uri="{FF2B5EF4-FFF2-40B4-BE49-F238E27FC236}">
                  <a16:creationId xmlns:a16="http://schemas.microsoft.com/office/drawing/2014/main" id="{8F9FBA52-E29B-0940-9A28-EF921EFAA38E}"/>
                </a:ext>
              </a:extLst>
            </p:cNvPr>
            <p:cNvSpPr/>
            <p:nvPr/>
          </p:nvSpPr>
          <p:spPr>
            <a:xfrm>
              <a:off x="6257618" y="5488989"/>
              <a:ext cx="115570" cy="66040"/>
            </a:xfrm>
            <a:custGeom>
              <a:avLst/>
              <a:gdLst/>
              <a:ahLst/>
              <a:cxnLst/>
              <a:rect l="l" t="t" r="r" b="b"/>
              <a:pathLst>
                <a:path w="115570" h="66039">
                  <a:moveTo>
                    <a:pt x="112712" y="0"/>
                  </a:moveTo>
                  <a:lnTo>
                    <a:pt x="1841" y="25"/>
                  </a:lnTo>
                  <a:lnTo>
                    <a:pt x="0" y="1765"/>
                  </a:lnTo>
                  <a:lnTo>
                    <a:pt x="211" y="19607"/>
                  </a:lnTo>
                  <a:lnTo>
                    <a:pt x="261" y="46143"/>
                  </a:lnTo>
                  <a:lnTo>
                    <a:pt x="25" y="64109"/>
                  </a:lnTo>
                  <a:lnTo>
                    <a:pt x="2019" y="65417"/>
                  </a:lnTo>
                  <a:lnTo>
                    <a:pt x="56966" y="65288"/>
                  </a:lnTo>
                  <a:lnTo>
                    <a:pt x="113066" y="65211"/>
                  </a:lnTo>
                  <a:lnTo>
                    <a:pt x="114998" y="63715"/>
                  </a:lnTo>
                  <a:lnTo>
                    <a:pt x="114821" y="19607"/>
                  </a:lnTo>
                  <a:lnTo>
                    <a:pt x="115023" y="1523"/>
                  </a:lnTo>
                  <a:lnTo>
                    <a:pt x="112712" y="0"/>
                  </a:lnTo>
                  <a:close/>
                </a:path>
                <a:path w="115570" h="66039">
                  <a:moveTo>
                    <a:pt x="113066" y="65211"/>
                  </a:moveTo>
                  <a:lnTo>
                    <a:pt x="95099" y="65211"/>
                  </a:lnTo>
                  <a:lnTo>
                    <a:pt x="112864" y="65366"/>
                  </a:lnTo>
                  <a:lnTo>
                    <a:pt x="113066" y="65211"/>
                  </a:lnTo>
                  <a:close/>
                </a:path>
                <a:path w="115570" h="66039">
                  <a:moveTo>
                    <a:pt x="56966" y="65288"/>
                  </a:moveTo>
                  <a:lnTo>
                    <a:pt x="18855" y="65288"/>
                  </a:lnTo>
                  <a:lnTo>
                    <a:pt x="56959" y="65303"/>
                  </a:lnTo>
                  <a:close/>
                </a:path>
              </a:pathLst>
            </a:custGeom>
            <a:grpFill/>
          </p:spPr>
          <p:txBody>
            <a:bodyPr wrap="square" lIns="0" tIns="0" rIns="0" bIns="0" rtlCol="0"/>
            <a:lstStyle/>
            <a:p>
              <a:pPr marL="0" marR="0" lvl="0" indent="0" algn="l" defTabSz="91343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36" name="object 35">
              <a:extLst>
                <a:ext uri="{FF2B5EF4-FFF2-40B4-BE49-F238E27FC236}">
                  <a16:creationId xmlns:a16="http://schemas.microsoft.com/office/drawing/2014/main" id="{AB6A9814-A3E5-9E4C-80B1-6383D35CC967}"/>
                </a:ext>
              </a:extLst>
            </p:cNvPr>
            <p:cNvSpPr/>
            <p:nvPr/>
          </p:nvSpPr>
          <p:spPr>
            <a:xfrm>
              <a:off x="6205260" y="5454728"/>
              <a:ext cx="113030" cy="323850"/>
            </a:xfrm>
            <a:custGeom>
              <a:avLst/>
              <a:gdLst/>
              <a:ahLst/>
              <a:cxnLst/>
              <a:rect l="l" t="t" r="r" b="b"/>
              <a:pathLst>
                <a:path w="113029" h="323850">
                  <a:moveTo>
                    <a:pt x="112645" y="0"/>
                  </a:moveTo>
                  <a:lnTo>
                    <a:pt x="49147" y="159"/>
                  </a:lnTo>
                  <a:lnTo>
                    <a:pt x="21849" y="66729"/>
                  </a:lnTo>
                  <a:lnTo>
                    <a:pt x="21513" y="136038"/>
                  </a:lnTo>
                  <a:lnTo>
                    <a:pt x="21381" y="176956"/>
                  </a:lnTo>
                  <a:lnTo>
                    <a:pt x="21233" y="244449"/>
                  </a:lnTo>
                  <a:lnTo>
                    <a:pt x="21167" y="291477"/>
                  </a:lnTo>
                  <a:lnTo>
                    <a:pt x="5841" y="294540"/>
                  </a:lnTo>
                  <a:lnTo>
                    <a:pt x="268" y="302626"/>
                  </a:lnTo>
                  <a:lnTo>
                    <a:pt x="0" y="317581"/>
                  </a:lnTo>
                  <a:lnTo>
                    <a:pt x="112645" y="323672"/>
                  </a:lnTo>
                  <a:lnTo>
                    <a:pt x="112645" y="99682"/>
                  </a:lnTo>
                  <a:lnTo>
                    <a:pt x="54377" y="99682"/>
                  </a:lnTo>
                  <a:lnTo>
                    <a:pt x="52383" y="98374"/>
                  </a:lnTo>
                  <a:lnTo>
                    <a:pt x="52619" y="80414"/>
                  </a:lnTo>
                  <a:lnTo>
                    <a:pt x="52583" y="55012"/>
                  </a:lnTo>
                  <a:lnTo>
                    <a:pt x="52358" y="36029"/>
                  </a:lnTo>
                  <a:lnTo>
                    <a:pt x="54199" y="34277"/>
                  </a:lnTo>
                  <a:lnTo>
                    <a:pt x="109876" y="34277"/>
                  </a:lnTo>
                  <a:lnTo>
                    <a:pt x="112645" y="0"/>
                  </a:lnTo>
                  <a:close/>
                </a:path>
                <a:path w="113029" h="323850">
                  <a:moveTo>
                    <a:pt x="112645" y="99491"/>
                  </a:moveTo>
                  <a:lnTo>
                    <a:pt x="54377" y="99682"/>
                  </a:lnTo>
                  <a:lnTo>
                    <a:pt x="112645" y="99682"/>
                  </a:lnTo>
                  <a:lnTo>
                    <a:pt x="112645" y="99491"/>
                  </a:lnTo>
                  <a:close/>
                </a:path>
              </a:pathLst>
            </a:custGeom>
            <a:grpFill/>
          </p:spPr>
          <p:txBody>
            <a:bodyPr wrap="square" lIns="0" tIns="0" rIns="0" bIns="0" rtlCol="0"/>
            <a:lstStyle/>
            <a:p>
              <a:pPr marL="0" marR="0" lvl="0" indent="0" algn="l" defTabSz="91343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37" name="object 46">
              <a:extLst>
                <a:ext uri="{FF2B5EF4-FFF2-40B4-BE49-F238E27FC236}">
                  <a16:creationId xmlns:a16="http://schemas.microsoft.com/office/drawing/2014/main" id="{60B52FD0-4381-A74F-989B-C333BCCDF9FA}"/>
                </a:ext>
              </a:extLst>
            </p:cNvPr>
            <p:cNvSpPr/>
            <p:nvPr/>
          </p:nvSpPr>
          <p:spPr>
            <a:xfrm>
              <a:off x="6317898" y="5488989"/>
              <a:ext cx="55244" cy="65405"/>
            </a:xfrm>
            <a:custGeom>
              <a:avLst/>
              <a:gdLst/>
              <a:ahLst/>
              <a:cxnLst/>
              <a:rect l="l" t="t" r="r" b="b"/>
              <a:pathLst>
                <a:path w="55245" h="65404">
                  <a:moveTo>
                    <a:pt x="52438" y="0"/>
                  </a:moveTo>
                  <a:lnTo>
                    <a:pt x="9378" y="24"/>
                  </a:lnTo>
                  <a:lnTo>
                    <a:pt x="0" y="65227"/>
                  </a:lnTo>
                  <a:lnTo>
                    <a:pt x="47523" y="65303"/>
                  </a:lnTo>
                  <a:lnTo>
                    <a:pt x="52590" y="65366"/>
                  </a:lnTo>
                  <a:lnTo>
                    <a:pt x="54724" y="63715"/>
                  </a:lnTo>
                  <a:lnTo>
                    <a:pt x="54533" y="45696"/>
                  </a:lnTo>
                  <a:lnTo>
                    <a:pt x="54535" y="20294"/>
                  </a:lnTo>
                  <a:lnTo>
                    <a:pt x="54663" y="7596"/>
                  </a:lnTo>
                  <a:lnTo>
                    <a:pt x="54749" y="1523"/>
                  </a:lnTo>
                  <a:lnTo>
                    <a:pt x="52438" y="0"/>
                  </a:lnTo>
                  <a:close/>
                </a:path>
              </a:pathLst>
            </a:custGeom>
            <a:grpFill/>
          </p:spPr>
          <p:txBody>
            <a:bodyPr wrap="square" lIns="0" tIns="0" rIns="0" bIns="0" rtlCol="0"/>
            <a:lstStyle/>
            <a:p>
              <a:pPr marL="0" marR="0" lvl="0" indent="0" algn="l" defTabSz="91343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38" name="object 47">
              <a:extLst>
                <a:ext uri="{FF2B5EF4-FFF2-40B4-BE49-F238E27FC236}">
                  <a16:creationId xmlns:a16="http://schemas.microsoft.com/office/drawing/2014/main" id="{B646F7DA-4A6C-934E-91EF-AC2BC68F113A}"/>
                </a:ext>
              </a:extLst>
            </p:cNvPr>
            <p:cNvSpPr/>
            <p:nvPr/>
          </p:nvSpPr>
          <p:spPr>
            <a:xfrm>
              <a:off x="6317904" y="5454516"/>
              <a:ext cx="107314" cy="324485"/>
            </a:xfrm>
            <a:custGeom>
              <a:avLst/>
              <a:gdLst/>
              <a:ahLst/>
              <a:cxnLst/>
              <a:rect l="l" t="t" r="r" b="b"/>
              <a:pathLst>
                <a:path w="107314" h="324485">
                  <a:moveTo>
                    <a:pt x="34821" y="99691"/>
                  </a:moveTo>
                  <a:lnTo>
                    <a:pt x="9426" y="99693"/>
                  </a:lnTo>
                  <a:lnTo>
                    <a:pt x="0" y="323888"/>
                  </a:lnTo>
                  <a:lnTo>
                    <a:pt x="106387" y="323888"/>
                  </a:lnTo>
                  <a:lnTo>
                    <a:pt x="106929" y="305239"/>
                  </a:lnTo>
                  <a:lnTo>
                    <a:pt x="102552" y="295662"/>
                  </a:lnTo>
                  <a:lnTo>
                    <a:pt x="89720" y="291838"/>
                  </a:lnTo>
                  <a:lnTo>
                    <a:pt x="85407" y="291439"/>
                  </a:lnTo>
                  <a:lnTo>
                    <a:pt x="85093" y="99834"/>
                  </a:lnTo>
                  <a:lnTo>
                    <a:pt x="52590" y="99834"/>
                  </a:lnTo>
                  <a:lnTo>
                    <a:pt x="34821" y="99691"/>
                  </a:lnTo>
                  <a:close/>
                </a:path>
                <a:path w="107314" h="324485">
                  <a:moveTo>
                    <a:pt x="84986" y="34467"/>
                  </a:moveTo>
                  <a:lnTo>
                    <a:pt x="52425" y="34467"/>
                  </a:lnTo>
                  <a:lnTo>
                    <a:pt x="54749" y="35991"/>
                  </a:lnTo>
                  <a:lnTo>
                    <a:pt x="54673" y="41389"/>
                  </a:lnTo>
                  <a:lnTo>
                    <a:pt x="54540" y="54088"/>
                  </a:lnTo>
                  <a:lnTo>
                    <a:pt x="54724" y="98196"/>
                  </a:lnTo>
                  <a:lnTo>
                    <a:pt x="52590" y="99834"/>
                  </a:lnTo>
                  <a:lnTo>
                    <a:pt x="85093" y="99834"/>
                  </a:lnTo>
                  <a:lnTo>
                    <a:pt x="84986" y="34467"/>
                  </a:lnTo>
                  <a:close/>
                </a:path>
                <a:path w="107314" h="324485">
                  <a:moveTo>
                    <a:pt x="80124" y="0"/>
                  </a:moveTo>
                  <a:lnTo>
                    <a:pt x="7011" y="196"/>
                  </a:lnTo>
                  <a:lnTo>
                    <a:pt x="0" y="34493"/>
                  </a:lnTo>
                  <a:lnTo>
                    <a:pt x="84986" y="34467"/>
                  </a:lnTo>
                  <a:lnTo>
                    <a:pt x="84937" y="4838"/>
                  </a:lnTo>
                  <a:lnTo>
                    <a:pt x="80124" y="0"/>
                  </a:lnTo>
                  <a:close/>
                </a:path>
              </a:pathLst>
            </a:custGeom>
            <a:grpFill/>
          </p:spPr>
          <p:txBody>
            <a:bodyPr wrap="square" lIns="0" tIns="0" rIns="0" bIns="0" rtlCol="0"/>
            <a:lstStyle/>
            <a:p>
              <a:pPr marL="0" marR="0" lvl="0" indent="0" algn="l" defTabSz="91343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39" name="object 48">
              <a:extLst>
                <a:ext uri="{FF2B5EF4-FFF2-40B4-BE49-F238E27FC236}">
                  <a16:creationId xmlns:a16="http://schemas.microsoft.com/office/drawing/2014/main" id="{66FFBE00-6A3E-0642-AD39-3D5179365F39}"/>
                </a:ext>
              </a:extLst>
            </p:cNvPr>
            <p:cNvSpPr/>
            <p:nvPr/>
          </p:nvSpPr>
          <p:spPr>
            <a:xfrm>
              <a:off x="6315125" y="5581945"/>
              <a:ext cx="0" cy="155575"/>
            </a:xfrm>
            <a:custGeom>
              <a:avLst/>
              <a:gdLst/>
              <a:ahLst/>
              <a:cxnLst/>
              <a:rect l="l" t="t" r="r" b="b"/>
              <a:pathLst>
                <a:path h="155575">
                  <a:moveTo>
                    <a:pt x="0" y="0"/>
                  </a:moveTo>
                  <a:lnTo>
                    <a:pt x="0" y="155244"/>
                  </a:lnTo>
                </a:path>
              </a:pathLst>
            </a:custGeom>
            <a:grpFill/>
            <a:ln w="3175">
              <a:solidFill>
                <a:srgbClr val="FFFFFF"/>
              </a:solidFill>
            </a:ln>
          </p:spPr>
          <p:txBody>
            <a:bodyPr wrap="square" lIns="0" tIns="0" rIns="0" bIns="0" rtlCol="0"/>
            <a:lstStyle/>
            <a:p>
              <a:pPr marL="0" marR="0" lvl="0" indent="0" algn="l" defTabSz="91343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0"/>
                <a:cs typeface="+mn-cs"/>
              </a:endParaRPr>
            </a:p>
          </p:txBody>
        </p:sp>
      </p:grpSp>
      <p:sp>
        <p:nvSpPr>
          <p:cNvPr id="61" name="TextBox 29">
            <a:extLst>
              <a:ext uri="{FF2B5EF4-FFF2-40B4-BE49-F238E27FC236}">
                <a16:creationId xmlns:a16="http://schemas.microsoft.com/office/drawing/2014/main" id="{797ABCB0-E1DA-E043-A5B0-36AB84F2367F}"/>
              </a:ext>
            </a:extLst>
          </p:cNvPr>
          <p:cNvSpPr txBox="1"/>
          <p:nvPr/>
        </p:nvSpPr>
        <p:spPr>
          <a:xfrm>
            <a:off x="1739900" y="4744737"/>
            <a:ext cx="7697973" cy="276902"/>
          </a:xfrm>
          <a:prstGeom prst="rect">
            <a:avLst/>
          </a:prstGeom>
          <a:noFill/>
        </p:spPr>
        <p:style>
          <a:lnRef idx="0">
            <a:scrgbClr r="0" g="0" b="0"/>
          </a:lnRef>
          <a:fillRef idx="0">
            <a:scrgbClr r="0" g="0" b="0"/>
          </a:fillRef>
          <a:effectRef idx="0">
            <a:scrgbClr r="0" g="0" b="0"/>
          </a:effectRef>
          <a:fontRef idx="major"/>
        </p:style>
        <p:txBody>
          <a:bodyPr wrap="square" lIns="91344" tIns="45672" rIns="91344" bIns="45672"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lvl="0" defTabSz="913437">
              <a:defRPr/>
            </a:pPr>
            <a:r>
              <a:rPr lang="en-US" sz="1200" dirty="0">
                <a:solidFill>
                  <a:srgbClr val="75787B"/>
                </a:solidFill>
                <a:latin typeface="Segoe UI" panose="020B0502040204020203" pitchFamily="34" charset="0"/>
              </a:rPr>
              <a:t>1975		                           2010		                                       2035</a:t>
            </a:r>
            <a:endParaRPr lang="en-US" sz="1200" b="1" kern="0" dirty="0">
              <a:solidFill>
                <a:srgbClr val="75787B"/>
              </a:solidFill>
              <a:ea typeface="ＭＳ Ｐゴシック" charset="0"/>
            </a:endParaRPr>
          </a:p>
        </p:txBody>
      </p:sp>
    </p:spTree>
    <p:extLst>
      <p:ext uri="{BB962C8B-B14F-4D97-AF65-F5344CB8AC3E}">
        <p14:creationId xmlns:p14="http://schemas.microsoft.com/office/powerpoint/2010/main" val="6463551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75135" y="6369416"/>
            <a:ext cx="270745" cy="176164"/>
          </a:xfrm>
        </p:spPr>
        <p:txBody>
          <a:bodyPr/>
          <a:lstStyle/>
          <a:p>
            <a:fld id="{2C7AFF3D-0B71-614B-ACB6-7F45BDA6A838}" type="slidenum">
              <a:rPr lang="en-US" smtClean="0">
                <a:latin typeface="Segoe UI" panose="020B0502040204020203" pitchFamily="34" charset="0"/>
              </a:rPr>
              <a:pPr/>
              <a:t>2</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9" y="6361572"/>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2" name="Rectangle 1">
            <a:extLst>
              <a:ext uri="{FF2B5EF4-FFF2-40B4-BE49-F238E27FC236}">
                <a16:creationId xmlns:a16="http://schemas.microsoft.com/office/drawing/2014/main" id="{08E3C84D-BFA5-B546-B39D-86AA8E4DB62A}"/>
              </a:ext>
            </a:extLst>
          </p:cNvPr>
          <p:cNvSpPr/>
          <p:nvPr/>
        </p:nvSpPr>
        <p:spPr>
          <a:xfrm>
            <a:off x="89253" y="3913700"/>
            <a:ext cx="3857625" cy="412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788"/>
          </a:p>
        </p:txBody>
      </p:sp>
      <p:graphicFrame>
        <p:nvGraphicFramePr>
          <p:cNvPr id="22" name="Chart 21">
            <a:extLst>
              <a:ext uri="{FF2B5EF4-FFF2-40B4-BE49-F238E27FC236}">
                <a16:creationId xmlns:a16="http://schemas.microsoft.com/office/drawing/2014/main" id="{EFC41E12-4409-894C-878C-08DFEBC50E0A}"/>
              </a:ext>
            </a:extLst>
          </p:cNvPr>
          <p:cNvGraphicFramePr/>
          <p:nvPr>
            <p:extLst>
              <p:ext uri="{D42A27DB-BD31-4B8C-83A1-F6EECF244321}">
                <p14:modId xmlns:p14="http://schemas.microsoft.com/office/powerpoint/2010/main" val="3924307749"/>
              </p:ext>
            </p:extLst>
          </p:nvPr>
        </p:nvGraphicFramePr>
        <p:xfrm>
          <a:off x="1204032" y="2055372"/>
          <a:ext cx="3233383" cy="2416698"/>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 Placeholder 4">
            <a:extLst>
              <a:ext uri="{FF2B5EF4-FFF2-40B4-BE49-F238E27FC236}">
                <a16:creationId xmlns:a16="http://schemas.microsoft.com/office/drawing/2014/main" id="{0A589054-3BB9-CA4B-B6CC-DAE3B9500B1F}"/>
              </a:ext>
            </a:extLst>
          </p:cNvPr>
          <p:cNvSpPr txBox="1">
            <a:spLocks/>
          </p:cNvSpPr>
          <p:nvPr/>
        </p:nvSpPr>
        <p:spPr>
          <a:xfrm>
            <a:off x="320754" y="371361"/>
            <a:ext cx="7493471" cy="619239"/>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IBM Eliot Sans Medium" panose="020B0703050000000000"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Segoe UI" panose="020B0502040204020203" pitchFamily="34" charset="0"/>
                <a:ea typeface="Segoe UI" panose="020B0502040204020203" pitchFamily="34" charset="0"/>
                <a:cs typeface="Segoe UI" panose="020B0502040204020203" pitchFamily="34" charset="0"/>
              </a:rPr>
              <a:t>Agenda</a:t>
            </a:r>
          </a:p>
          <a:p>
            <a:endParaRPr lang="en-US" dirty="0">
              <a:latin typeface="Segoe UI" panose="020B0502040204020203" pitchFamily="34" charset="0"/>
              <a:ea typeface="Segoe UI" panose="020B0502040204020203" pitchFamily="34" charset="0"/>
              <a:cs typeface="Segoe UI" panose="020B0502040204020203" pitchFamily="34" charset="0"/>
            </a:endParaRPr>
          </a:p>
        </p:txBody>
      </p:sp>
      <p:graphicFrame>
        <p:nvGraphicFramePr>
          <p:cNvPr id="14" name="Table 13">
            <a:extLst>
              <a:ext uri="{FF2B5EF4-FFF2-40B4-BE49-F238E27FC236}">
                <a16:creationId xmlns:a16="http://schemas.microsoft.com/office/drawing/2014/main" id="{25E01254-9DEB-CF4F-AA65-3AE1AC977CD1}"/>
              </a:ext>
            </a:extLst>
          </p:cNvPr>
          <p:cNvGraphicFramePr>
            <a:graphicFrameLocks noGrp="1"/>
          </p:cNvGraphicFramePr>
          <p:nvPr>
            <p:extLst>
              <p:ext uri="{D42A27DB-BD31-4B8C-83A1-F6EECF244321}">
                <p14:modId xmlns:p14="http://schemas.microsoft.com/office/powerpoint/2010/main" val="319326064"/>
              </p:ext>
            </p:extLst>
          </p:nvPr>
        </p:nvGraphicFramePr>
        <p:xfrm>
          <a:off x="325790" y="1499112"/>
          <a:ext cx="8464788" cy="4009505"/>
        </p:xfrm>
        <a:graphic>
          <a:graphicData uri="http://schemas.openxmlformats.org/drawingml/2006/table">
            <a:tbl>
              <a:tblPr bandRow="1">
                <a:tableStyleId>{5C22544A-7EE6-4342-B048-85BDC9FD1C3A}</a:tableStyleId>
              </a:tblPr>
              <a:tblGrid>
                <a:gridCol w="8464788">
                  <a:extLst>
                    <a:ext uri="{9D8B030D-6E8A-4147-A177-3AD203B41FA5}">
                      <a16:colId xmlns:a16="http://schemas.microsoft.com/office/drawing/2014/main" val="3107662515"/>
                    </a:ext>
                  </a:extLst>
                </a:gridCol>
              </a:tblGrid>
              <a:tr h="850669">
                <a:tc>
                  <a:txBody>
                    <a:bodyPr/>
                    <a:lstStyle/>
                    <a:p>
                      <a:pPr lvl="0" algn="ctr">
                        <a:lnSpc>
                          <a:spcPct val="100000"/>
                        </a:lnSpc>
                      </a:pPr>
                      <a:r>
                        <a:rPr lang="en-US" sz="2800" b="0">
                          <a:solidFill>
                            <a:schemeClr val="bg1"/>
                          </a:solidFill>
                          <a:latin typeface="Segoe UI" panose="020B0502040204020203" pitchFamily="34" charset="0"/>
                          <a:ea typeface="Segoe UI" panose="020B0502040204020203" pitchFamily="34" charset="0"/>
                          <a:cs typeface="Segoe UI" panose="020B0502040204020203" pitchFamily="34" charset="0"/>
                        </a:rPr>
                        <a:t>Market Environment</a:t>
                      </a:r>
                      <a:endParaRPr lang="en-US" sz="2800" b="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txBody>
                  <a:tcPr marL="182880" marT="91440">
                    <a:lnL w="9525" cap="flat" cmpd="sng" algn="ctr">
                      <a:solidFill>
                        <a:srgbClr val="75787B"/>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75787B"/>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577"/>
                    </a:solidFill>
                  </a:tcPr>
                </a:tc>
                <a:extLst>
                  <a:ext uri="{0D108BD9-81ED-4DB2-BD59-A6C34878D82A}">
                    <a16:rowId xmlns:a16="http://schemas.microsoft.com/office/drawing/2014/main" val="3144960856"/>
                  </a:ext>
                </a:extLst>
              </a:tr>
              <a:tr h="739833">
                <a:tc>
                  <a:txBody>
                    <a:bodyPr/>
                    <a:lstStyle/>
                    <a:p>
                      <a:pPr lvl="0" algn="ctr">
                        <a:lnSpc>
                          <a:spcPct val="100000"/>
                        </a:lnSpc>
                      </a:pPr>
                      <a:r>
                        <a:rPr lang="en-US" sz="2800" b="0" dirty="0">
                          <a:solidFill>
                            <a:schemeClr val="bg1"/>
                          </a:solidFill>
                          <a:latin typeface="Segoe UI" panose="020B0502040204020203" pitchFamily="34" charset="0"/>
                          <a:ea typeface="Segoe UI" panose="020B0502040204020203" pitchFamily="34" charset="0"/>
                          <a:cs typeface="Segoe UI" panose="020B0502040204020203" pitchFamily="34" charset="0"/>
                        </a:rPr>
                        <a:t>Protection</a:t>
                      </a:r>
                    </a:p>
                  </a:txBody>
                  <a:tcPr marL="182880" marT="9144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73BFFE"/>
                    </a:solidFill>
                  </a:tcPr>
                </a:tc>
                <a:extLst>
                  <a:ext uri="{0D108BD9-81ED-4DB2-BD59-A6C34878D82A}">
                    <a16:rowId xmlns:a16="http://schemas.microsoft.com/office/drawing/2014/main" val="295232744"/>
                  </a:ext>
                </a:extLst>
              </a:tr>
              <a:tr h="822960">
                <a:tc>
                  <a:txBody>
                    <a:bodyPr/>
                    <a:lstStyle/>
                    <a:p>
                      <a:pPr lvl="0" algn="ctr">
                        <a:lnSpc>
                          <a:spcPct val="100000"/>
                        </a:lnSpc>
                      </a:pPr>
                      <a:r>
                        <a:rPr lang="en-US" sz="2800" b="0" dirty="0">
                          <a:solidFill>
                            <a:schemeClr val="bg1"/>
                          </a:solidFill>
                          <a:latin typeface="Segoe UI" panose="020B0502040204020203" pitchFamily="34" charset="0"/>
                          <a:ea typeface="Segoe UI" panose="020B0502040204020203" pitchFamily="34" charset="0"/>
                          <a:cs typeface="Segoe UI" panose="020B0502040204020203" pitchFamily="34" charset="0"/>
                        </a:rPr>
                        <a:t>Guaranteed Lifetime Income</a:t>
                      </a:r>
                    </a:p>
                  </a:txBody>
                  <a:tcPr marL="182880" marT="91440">
                    <a:lnL w="9525" cap="flat" cmpd="sng" algn="ctr">
                      <a:solidFill>
                        <a:srgbClr val="75787B"/>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216416727"/>
                  </a:ext>
                </a:extLst>
              </a:tr>
              <a:tr h="8063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dirty="0">
                          <a:solidFill>
                            <a:schemeClr val="bg1"/>
                          </a:solidFill>
                          <a:latin typeface="Segoe UI" panose="020B0502040204020203" pitchFamily="34" charset="0"/>
                          <a:ea typeface="Segoe UI" panose="020B0502040204020203" pitchFamily="34" charset="0"/>
                          <a:cs typeface="Segoe UI" panose="020B0502040204020203" pitchFamily="34" charset="0"/>
                        </a:rPr>
                        <a:t>Health Care and Inflation</a:t>
                      </a:r>
                    </a:p>
                  </a:txBody>
                  <a:tcPr marL="182880" marT="91440">
                    <a:lnL w="9525" cap="flat" cmpd="sng" algn="ctr">
                      <a:solidFill>
                        <a:srgbClr val="75787B"/>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75787B"/>
                    </a:solidFill>
                  </a:tcPr>
                </a:tc>
                <a:extLst>
                  <a:ext uri="{0D108BD9-81ED-4DB2-BD59-A6C34878D82A}">
                    <a16:rowId xmlns:a16="http://schemas.microsoft.com/office/drawing/2014/main" val="3478281798"/>
                  </a:ext>
                </a:extLst>
              </a:tr>
              <a:tr h="78970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dirty="0">
                          <a:solidFill>
                            <a:schemeClr val="bg1"/>
                          </a:solidFill>
                          <a:latin typeface="Segoe UI" panose="020B0502040204020203" pitchFamily="34" charset="0"/>
                          <a:ea typeface="Segoe UI" panose="020B0502040204020203" pitchFamily="34" charset="0"/>
                          <a:cs typeface="Segoe UI" panose="020B0502040204020203" pitchFamily="34" charset="0"/>
                        </a:rPr>
                        <a:t>How Annuities Can Help</a:t>
                      </a:r>
                    </a:p>
                  </a:txBody>
                  <a:tcPr marL="182880" marT="91440">
                    <a:lnL w="9525" cap="flat" cmpd="sng" algn="ctr">
                      <a:solidFill>
                        <a:srgbClr val="75787B"/>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75787B"/>
                      </a:solidFill>
                      <a:prstDash val="solid"/>
                      <a:round/>
                      <a:headEnd type="none" w="med" len="med"/>
                      <a:tailEnd type="none" w="med" len="med"/>
                    </a:lnB>
                    <a:solidFill>
                      <a:srgbClr val="385723"/>
                    </a:solidFill>
                  </a:tcPr>
                </a:tc>
                <a:extLst>
                  <a:ext uri="{0D108BD9-81ED-4DB2-BD59-A6C34878D82A}">
                    <a16:rowId xmlns:a16="http://schemas.microsoft.com/office/drawing/2014/main" val="3086972689"/>
                  </a:ext>
                </a:extLst>
              </a:tr>
            </a:tbl>
          </a:graphicData>
        </a:graphic>
      </p:graphicFrame>
    </p:spTree>
    <p:extLst>
      <p:ext uri="{BB962C8B-B14F-4D97-AF65-F5344CB8AC3E}">
        <p14:creationId xmlns:p14="http://schemas.microsoft.com/office/powerpoint/2010/main" val="10630735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20</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79960"/>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1" y="381000"/>
            <a:ext cx="8135982"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Interest Rates &amp; Inflation: Historically</a:t>
            </a:r>
          </a:p>
        </p:txBody>
      </p:sp>
      <p:sp>
        <p:nvSpPr>
          <p:cNvPr id="45" name="TextBox 44">
            <a:extLst>
              <a:ext uri="{FF2B5EF4-FFF2-40B4-BE49-F238E27FC236}">
                <a16:creationId xmlns:a16="http://schemas.microsoft.com/office/drawing/2014/main" id="{7E2986C8-4C91-8C4C-8230-30CDD2B5B689}"/>
              </a:ext>
            </a:extLst>
          </p:cNvPr>
          <p:cNvSpPr txBox="1"/>
          <p:nvPr/>
        </p:nvSpPr>
        <p:spPr>
          <a:xfrm>
            <a:off x="420329" y="5682998"/>
            <a:ext cx="8220791" cy="123111"/>
          </a:xfrm>
          <a:prstGeom prst="rect">
            <a:avLst/>
          </a:prstGeom>
          <a:noFill/>
        </p:spPr>
        <p:txBody>
          <a:bodyPr wrap="square" lIns="0" tIns="0" rIns="0" bIns="0" rtlCol="0">
            <a:spAutoFit/>
          </a:bodyPr>
          <a:lstStyle/>
          <a:p>
            <a:pPr fontAlgn="base">
              <a:spcBef>
                <a:spcPct val="0"/>
              </a:spcBef>
              <a:spcAft>
                <a:spcPct val="0"/>
              </a:spcAft>
              <a:buFontTx/>
              <a:buNone/>
            </a:pPr>
            <a:r>
              <a:rPr lang="en-US" altLang="en-US" sz="800" dirty="0">
                <a:solidFill>
                  <a:schemeClr val="bg1">
                    <a:lumMod val="50000"/>
                  </a:schemeClr>
                </a:solidFill>
              </a:rPr>
              <a:t>Source: </a:t>
            </a:r>
            <a:r>
              <a:rPr lang="en-US" altLang="en-US" sz="800" dirty="0" err="1">
                <a:solidFill>
                  <a:schemeClr val="bg1">
                    <a:lumMod val="50000"/>
                  </a:schemeClr>
                </a:solidFill>
              </a:rPr>
              <a:t>www.federalreserve.gov</a:t>
            </a:r>
            <a:r>
              <a:rPr lang="en-US" altLang="en-US" sz="800" dirty="0">
                <a:solidFill>
                  <a:schemeClr val="bg1">
                    <a:lumMod val="50000"/>
                  </a:schemeClr>
                </a:solidFill>
              </a:rPr>
              <a:t> and </a:t>
            </a:r>
            <a:r>
              <a:rPr lang="en-US" altLang="en-US" sz="800" dirty="0" err="1">
                <a:solidFill>
                  <a:schemeClr val="bg1">
                    <a:lumMod val="50000"/>
                  </a:schemeClr>
                </a:solidFill>
              </a:rPr>
              <a:t>bls.gov</a:t>
            </a:r>
            <a:r>
              <a:rPr lang="en-US" altLang="en-US" sz="800" dirty="0">
                <a:solidFill>
                  <a:schemeClr val="bg1">
                    <a:lumMod val="50000"/>
                  </a:schemeClr>
                </a:solidFill>
              </a:rPr>
              <a:t>. There is no assurance that these historical trends will continue in the future.</a:t>
            </a:r>
          </a:p>
        </p:txBody>
      </p:sp>
      <p:cxnSp>
        <p:nvCxnSpPr>
          <p:cNvPr id="18" name="Straight Connector 17">
            <a:extLst>
              <a:ext uri="{FF2B5EF4-FFF2-40B4-BE49-F238E27FC236}">
                <a16:creationId xmlns:a16="http://schemas.microsoft.com/office/drawing/2014/main" id="{883BB4E4-4225-484D-986A-7FFBABE574E3}"/>
              </a:ext>
            </a:extLst>
          </p:cNvPr>
          <p:cNvCxnSpPr>
            <a:cxnSpLocks/>
          </p:cNvCxnSpPr>
          <p:nvPr/>
        </p:nvCxnSpPr>
        <p:spPr>
          <a:xfrm>
            <a:off x="419100" y="1607567"/>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C70369A-DCB4-6B45-83C8-86A1161D4687}"/>
              </a:ext>
            </a:extLst>
          </p:cNvPr>
          <p:cNvCxnSpPr>
            <a:cxnSpLocks/>
          </p:cNvCxnSpPr>
          <p:nvPr/>
        </p:nvCxnSpPr>
        <p:spPr>
          <a:xfrm>
            <a:off x="419100" y="5614410"/>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603C89EE-9768-DD40-9DC9-665ABEB4E1AC}"/>
              </a:ext>
            </a:extLst>
          </p:cNvPr>
          <p:cNvSpPr txBox="1"/>
          <p:nvPr/>
        </p:nvSpPr>
        <p:spPr>
          <a:xfrm>
            <a:off x="347328" y="806948"/>
            <a:ext cx="7208865" cy="307777"/>
          </a:xfrm>
          <a:prstGeom prst="rect">
            <a:avLst/>
          </a:prstGeom>
          <a:noFill/>
        </p:spPr>
        <p:txBody>
          <a:bodyPr wrap="square" rtlCol="0">
            <a:spAutoFit/>
          </a:bodyPr>
          <a:lstStyle/>
          <a:p>
            <a:r>
              <a:rPr lang="en-US" sz="1400" dirty="0">
                <a:solidFill>
                  <a:srgbClr val="3369FF"/>
                </a:solidFill>
                <a:latin typeface="Segoe UI" panose="020B0502040204020203" pitchFamily="34" charset="0"/>
                <a:ea typeface="Segoe UI" panose="020B0502040204020203" pitchFamily="34" charset="0"/>
                <a:cs typeface="Segoe UI" panose="020B0502040204020203" pitchFamily="34" charset="0"/>
              </a:rPr>
              <a:t>The U.S 10-Year Treasury rates and inflation are at historical lows</a:t>
            </a:r>
          </a:p>
        </p:txBody>
      </p:sp>
      <p:grpSp>
        <p:nvGrpSpPr>
          <p:cNvPr id="2" name="Group 1">
            <a:extLst>
              <a:ext uri="{FF2B5EF4-FFF2-40B4-BE49-F238E27FC236}">
                <a16:creationId xmlns:a16="http://schemas.microsoft.com/office/drawing/2014/main" id="{75CFAB9E-A957-9B45-A942-C9DDA2C141D8}"/>
              </a:ext>
            </a:extLst>
          </p:cNvPr>
          <p:cNvGrpSpPr/>
          <p:nvPr/>
        </p:nvGrpSpPr>
        <p:grpSpPr>
          <a:xfrm>
            <a:off x="439480" y="1927639"/>
            <a:ext cx="8449339" cy="3287110"/>
            <a:chOff x="354419" y="2160181"/>
            <a:chExt cx="8449339" cy="3287110"/>
          </a:xfrm>
        </p:grpSpPr>
        <p:pic>
          <p:nvPicPr>
            <p:cNvPr id="62" name="Picture 2">
              <a:extLst>
                <a:ext uri="{FF2B5EF4-FFF2-40B4-BE49-F238E27FC236}">
                  <a16:creationId xmlns:a16="http://schemas.microsoft.com/office/drawing/2014/main" id="{3EA81C16-5FC2-A14C-A34C-79A698E1377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129"/>
            <a:stretch/>
          </p:blipFill>
          <p:spPr bwMode="auto">
            <a:xfrm>
              <a:off x="354419" y="2160181"/>
              <a:ext cx="8334375" cy="32871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TextBox 63">
              <a:extLst>
                <a:ext uri="{FF2B5EF4-FFF2-40B4-BE49-F238E27FC236}">
                  <a16:creationId xmlns:a16="http://schemas.microsoft.com/office/drawing/2014/main" id="{E53E34E3-32FB-C448-938E-D8E51260FFEA}"/>
                </a:ext>
              </a:extLst>
            </p:cNvPr>
            <p:cNvSpPr txBox="1"/>
            <p:nvPr/>
          </p:nvSpPr>
          <p:spPr>
            <a:xfrm>
              <a:off x="5503134" y="2805494"/>
              <a:ext cx="3300624" cy="738664"/>
            </a:xfrm>
            <a:prstGeom prst="rect">
              <a:avLst/>
            </a:prstGeom>
            <a:solidFill>
              <a:schemeClr val="bg1"/>
            </a:solidFill>
          </p:spPr>
          <p:txBody>
            <a:bodyPr wrap="square" rtlCol="0">
              <a:spAutoFit/>
            </a:bodyPr>
            <a:lstStyle/>
            <a:p>
              <a:r>
                <a:rPr lang="en-US" sz="1400" b="1" dirty="0">
                  <a:solidFill>
                    <a:srgbClr val="75787B"/>
                  </a:solidFill>
                  <a:latin typeface="Segoe UI" panose="020B0502040204020203" pitchFamily="34" charset="0"/>
                  <a:ea typeface="Segoe UI" panose="020B0502040204020203" pitchFamily="34" charset="0"/>
                  <a:cs typeface="Segoe UI" panose="020B0502040204020203" pitchFamily="34" charset="0"/>
                </a:rPr>
                <a:t>The U.S 10-Year Treasury has </a:t>
              </a:r>
              <a:br>
                <a:rPr lang="en-US" sz="1400" b="1" dirty="0">
                  <a:solidFill>
                    <a:srgbClr val="75787B"/>
                  </a:solidFill>
                  <a:latin typeface="Segoe UI" panose="020B0502040204020203" pitchFamily="34" charset="0"/>
                  <a:ea typeface="Segoe UI" panose="020B0502040204020203" pitchFamily="34" charset="0"/>
                  <a:cs typeface="Segoe UI" panose="020B0502040204020203" pitchFamily="34" charset="0"/>
                </a:rPr>
              </a:br>
              <a:r>
                <a:rPr lang="en-US" sz="1400" b="1" dirty="0">
                  <a:solidFill>
                    <a:srgbClr val="75787B"/>
                  </a:solidFill>
                  <a:latin typeface="Segoe UI" panose="020B0502040204020203" pitchFamily="34" charset="0"/>
                  <a:ea typeface="Segoe UI" panose="020B0502040204020203" pitchFamily="34" charset="0"/>
                  <a:cs typeface="Segoe UI" panose="020B0502040204020203" pitchFamily="34" charset="0"/>
                </a:rPr>
                <a:t>averaged 2.47% above the inflation rate since 1965.</a:t>
              </a:r>
            </a:p>
          </p:txBody>
        </p:sp>
        <p:sp>
          <p:nvSpPr>
            <p:cNvPr id="65" name="TextBox 64">
              <a:extLst>
                <a:ext uri="{FF2B5EF4-FFF2-40B4-BE49-F238E27FC236}">
                  <a16:creationId xmlns:a16="http://schemas.microsoft.com/office/drawing/2014/main" id="{5699B5F7-9D0E-C14C-8AC7-69A35DB6B2C5}"/>
                </a:ext>
              </a:extLst>
            </p:cNvPr>
            <p:cNvSpPr txBox="1"/>
            <p:nvPr/>
          </p:nvSpPr>
          <p:spPr>
            <a:xfrm>
              <a:off x="1483192" y="2518973"/>
              <a:ext cx="1451396" cy="464230"/>
            </a:xfrm>
            <a:prstGeom prst="rect">
              <a:avLst/>
            </a:prstGeom>
            <a:solidFill>
              <a:schemeClr val="bg1"/>
            </a:solidFill>
          </p:spPr>
          <p:txBody>
            <a:bodyPr wrap="square" rtlCol="0">
              <a:spAutoFit/>
            </a:bodyPr>
            <a:lstStyle/>
            <a:p>
              <a:pPr>
                <a:spcBef>
                  <a:spcPts val="500"/>
                </a:spcBef>
                <a:buClr>
                  <a:srgbClr val="002577"/>
                </a:buClr>
                <a:buSzPct val="200000"/>
              </a:pPr>
              <a:r>
                <a:rPr lang="en-US" sz="1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10-Year Treasury Note</a:t>
              </a:r>
            </a:p>
            <a:p>
              <a:pPr>
                <a:spcBef>
                  <a:spcPts val="500"/>
                </a:spcBef>
                <a:buClr>
                  <a:srgbClr val="002577"/>
                </a:buClr>
                <a:buSzPct val="200000"/>
              </a:pPr>
              <a:r>
                <a:rPr lang="en-US" sz="1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Inflation (CPI-U)</a:t>
              </a:r>
            </a:p>
          </p:txBody>
        </p:sp>
      </p:grpSp>
    </p:spTree>
    <p:extLst>
      <p:ext uri="{BB962C8B-B14F-4D97-AF65-F5344CB8AC3E}">
        <p14:creationId xmlns:p14="http://schemas.microsoft.com/office/powerpoint/2010/main" val="42516477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B943CB72-26EF-B645-A3D1-0595449101FB}"/>
              </a:ext>
            </a:extLst>
          </p:cNvPr>
          <p:cNvSpPr>
            <a:spLocks noChangeAspect="1"/>
          </p:cNvSpPr>
          <p:nvPr/>
        </p:nvSpPr>
        <p:spPr>
          <a:xfrm>
            <a:off x="419100" y="2000246"/>
            <a:ext cx="8582199" cy="2885828"/>
          </a:xfrm>
          <a:custGeom>
            <a:avLst/>
            <a:gdLst>
              <a:gd name="connsiteX0" fmla="*/ 0 w 6048796"/>
              <a:gd name="connsiteY0" fmla="*/ 2286000 h 2294092"/>
              <a:gd name="connsiteX1" fmla="*/ 331773 w 6048796"/>
              <a:gd name="connsiteY1" fmla="*/ 2269816 h 2294092"/>
              <a:gd name="connsiteX2" fmla="*/ 623086 w 6048796"/>
              <a:gd name="connsiteY2" fmla="*/ 2188896 h 2294092"/>
              <a:gd name="connsiteX3" fmla="*/ 926538 w 6048796"/>
              <a:gd name="connsiteY3" fmla="*/ 2083699 h 2294092"/>
              <a:gd name="connsiteX4" fmla="*/ 1161207 w 6048796"/>
              <a:gd name="connsiteY4" fmla="*/ 1942089 h 2294092"/>
              <a:gd name="connsiteX5" fmla="*/ 1359461 w 6048796"/>
              <a:gd name="connsiteY5" fmla="*/ 1816662 h 2294092"/>
              <a:gd name="connsiteX6" fmla="*/ 1537486 w 6048796"/>
              <a:gd name="connsiteY6" fmla="*/ 1683144 h 2294092"/>
              <a:gd name="connsiteX7" fmla="*/ 1687189 w 6048796"/>
              <a:gd name="connsiteY7" fmla="*/ 1529395 h 2294092"/>
              <a:gd name="connsiteX8" fmla="*/ 1808569 w 6048796"/>
              <a:gd name="connsiteY8" fmla="*/ 1391830 h 2294092"/>
              <a:gd name="connsiteX9" fmla="*/ 1986594 w 6048796"/>
              <a:gd name="connsiteY9" fmla="*/ 1145023 h 2294092"/>
              <a:gd name="connsiteX10" fmla="*/ 2128205 w 6048796"/>
              <a:gd name="connsiteY10" fmla="*/ 934630 h 2294092"/>
              <a:gd name="connsiteX11" fmla="*/ 2261723 w 6048796"/>
              <a:gd name="connsiteY11" fmla="*/ 736375 h 2294092"/>
              <a:gd name="connsiteX12" fmla="*/ 2395242 w 6048796"/>
              <a:gd name="connsiteY12" fmla="*/ 558351 h 2294092"/>
              <a:gd name="connsiteX13" fmla="*/ 2532807 w 6048796"/>
              <a:gd name="connsiteY13" fmla="*/ 384372 h 2294092"/>
              <a:gd name="connsiteX14" fmla="*/ 2633957 w 6048796"/>
              <a:gd name="connsiteY14" fmla="*/ 275129 h 2294092"/>
              <a:gd name="connsiteX15" fmla="*/ 2727015 w 6048796"/>
              <a:gd name="connsiteY15" fmla="*/ 186117 h 2294092"/>
              <a:gd name="connsiteX16" fmla="*/ 2828166 w 6048796"/>
              <a:gd name="connsiteY16" fmla="*/ 105197 h 2294092"/>
              <a:gd name="connsiteX17" fmla="*/ 2925270 w 6048796"/>
              <a:gd name="connsiteY17" fmla="*/ 44506 h 2294092"/>
              <a:gd name="connsiteX18" fmla="*/ 3018329 w 6048796"/>
              <a:gd name="connsiteY18" fmla="*/ 12138 h 2294092"/>
              <a:gd name="connsiteX19" fmla="*/ 3099249 w 6048796"/>
              <a:gd name="connsiteY19" fmla="*/ 0 h 2294092"/>
              <a:gd name="connsiteX20" fmla="*/ 3147801 w 6048796"/>
              <a:gd name="connsiteY20" fmla="*/ 12138 h 2294092"/>
              <a:gd name="connsiteX21" fmla="*/ 3252998 w 6048796"/>
              <a:gd name="connsiteY21" fmla="*/ 44506 h 2294092"/>
              <a:gd name="connsiteX22" fmla="*/ 3418884 w 6048796"/>
              <a:gd name="connsiteY22" fmla="*/ 165887 h 2294092"/>
              <a:gd name="connsiteX23" fmla="*/ 3544311 w 6048796"/>
              <a:gd name="connsiteY23" fmla="*/ 291313 h 2294092"/>
              <a:gd name="connsiteX24" fmla="*/ 3665692 w 6048796"/>
              <a:gd name="connsiteY24" fmla="*/ 432924 h 2294092"/>
              <a:gd name="connsiteX25" fmla="*/ 3811348 w 6048796"/>
              <a:gd name="connsiteY25" fmla="*/ 606903 h 2294092"/>
              <a:gd name="connsiteX26" fmla="*/ 3948913 w 6048796"/>
              <a:gd name="connsiteY26" fmla="*/ 797066 h 2294092"/>
              <a:gd name="connsiteX27" fmla="*/ 4058155 w 6048796"/>
              <a:gd name="connsiteY27" fmla="*/ 962952 h 2294092"/>
              <a:gd name="connsiteX28" fmla="*/ 4171444 w 6048796"/>
              <a:gd name="connsiteY28" fmla="*/ 1145023 h 2294092"/>
              <a:gd name="connsiteX29" fmla="*/ 4284732 w 6048796"/>
              <a:gd name="connsiteY29" fmla="*/ 1306864 h 2294092"/>
              <a:gd name="connsiteX30" fmla="*/ 4369699 w 6048796"/>
              <a:gd name="connsiteY30" fmla="*/ 1424198 h 2294092"/>
              <a:gd name="connsiteX31" fmla="*/ 4462757 w 6048796"/>
              <a:gd name="connsiteY31" fmla="*/ 1525349 h 2294092"/>
              <a:gd name="connsiteX32" fmla="*/ 4547723 w 6048796"/>
              <a:gd name="connsiteY32" fmla="*/ 1602223 h 2294092"/>
              <a:gd name="connsiteX33" fmla="*/ 4652920 w 6048796"/>
              <a:gd name="connsiteY33" fmla="*/ 1699328 h 2294092"/>
              <a:gd name="connsiteX34" fmla="*/ 4745978 w 6048796"/>
              <a:gd name="connsiteY34" fmla="*/ 1776202 h 2294092"/>
              <a:gd name="connsiteX35" fmla="*/ 4871405 w 6048796"/>
              <a:gd name="connsiteY35" fmla="*/ 1869260 h 2294092"/>
              <a:gd name="connsiteX36" fmla="*/ 4980647 w 6048796"/>
              <a:gd name="connsiteY36" fmla="*/ 1946135 h 2294092"/>
              <a:gd name="connsiteX37" fmla="*/ 5122258 w 6048796"/>
              <a:gd name="connsiteY37" fmla="*/ 2023009 h 2294092"/>
              <a:gd name="connsiteX38" fmla="*/ 5360973 w 6048796"/>
              <a:gd name="connsiteY38" fmla="*/ 2124159 h 2294092"/>
              <a:gd name="connsiteX39" fmla="*/ 5619918 w 6048796"/>
              <a:gd name="connsiteY39" fmla="*/ 2217218 h 2294092"/>
              <a:gd name="connsiteX40" fmla="*/ 5850541 w 6048796"/>
              <a:gd name="connsiteY40" fmla="*/ 2281954 h 2294092"/>
              <a:gd name="connsiteX41" fmla="*/ 6048796 w 6048796"/>
              <a:gd name="connsiteY41" fmla="*/ 2294092 h 2294092"/>
              <a:gd name="connsiteX42" fmla="*/ 0 w 6048796"/>
              <a:gd name="connsiteY42" fmla="*/ 2286000 h 2294092"/>
              <a:gd name="connsiteX0" fmla="*/ 0 w 6048796"/>
              <a:gd name="connsiteY0" fmla="*/ 2286000 h 2294092"/>
              <a:gd name="connsiteX1" fmla="*/ 331773 w 6048796"/>
              <a:gd name="connsiteY1" fmla="*/ 2269816 h 2294092"/>
              <a:gd name="connsiteX2" fmla="*/ 623086 w 6048796"/>
              <a:gd name="connsiteY2" fmla="*/ 2188896 h 2294092"/>
              <a:gd name="connsiteX3" fmla="*/ 926538 w 6048796"/>
              <a:gd name="connsiteY3" fmla="*/ 2083699 h 2294092"/>
              <a:gd name="connsiteX4" fmla="*/ 1161207 w 6048796"/>
              <a:gd name="connsiteY4" fmla="*/ 1942089 h 2294092"/>
              <a:gd name="connsiteX5" fmla="*/ 1359461 w 6048796"/>
              <a:gd name="connsiteY5" fmla="*/ 1816662 h 2294092"/>
              <a:gd name="connsiteX6" fmla="*/ 1537486 w 6048796"/>
              <a:gd name="connsiteY6" fmla="*/ 1683144 h 2294092"/>
              <a:gd name="connsiteX7" fmla="*/ 1687189 w 6048796"/>
              <a:gd name="connsiteY7" fmla="*/ 1529395 h 2294092"/>
              <a:gd name="connsiteX8" fmla="*/ 1808569 w 6048796"/>
              <a:gd name="connsiteY8" fmla="*/ 1391830 h 2294092"/>
              <a:gd name="connsiteX9" fmla="*/ 1986594 w 6048796"/>
              <a:gd name="connsiteY9" fmla="*/ 1145023 h 2294092"/>
              <a:gd name="connsiteX10" fmla="*/ 2128205 w 6048796"/>
              <a:gd name="connsiteY10" fmla="*/ 934630 h 2294092"/>
              <a:gd name="connsiteX11" fmla="*/ 2261723 w 6048796"/>
              <a:gd name="connsiteY11" fmla="*/ 736375 h 2294092"/>
              <a:gd name="connsiteX12" fmla="*/ 2395242 w 6048796"/>
              <a:gd name="connsiteY12" fmla="*/ 558351 h 2294092"/>
              <a:gd name="connsiteX13" fmla="*/ 2532807 w 6048796"/>
              <a:gd name="connsiteY13" fmla="*/ 384372 h 2294092"/>
              <a:gd name="connsiteX14" fmla="*/ 2633957 w 6048796"/>
              <a:gd name="connsiteY14" fmla="*/ 275129 h 2294092"/>
              <a:gd name="connsiteX15" fmla="*/ 2727015 w 6048796"/>
              <a:gd name="connsiteY15" fmla="*/ 186117 h 2294092"/>
              <a:gd name="connsiteX16" fmla="*/ 2828166 w 6048796"/>
              <a:gd name="connsiteY16" fmla="*/ 105197 h 2294092"/>
              <a:gd name="connsiteX17" fmla="*/ 2925270 w 6048796"/>
              <a:gd name="connsiteY17" fmla="*/ 44506 h 2294092"/>
              <a:gd name="connsiteX18" fmla="*/ 3018329 w 6048796"/>
              <a:gd name="connsiteY18" fmla="*/ 12138 h 2294092"/>
              <a:gd name="connsiteX19" fmla="*/ 3099249 w 6048796"/>
              <a:gd name="connsiteY19" fmla="*/ 0 h 2294092"/>
              <a:gd name="connsiteX20" fmla="*/ 3147801 w 6048796"/>
              <a:gd name="connsiteY20" fmla="*/ 12138 h 2294092"/>
              <a:gd name="connsiteX21" fmla="*/ 3244906 w 6048796"/>
              <a:gd name="connsiteY21" fmla="*/ 52598 h 2294092"/>
              <a:gd name="connsiteX22" fmla="*/ 3418884 w 6048796"/>
              <a:gd name="connsiteY22" fmla="*/ 165887 h 2294092"/>
              <a:gd name="connsiteX23" fmla="*/ 3544311 w 6048796"/>
              <a:gd name="connsiteY23" fmla="*/ 291313 h 2294092"/>
              <a:gd name="connsiteX24" fmla="*/ 3665692 w 6048796"/>
              <a:gd name="connsiteY24" fmla="*/ 432924 h 2294092"/>
              <a:gd name="connsiteX25" fmla="*/ 3811348 w 6048796"/>
              <a:gd name="connsiteY25" fmla="*/ 606903 h 2294092"/>
              <a:gd name="connsiteX26" fmla="*/ 3948913 w 6048796"/>
              <a:gd name="connsiteY26" fmla="*/ 797066 h 2294092"/>
              <a:gd name="connsiteX27" fmla="*/ 4058155 w 6048796"/>
              <a:gd name="connsiteY27" fmla="*/ 962952 h 2294092"/>
              <a:gd name="connsiteX28" fmla="*/ 4171444 w 6048796"/>
              <a:gd name="connsiteY28" fmla="*/ 1145023 h 2294092"/>
              <a:gd name="connsiteX29" fmla="*/ 4284732 w 6048796"/>
              <a:gd name="connsiteY29" fmla="*/ 1306864 h 2294092"/>
              <a:gd name="connsiteX30" fmla="*/ 4369699 w 6048796"/>
              <a:gd name="connsiteY30" fmla="*/ 1424198 h 2294092"/>
              <a:gd name="connsiteX31" fmla="*/ 4462757 w 6048796"/>
              <a:gd name="connsiteY31" fmla="*/ 1525349 h 2294092"/>
              <a:gd name="connsiteX32" fmla="*/ 4547723 w 6048796"/>
              <a:gd name="connsiteY32" fmla="*/ 1602223 h 2294092"/>
              <a:gd name="connsiteX33" fmla="*/ 4652920 w 6048796"/>
              <a:gd name="connsiteY33" fmla="*/ 1699328 h 2294092"/>
              <a:gd name="connsiteX34" fmla="*/ 4745978 w 6048796"/>
              <a:gd name="connsiteY34" fmla="*/ 1776202 h 2294092"/>
              <a:gd name="connsiteX35" fmla="*/ 4871405 w 6048796"/>
              <a:gd name="connsiteY35" fmla="*/ 1869260 h 2294092"/>
              <a:gd name="connsiteX36" fmla="*/ 4980647 w 6048796"/>
              <a:gd name="connsiteY36" fmla="*/ 1946135 h 2294092"/>
              <a:gd name="connsiteX37" fmla="*/ 5122258 w 6048796"/>
              <a:gd name="connsiteY37" fmla="*/ 2023009 h 2294092"/>
              <a:gd name="connsiteX38" fmla="*/ 5360973 w 6048796"/>
              <a:gd name="connsiteY38" fmla="*/ 2124159 h 2294092"/>
              <a:gd name="connsiteX39" fmla="*/ 5619918 w 6048796"/>
              <a:gd name="connsiteY39" fmla="*/ 2217218 h 2294092"/>
              <a:gd name="connsiteX40" fmla="*/ 5850541 w 6048796"/>
              <a:gd name="connsiteY40" fmla="*/ 2281954 h 2294092"/>
              <a:gd name="connsiteX41" fmla="*/ 6048796 w 6048796"/>
              <a:gd name="connsiteY41" fmla="*/ 2294092 h 2294092"/>
              <a:gd name="connsiteX42" fmla="*/ 0 w 6048796"/>
              <a:gd name="connsiteY42" fmla="*/ 2286000 h 2294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048796" h="2294092">
                <a:moveTo>
                  <a:pt x="0" y="2286000"/>
                </a:moveTo>
                <a:lnTo>
                  <a:pt x="331773" y="2269816"/>
                </a:lnTo>
                <a:lnTo>
                  <a:pt x="623086" y="2188896"/>
                </a:lnTo>
                <a:lnTo>
                  <a:pt x="926538" y="2083699"/>
                </a:lnTo>
                <a:lnTo>
                  <a:pt x="1161207" y="1942089"/>
                </a:lnTo>
                <a:lnTo>
                  <a:pt x="1359461" y="1816662"/>
                </a:lnTo>
                <a:lnTo>
                  <a:pt x="1537486" y="1683144"/>
                </a:lnTo>
                <a:lnTo>
                  <a:pt x="1687189" y="1529395"/>
                </a:lnTo>
                <a:lnTo>
                  <a:pt x="1808569" y="1391830"/>
                </a:lnTo>
                <a:lnTo>
                  <a:pt x="1986594" y="1145023"/>
                </a:lnTo>
                <a:lnTo>
                  <a:pt x="2128205" y="934630"/>
                </a:lnTo>
                <a:lnTo>
                  <a:pt x="2261723" y="736375"/>
                </a:lnTo>
                <a:lnTo>
                  <a:pt x="2395242" y="558351"/>
                </a:lnTo>
                <a:lnTo>
                  <a:pt x="2532807" y="384372"/>
                </a:lnTo>
                <a:lnTo>
                  <a:pt x="2633957" y="275129"/>
                </a:lnTo>
                <a:lnTo>
                  <a:pt x="2727015" y="186117"/>
                </a:lnTo>
                <a:lnTo>
                  <a:pt x="2828166" y="105197"/>
                </a:lnTo>
                <a:lnTo>
                  <a:pt x="2925270" y="44506"/>
                </a:lnTo>
                <a:lnTo>
                  <a:pt x="3018329" y="12138"/>
                </a:lnTo>
                <a:lnTo>
                  <a:pt x="3099249" y="0"/>
                </a:lnTo>
                <a:lnTo>
                  <a:pt x="3147801" y="12138"/>
                </a:lnTo>
                <a:lnTo>
                  <a:pt x="3244906" y="52598"/>
                </a:lnTo>
                <a:lnTo>
                  <a:pt x="3418884" y="165887"/>
                </a:lnTo>
                <a:lnTo>
                  <a:pt x="3544311" y="291313"/>
                </a:lnTo>
                <a:lnTo>
                  <a:pt x="3665692" y="432924"/>
                </a:lnTo>
                <a:lnTo>
                  <a:pt x="3811348" y="606903"/>
                </a:lnTo>
                <a:lnTo>
                  <a:pt x="3948913" y="797066"/>
                </a:lnTo>
                <a:lnTo>
                  <a:pt x="4058155" y="962952"/>
                </a:lnTo>
                <a:lnTo>
                  <a:pt x="4171444" y="1145023"/>
                </a:lnTo>
                <a:lnTo>
                  <a:pt x="4284732" y="1306864"/>
                </a:lnTo>
                <a:lnTo>
                  <a:pt x="4369699" y="1424198"/>
                </a:lnTo>
                <a:lnTo>
                  <a:pt x="4462757" y="1525349"/>
                </a:lnTo>
                <a:lnTo>
                  <a:pt x="4547723" y="1602223"/>
                </a:lnTo>
                <a:lnTo>
                  <a:pt x="4652920" y="1699328"/>
                </a:lnTo>
                <a:lnTo>
                  <a:pt x="4745978" y="1776202"/>
                </a:lnTo>
                <a:lnTo>
                  <a:pt x="4871405" y="1869260"/>
                </a:lnTo>
                <a:lnTo>
                  <a:pt x="4980647" y="1946135"/>
                </a:lnTo>
                <a:lnTo>
                  <a:pt x="5122258" y="2023009"/>
                </a:lnTo>
                <a:lnTo>
                  <a:pt x="5360973" y="2124159"/>
                </a:lnTo>
                <a:lnTo>
                  <a:pt x="5619918" y="2217218"/>
                </a:lnTo>
                <a:lnTo>
                  <a:pt x="5850541" y="2281954"/>
                </a:lnTo>
                <a:lnTo>
                  <a:pt x="6048796" y="2294092"/>
                </a:lnTo>
                <a:lnTo>
                  <a:pt x="0" y="2286000"/>
                </a:lnTo>
                <a:close/>
              </a:path>
            </a:pathLst>
          </a:custGeom>
          <a:solidFill>
            <a:schemeClr val="bg1">
              <a:lumMod val="8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dirty="0"/>
          </a:p>
        </p:txBody>
      </p:sp>
      <p:graphicFrame>
        <p:nvGraphicFramePr>
          <p:cNvPr id="29" name="Table 28">
            <a:extLst>
              <a:ext uri="{FF2B5EF4-FFF2-40B4-BE49-F238E27FC236}">
                <a16:creationId xmlns:a16="http://schemas.microsoft.com/office/drawing/2014/main" id="{90CF4C08-B04D-7049-A8D9-0C189818E1FC}"/>
              </a:ext>
            </a:extLst>
          </p:cNvPr>
          <p:cNvGraphicFramePr>
            <a:graphicFrameLocks noGrp="1"/>
          </p:cNvGraphicFramePr>
          <p:nvPr>
            <p:extLst>
              <p:ext uri="{D42A27DB-BD31-4B8C-83A1-F6EECF244321}">
                <p14:modId xmlns:p14="http://schemas.microsoft.com/office/powerpoint/2010/main" val="2231354094"/>
              </p:ext>
            </p:extLst>
          </p:nvPr>
        </p:nvGraphicFramePr>
        <p:xfrm>
          <a:off x="449080" y="1828796"/>
          <a:ext cx="8409168" cy="3238201"/>
        </p:xfrm>
        <a:graphic>
          <a:graphicData uri="http://schemas.openxmlformats.org/drawingml/2006/table">
            <a:tbl>
              <a:tblPr/>
              <a:tblGrid>
                <a:gridCol w="700764">
                  <a:extLst>
                    <a:ext uri="{9D8B030D-6E8A-4147-A177-3AD203B41FA5}">
                      <a16:colId xmlns:a16="http://schemas.microsoft.com/office/drawing/2014/main" val="1698380999"/>
                    </a:ext>
                  </a:extLst>
                </a:gridCol>
                <a:gridCol w="700764">
                  <a:extLst>
                    <a:ext uri="{9D8B030D-6E8A-4147-A177-3AD203B41FA5}">
                      <a16:colId xmlns:a16="http://schemas.microsoft.com/office/drawing/2014/main" val="1864953215"/>
                    </a:ext>
                  </a:extLst>
                </a:gridCol>
                <a:gridCol w="700764">
                  <a:extLst>
                    <a:ext uri="{9D8B030D-6E8A-4147-A177-3AD203B41FA5}">
                      <a16:colId xmlns:a16="http://schemas.microsoft.com/office/drawing/2014/main" val="702590777"/>
                    </a:ext>
                  </a:extLst>
                </a:gridCol>
                <a:gridCol w="700764">
                  <a:extLst>
                    <a:ext uri="{9D8B030D-6E8A-4147-A177-3AD203B41FA5}">
                      <a16:colId xmlns:a16="http://schemas.microsoft.com/office/drawing/2014/main" val="1793706062"/>
                    </a:ext>
                  </a:extLst>
                </a:gridCol>
                <a:gridCol w="700764">
                  <a:extLst>
                    <a:ext uri="{9D8B030D-6E8A-4147-A177-3AD203B41FA5}">
                      <a16:colId xmlns:a16="http://schemas.microsoft.com/office/drawing/2014/main" val="377631274"/>
                    </a:ext>
                  </a:extLst>
                </a:gridCol>
                <a:gridCol w="700764">
                  <a:extLst>
                    <a:ext uri="{9D8B030D-6E8A-4147-A177-3AD203B41FA5}">
                      <a16:colId xmlns:a16="http://schemas.microsoft.com/office/drawing/2014/main" val="2427501117"/>
                    </a:ext>
                  </a:extLst>
                </a:gridCol>
                <a:gridCol w="700764">
                  <a:extLst>
                    <a:ext uri="{9D8B030D-6E8A-4147-A177-3AD203B41FA5}">
                      <a16:colId xmlns:a16="http://schemas.microsoft.com/office/drawing/2014/main" val="2935473177"/>
                    </a:ext>
                  </a:extLst>
                </a:gridCol>
                <a:gridCol w="700764">
                  <a:extLst>
                    <a:ext uri="{9D8B030D-6E8A-4147-A177-3AD203B41FA5}">
                      <a16:colId xmlns:a16="http://schemas.microsoft.com/office/drawing/2014/main" val="2973672833"/>
                    </a:ext>
                  </a:extLst>
                </a:gridCol>
                <a:gridCol w="700764">
                  <a:extLst>
                    <a:ext uri="{9D8B030D-6E8A-4147-A177-3AD203B41FA5}">
                      <a16:colId xmlns:a16="http://schemas.microsoft.com/office/drawing/2014/main" val="3601096672"/>
                    </a:ext>
                  </a:extLst>
                </a:gridCol>
                <a:gridCol w="700764">
                  <a:extLst>
                    <a:ext uri="{9D8B030D-6E8A-4147-A177-3AD203B41FA5}">
                      <a16:colId xmlns:a16="http://schemas.microsoft.com/office/drawing/2014/main" val="2007312231"/>
                    </a:ext>
                  </a:extLst>
                </a:gridCol>
                <a:gridCol w="700764">
                  <a:extLst>
                    <a:ext uri="{9D8B030D-6E8A-4147-A177-3AD203B41FA5}">
                      <a16:colId xmlns:a16="http://schemas.microsoft.com/office/drawing/2014/main" val="1863679451"/>
                    </a:ext>
                  </a:extLst>
                </a:gridCol>
                <a:gridCol w="700764">
                  <a:extLst>
                    <a:ext uri="{9D8B030D-6E8A-4147-A177-3AD203B41FA5}">
                      <a16:colId xmlns:a16="http://schemas.microsoft.com/office/drawing/2014/main" val="2467726148"/>
                    </a:ext>
                  </a:extLst>
                </a:gridCol>
              </a:tblGrid>
              <a:tr h="179553">
                <a:tc>
                  <a:txBody>
                    <a:bodyPr/>
                    <a:lstStyle/>
                    <a:p>
                      <a:pPr algn="ctr" fontAlgn="b"/>
                      <a:r>
                        <a:rPr lang="en-US" sz="1000" b="0" i="0" u="none" strike="noStrike" dirty="0">
                          <a:solidFill>
                            <a:srgbClr val="000000"/>
                          </a:solidFill>
                          <a:effectLst/>
                          <a:latin typeface="+mn-lt"/>
                        </a:rPr>
                        <a:t> </a:t>
                      </a:r>
                    </a:p>
                  </a:txBody>
                  <a:tcPr marL="9525" marR="9525" marT="9525" marB="0" anchor="b">
                    <a:lnL>
                      <a:noFill/>
                    </a:lnL>
                    <a:lnR>
                      <a:noFill/>
                    </a:lnR>
                    <a:lnT>
                      <a:noFill/>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a:noFill/>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a:noFill/>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 </a:t>
                      </a:r>
                    </a:p>
                  </a:txBody>
                  <a:tcPr marL="9525" marR="9525" marT="9525" marB="0" anchor="b">
                    <a:lnL>
                      <a:noFill/>
                    </a:lnL>
                    <a:lnR>
                      <a:noFill/>
                    </a:lnR>
                    <a:lnT>
                      <a:noFill/>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a:noFill/>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a:noFill/>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mn-lt"/>
                        </a:rPr>
                        <a:t>2000</a:t>
                      </a:r>
                    </a:p>
                  </a:txBody>
                  <a:tcPr marL="9525" marR="9525" marT="9525" marB="0" anchor="b">
                    <a:lnL>
                      <a:noFill/>
                    </a:lnL>
                    <a:lnR>
                      <a:noFill/>
                    </a:lnR>
                    <a:lnT>
                      <a:noFill/>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6.03%</a:t>
                      </a:r>
                    </a:p>
                  </a:txBody>
                  <a:tcPr marL="9525" marR="9525" marT="9525" marB="0" anchor="b">
                    <a:lnL>
                      <a:noFill/>
                    </a:lnL>
                    <a:lnR>
                      <a:noFill/>
                    </a:lnR>
                    <a:lnT>
                      <a:noFill/>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a:noFill/>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a:noFill/>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a:noFill/>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a:noFill/>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385663178"/>
                  </a:ext>
                </a:extLst>
              </a:tr>
              <a:tr h="179553">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mn-lt"/>
                        </a:rPr>
                        <a:t>1997</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6.35%</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626058491"/>
                  </a:ext>
                </a:extLst>
              </a:tr>
              <a:tr h="179553">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mn-lt"/>
                        </a:rPr>
                        <a:t>1996</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6.44%</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2488151000"/>
                  </a:ext>
                </a:extLst>
              </a:tr>
              <a:tr h="179553">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007</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4.63%</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95</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6.57%</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2177520851"/>
                  </a:ext>
                </a:extLst>
              </a:tr>
              <a:tr h="179553">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006</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4.80%</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mn-lt"/>
                        </a:rPr>
                        <a:t>1994</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7.09%</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2876075595"/>
                  </a:ext>
                </a:extLst>
              </a:tr>
              <a:tr h="179553">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005</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4.29%</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92</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7.01%</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2821069980"/>
                  </a:ext>
                </a:extLst>
              </a:tr>
              <a:tr h="179553">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004</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4.27%</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91</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7.86%</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344581840"/>
                  </a:ext>
                </a:extLst>
              </a:tr>
              <a:tr h="179553">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19050" cap="flat" cmpd="sng" algn="ctr">
                      <a:solidFill>
                        <a:srgbClr val="050591"/>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19050" cap="flat" cmpd="sng" algn="ctr">
                      <a:solidFill>
                        <a:srgbClr val="050591"/>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003</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4.01%</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86</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7.67%</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24324499"/>
                  </a:ext>
                </a:extLst>
              </a:tr>
              <a:tr h="179553">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w="19050" cap="flat" cmpd="sng" algn="ctr">
                      <a:solidFill>
                        <a:srgbClr val="00206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018</a:t>
                      </a:r>
                    </a:p>
                  </a:txBody>
                  <a:tcPr marL="9525" marR="9525" marT="9525" marB="0" anchor="b">
                    <a:lnL w="19050" cap="flat" cmpd="sng" algn="ctr">
                      <a:solidFill>
                        <a:srgbClr val="002060"/>
                      </a:solidFill>
                      <a:prstDash val="solid"/>
                      <a:round/>
                      <a:headEnd type="none" w="med" len="med"/>
                      <a:tailEnd type="none" w="med" len="med"/>
                    </a:lnL>
                    <a:lnR>
                      <a:noFill/>
                    </a:lnR>
                    <a:lnT w="19050" cap="flat" cmpd="sng" algn="ctr">
                      <a:solidFill>
                        <a:srgbClr val="050591"/>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91%</a:t>
                      </a:r>
                    </a:p>
                  </a:txBody>
                  <a:tcPr marL="9525" marR="9525" marT="9525" marB="0" anchor="b">
                    <a:lnL>
                      <a:noFill/>
                    </a:lnL>
                    <a:lnR w="19050" cap="flat" cmpd="sng" algn="ctr">
                      <a:solidFill>
                        <a:srgbClr val="002060"/>
                      </a:solidFill>
                      <a:prstDash val="solid"/>
                      <a:round/>
                      <a:headEnd type="none" w="med" len="med"/>
                      <a:tailEnd type="none" w="med" len="med"/>
                    </a:lnR>
                    <a:lnT w="19050" cap="flat" cmpd="sng" algn="ctr">
                      <a:solidFill>
                        <a:srgbClr val="050591"/>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mn-lt"/>
                        </a:rPr>
                        <a:t>2002</a:t>
                      </a:r>
                    </a:p>
                  </a:txBody>
                  <a:tcPr marL="9525" marR="9525" marT="9525" marB="0" anchor="b">
                    <a:lnL w="19050" cap="flat" cmpd="sng" algn="ctr">
                      <a:solidFill>
                        <a:srgbClr val="002060"/>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4.61%</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77</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7.42%</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51971094"/>
                  </a:ext>
                </a:extLst>
              </a:tr>
              <a:tr h="179553">
                <a:tc>
                  <a:txBody>
                    <a:bodyPr/>
                    <a:lstStyle/>
                    <a:p>
                      <a:pPr algn="ctr" fontAlgn="b"/>
                      <a:r>
                        <a:rPr lang="en-US" sz="1000" b="0" i="0" u="none" strike="noStrike" dirty="0">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w="19050" cap="flat" cmpd="sng" algn="ctr">
                      <a:solidFill>
                        <a:srgbClr val="00206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017</a:t>
                      </a:r>
                    </a:p>
                  </a:txBody>
                  <a:tcPr marL="9525" marR="9525" marT="9525" marB="0" anchor="b">
                    <a:lnL w="19050" cap="flat" cmpd="sng" algn="ctr">
                      <a:solidFill>
                        <a:srgbClr val="002060"/>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mn-lt"/>
                        </a:rPr>
                        <a:t>2.33%</a:t>
                      </a:r>
                    </a:p>
                  </a:txBody>
                  <a:tcPr marL="9525" marR="9525" marT="9525" marB="0" anchor="b">
                    <a:lnL>
                      <a:noFill/>
                    </a:lnL>
                    <a:lnR w="19050" cap="flat" cmpd="sng" algn="ctr">
                      <a:solidFill>
                        <a:srgbClr val="00206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001</a:t>
                      </a:r>
                    </a:p>
                  </a:txBody>
                  <a:tcPr marL="9525" marR="9525" marT="9525" marB="0" anchor="b">
                    <a:lnL w="19050" cap="flat" cmpd="sng" algn="ctr">
                      <a:solidFill>
                        <a:srgbClr val="002060"/>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5.02%</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76</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7.61%</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2336790172"/>
                  </a:ext>
                </a:extLst>
              </a:tr>
              <a:tr h="179553">
                <a:tc>
                  <a:txBody>
                    <a:bodyPr/>
                    <a:lstStyle/>
                    <a:p>
                      <a:pPr algn="ctr" fontAlgn="b"/>
                      <a:r>
                        <a:rPr lang="en-US" sz="1000" b="0" i="0" u="none" strike="noStrike" dirty="0">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 </a:t>
                      </a:r>
                    </a:p>
                  </a:txBody>
                  <a:tcPr marL="9525" marR="9525" marT="9525" marB="0" anchor="b">
                    <a:lnL>
                      <a:noFill/>
                    </a:lnL>
                    <a:lnR w="19050" cap="flat" cmpd="sng" algn="ctr">
                      <a:solidFill>
                        <a:srgbClr val="00206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015</a:t>
                      </a:r>
                    </a:p>
                  </a:txBody>
                  <a:tcPr marL="9525" marR="9525" marT="9525" marB="0" anchor="b">
                    <a:lnL w="19050" cap="flat" cmpd="sng" algn="ctr">
                      <a:solidFill>
                        <a:srgbClr val="002060"/>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14%</a:t>
                      </a:r>
                    </a:p>
                  </a:txBody>
                  <a:tcPr marL="9525" marR="9525" marT="9525" marB="0" anchor="b">
                    <a:lnL>
                      <a:noFill/>
                    </a:lnL>
                    <a:lnR w="19050" cap="flat" cmpd="sng" algn="ctr">
                      <a:solidFill>
                        <a:srgbClr val="00206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mn-lt"/>
                        </a:rPr>
                        <a:t>1999</a:t>
                      </a:r>
                    </a:p>
                  </a:txBody>
                  <a:tcPr marL="9525" marR="9525" marT="9525" marB="0" anchor="b">
                    <a:lnL w="19050" cap="flat" cmpd="sng" algn="ctr">
                      <a:solidFill>
                        <a:srgbClr val="002060"/>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5.65%</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75</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7.99%</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4258504300"/>
                  </a:ext>
                </a:extLst>
              </a:tr>
              <a:tr h="179553">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 </a:t>
                      </a:r>
                    </a:p>
                  </a:txBody>
                  <a:tcPr marL="9525" marR="9525" marT="9525" marB="0" anchor="b">
                    <a:lnL>
                      <a:noFill/>
                    </a:lnL>
                    <a:lnR w="19050" cap="flat" cmpd="sng" algn="ctr">
                      <a:solidFill>
                        <a:srgbClr val="00206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014</a:t>
                      </a:r>
                    </a:p>
                  </a:txBody>
                  <a:tcPr marL="9525" marR="9525" marT="9525" marB="0" anchor="b">
                    <a:lnL w="19050" cap="flat" cmpd="sng" algn="ctr">
                      <a:solidFill>
                        <a:srgbClr val="002060"/>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54%</a:t>
                      </a:r>
                    </a:p>
                  </a:txBody>
                  <a:tcPr marL="9525" marR="9525" marT="9525" marB="0" anchor="b">
                    <a:lnL>
                      <a:noFill/>
                    </a:lnL>
                    <a:lnR w="19050" cap="flat" cmpd="sng" algn="ctr">
                      <a:solidFill>
                        <a:srgbClr val="00206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98</a:t>
                      </a:r>
                    </a:p>
                  </a:txBody>
                  <a:tcPr marL="9525" marR="9525" marT="9525" marB="0" anchor="b">
                    <a:lnL w="19050" cap="flat" cmpd="sng" algn="ctr">
                      <a:solidFill>
                        <a:srgbClr val="002060"/>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5.26%</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74</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7.56%</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mn-lt"/>
                        </a:rPr>
                        <a:t>1990</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8.55%</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mn-lt"/>
                        </a:rPr>
                        <a:t>1985</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10.62%</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870154268"/>
                  </a:ext>
                </a:extLst>
              </a:tr>
              <a:tr h="179553">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 </a:t>
                      </a:r>
                    </a:p>
                  </a:txBody>
                  <a:tcPr marL="9525" marR="9525" marT="9525" marB="0" anchor="b">
                    <a:lnL>
                      <a:noFill/>
                    </a:lnL>
                    <a:lnR w="19050" cap="flat" cmpd="sng" algn="ctr">
                      <a:solidFill>
                        <a:srgbClr val="00206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mn-lt"/>
                        </a:rPr>
                        <a:t>2013</a:t>
                      </a:r>
                    </a:p>
                  </a:txBody>
                  <a:tcPr marL="9525" marR="9525" marT="9525" marB="0" anchor="b">
                    <a:lnL w="19050" cap="flat" cmpd="sng" algn="ctr">
                      <a:solidFill>
                        <a:srgbClr val="002060"/>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35%</a:t>
                      </a:r>
                    </a:p>
                  </a:txBody>
                  <a:tcPr marL="9525" marR="9525" marT="9525" marB="0" anchor="b">
                    <a:lnL>
                      <a:noFill/>
                    </a:lnL>
                    <a:lnR w="19050" cap="flat" cmpd="sng" algn="ctr">
                      <a:solidFill>
                        <a:srgbClr val="00206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93</a:t>
                      </a:r>
                    </a:p>
                  </a:txBody>
                  <a:tcPr marL="9525" marR="9525" marT="9525" marB="0" anchor="b">
                    <a:lnL w="19050" cap="flat" cmpd="sng" algn="ctr">
                      <a:solidFill>
                        <a:srgbClr val="002060"/>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5.87%</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73</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6.85%</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mn-lt"/>
                        </a:rPr>
                        <a:t>1989</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8.49%</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84</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12.46%</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278094497"/>
                  </a:ext>
                </a:extLst>
              </a:tr>
              <a:tr h="179553">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w="19050" cap="flat" cmpd="sng" algn="ctr">
                      <a:solidFill>
                        <a:srgbClr val="00206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011</a:t>
                      </a:r>
                    </a:p>
                  </a:txBody>
                  <a:tcPr marL="9525" marR="9525" marT="9525" marB="0" anchor="b">
                    <a:lnL w="19050" cap="flat" cmpd="sng" algn="ctr">
                      <a:solidFill>
                        <a:srgbClr val="002060"/>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78%</a:t>
                      </a:r>
                    </a:p>
                  </a:txBody>
                  <a:tcPr marL="9525" marR="9525" marT="9525" marB="0" anchor="b">
                    <a:lnL>
                      <a:noFill/>
                    </a:lnL>
                    <a:lnR w="19050" cap="flat" cmpd="sng" algn="ctr">
                      <a:solidFill>
                        <a:srgbClr val="00206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68</a:t>
                      </a:r>
                    </a:p>
                  </a:txBody>
                  <a:tcPr marL="9525" marR="9525" marT="9525" marB="0" anchor="b">
                    <a:lnL w="19050" cap="flat" cmpd="sng" algn="ctr">
                      <a:solidFill>
                        <a:srgbClr val="002060"/>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5.64%</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72</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6.21%</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88</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8.85%</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mn-lt"/>
                        </a:rPr>
                        <a:t>1983</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11.10%</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3493746880"/>
                  </a:ext>
                </a:extLst>
              </a:tr>
              <a:tr h="179553">
                <a:tc>
                  <a:txBody>
                    <a:bodyPr/>
                    <a:lstStyle/>
                    <a:p>
                      <a:pPr algn="ctr" fontAlgn="b"/>
                      <a:r>
                        <a:rPr lang="en-US" sz="1000" b="0" i="0" u="none" strike="noStrike">
                          <a:solidFill>
                            <a:srgbClr val="000000"/>
                          </a:solidFill>
                          <a:effectLst/>
                          <a:latin typeface="+mn-lt"/>
                        </a:rPr>
                        <a:t> </a:t>
                      </a:r>
                    </a:p>
                  </a:txBody>
                  <a:tcPr marL="9525" marR="9525" marT="9525" marB="0" anchor="b">
                    <a:lnL>
                      <a:noFill/>
                    </a:lnL>
                    <a:lnR>
                      <a:noFill/>
                    </a:lnR>
                    <a:lnT w="6350" cap="flat" cmpd="sng" algn="ctr">
                      <a:solidFill>
                        <a:srgbClr val="808080"/>
                      </a:solidFill>
                      <a:prstDash val="solid"/>
                      <a:round/>
                      <a:headEnd type="none" w="med" len="med"/>
                      <a:tailEnd type="none" w="med" len="med"/>
                    </a:lnT>
                    <a:lnB w="19050" cap="flat" cmpd="sng" algn="ctr">
                      <a:solidFill>
                        <a:srgbClr val="050591"/>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9525" marR="9525" marT="9525" marB="0" anchor="b">
                    <a:lnL>
                      <a:noFill/>
                    </a:lnL>
                    <a:lnR w="19050" cap="flat" cmpd="sng" algn="ctr">
                      <a:solidFill>
                        <a:srgbClr val="002060"/>
                      </a:solidFill>
                      <a:prstDash val="solid"/>
                      <a:round/>
                      <a:headEnd type="none" w="med" len="med"/>
                      <a:tailEnd type="none" w="med" len="med"/>
                    </a:lnR>
                    <a:lnT w="6350" cap="flat" cmpd="sng" algn="ctr">
                      <a:solidFill>
                        <a:srgbClr val="808080"/>
                      </a:solidFill>
                      <a:prstDash val="solid"/>
                      <a:round/>
                      <a:headEnd type="none" w="med" len="med"/>
                      <a:tailEnd type="none" w="med" len="med"/>
                    </a:lnT>
                    <a:lnB w="19050" cap="flat" cmpd="sng" algn="ctr">
                      <a:solidFill>
                        <a:srgbClr val="050591"/>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010</a:t>
                      </a:r>
                    </a:p>
                  </a:txBody>
                  <a:tcPr marL="9525" marR="9525" marT="9525" marB="0" anchor="b">
                    <a:lnL w="19050" cap="flat" cmpd="sng" algn="ctr">
                      <a:solidFill>
                        <a:srgbClr val="002060"/>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3.22%</a:t>
                      </a:r>
                    </a:p>
                  </a:txBody>
                  <a:tcPr marL="9525" marR="9525" marT="9525" marB="0" anchor="b">
                    <a:lnL>
                      <a:noFill/>
                    </a:lnL>
                    <a:lnR w="19050" cap="flat" cmpd="sng" algn="ctr">
                      <a:solidFill>
                        <a:srgbClr val="00206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67</a:t>
                      </a:r>
                    </a:p>
                  </a:txBody>
                  <a:tcPr marL="9525" marR="9525" marT="9525" marB="0" anchor="b">
                    <a:lnL w="19050" cap="flat" cmpd="sng" algn="ctr">
                      <a:solidFill>
                        <a:srgbClr val="002060"/>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5.07%</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71</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6.16%</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mn-lt"/>
                        </a:rPr>
                        <a:t>1987</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8.39%</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82</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13.02%</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285616232"/>
                  </a:ext>
                </a:extLst>
              </a:tr>
              <a:tr h="179553">
                <a:tc>
                  <a:txBody>
                    <a:bodyPr/>
                    <a:lstStyle/>
                    <a:p>
                      <a:pPr algn="ctr" fontAlgn="b"/>
                      <a:r>
                        <a:rPr lang="en-US" sz="1000" b="1" i="0" u="none" strike="noStrike">
                          <a:solidFill>
                            <a:srgbClr val="000000"/>
                          </a:solidFill>
                          <a:effectLst/>
                          <a:latin typeface="+mn-lt"/>
                        </a:rPr>
                        <a:t>2016</a:t>
                      </a:r>
                    </a:p>
                  </a:txBody>
                  <a:tcPr marL="9525" marR="9525" marT="9525" marB="0" anchor="b">
                    <a:lnL w="19050" cap="flat" cmpd="sng" algn="ctr">
                      <a:solidFill>
                        <a:srgbClr val="050591"/>
                      </a:solidFill>
                      <a:prstDash val="solid"/>
                      <a:round/>
                      <a:headEnd type="none" w="med" len="med"/>
                      <a:tailEnd type="none" w="med" len="med"/>
                    </a:lnL>
                    <a:lnR>
                      <a:noFill/>
                    </a:lnR>
                    <a:lnT w="19050" cap="flat" cmpd="sng" algn="ctr">
                      <a:solidFill>
                        <a:srgbClr val="050591"/>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84%</a:t>
                      </a:r>
                    </a:p>
                  </a:txBody>
                  <a:tcPr marL="9525" marR="9525" marT="9525" marB="0" anchor="b">
                    <a:lnL>
                      <a:noFill/>
                    </a:lnL>
                    <a:lnR>
                      <a:noFill/>
                    </a:lnR>
                    <a:lnT w="19050" cap="flat" cmpd="sng" algn="ctr">
                      <a:solidFill>
                        <a:srgbClr val="050591"/>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009</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3.26%</a:t>
                      </a:r>
                    </a:p>
                  </a:txBody>
                  <a:tcPr marL="9525" marR="9525" marT="9525" marB="0" anchor="b">
                    <a:lnL>
                      <a:noFill/>
                    </a:lnL>
                    <a:lnR w="19050" cap="flat" cmpd="sng" algn="ctr">
                      <a:solidFill>
                        <a:srgbClr val="00206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66</a:t>
                      </a:r>
                    </a:p>
                  </a:txBody>
                  <a:tcPr marL="9525" marR="9525" marT="9525" marB="0" anchor="b">
                    <a:lnL w="19050" cap="flat" cmpd="sng" algn="ctr">
                      <a:solidFill>
                        <a:srgbClr val="002060"/>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4.93%</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mn-lt"/>
                        </a:rPr>
                        <a:t>1970</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7.35%</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79</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9.43%</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81</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13.92%</a:t>
                      </a:r>
                    </a:p>
                  </a:txBody>
                  <a:tcPr marL="9525" marR="9525" marT="9525" marB="0" anchor="b">
                    <a:lnL>
                      <a:noFill/>
                    </a:lnL>
                    <a:lnR>
                      <a:noFill/>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2513034679"/>
                  </a:ext>
                </a:extLst>
              </a:tr>
              <a:tr h="179553">
                <a:tc>
                  <a:txBody>
                    <a:bodyPr/>
                    <a:lstStyle/>
                    <a:p>
                      <a:pPr algn="ctr" fontAlgn="b"/>
                      <a:r>
                        <a:rPr lang="en-US" sz="1000" b="1" i="0" u="none" strike="noStrike">
                          <a:solidFill>
                            <a:srgbClr val="000000"/>
                          </a:solidFill>
                          <a:effectLst/>
                          <a:latin typeface="+mn-lt"/>
                        </a:rPr>
                        <a:t>2012</a:t>
                      </a:r>
                    </a:p>
                  </a:txBody>
                  <a:tcPr marL="9525" marR="9525" marT="9525" marB="0" anchor="b">
                    <a:lnL w="19050" cap="flat" cmpd="sng" algn="ctr">
                      <a:solidFill>
                        <a:srgbClr val="050591"/>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w="19050" cap="flat" cmpd="sng" algn="ctr">
                      <a:solidFill>
                        <a:srgbClr val="050591"/>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81%</a:t>
                      </a:r>
                    </a:p>
                  </a:txBody>
                  <a:tcPr marL="9525" marR="9525" marT="9525" marB="0" anchor="b">
                    <a:lnL>
                      <a:noFill/>
                    </a:lnL>
                    <a:lnR>
                      <a:noFill/>
                    </a:lnR>
                    <a:lnT w="6350" cap="flat" cmpd="sng" algn="ctr">
                      <a:solidFill>
                        <a:srgbClr val="808080"/>
                      </a:solidFill>
                      <a:prstDash val="solid"/>
                      <a:round/>
                      <a:headEnd type="none" w="med" len="med"/>
                      <a:tailEnd type="none" w="med" len="med"/>
                    </a:lnT>
                    <a:lnB w="19050" cap="flat" cmpd="sng" algn="ctr">
                      <a:solidFill>
                        <a:srgbClr val="050591"/>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2008</a:t>
                      </a:r>
                    </a:p>
                  </a:txBody>
                  <a:tcPr marL="9525" marR="9525" marT="9525" marB="0" anchor="b">
                    <a:lnL>
                      <a:noFill/>
                    </a:lnL>
                    <a:lnR>
                      <a:noFill/>
                    </a:lnR>
                    <a:lnT w="6350" cap="flat" cmpd="sng" algn="ctr">
                      <a:solidFill>
                        <a:srgbClr val="808080"/>
                      </a:solidFill>
                      <a:prstDash val="solid"/>
                      <a:round/>
                      <a:headEnd type="none" w="med" len="med"/>
                      <a:tailEnd type="none" w="med" len="med"/>
                    </a:lnT>
                    <a:lnB w="19050" cap="flat" cmpd="sng" algn="ctr">
                      <a:solidFill>
                        <a:srgbClr val="050591"/>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3.66%</a:t>
                      </a:r>
                    </a:p>
                  </a:txBody>
                  <a:tcPr marL="9525" marR="9525" marT="9525" marB="0" anchor="b">
                    <a:lnL>
                      <a:noFill/>
                    </a:lnL>
                    <a:lnR w="19050" cap="flat" cmpd="sng" algn="ctr">
                      <a:solidFill>
                        <a:srgbClr val="002060"/>
                      </a:solidFill>
                      <a:prstDash val="solid"/>
                      <a:round/>
                      <a:headEnd type="none" w="med" len="med"/>
                      <a:tailEnd type="none" w="med" len="med"/>
                    </a:lnR>
                    <a:lnT w="6350" cap="flat" cmpd="sng" algn="ctr">
                      <a:solidFill>
                        <a:srgbClr val="808080"/>
                      </a:solidFill>
                      <a:prstDash val="solid"/>
                      <a:round/>
                      <a:headEnd type="none" w="med" len="med"/>
                      <a:tailEnd type="none" w="med" len="med"/>
                    </a:lnT>
                    <a:lnB w="19050" cap="flat" cmpd="sng" algn="ctr">
                      <a:solidFill>
                        <a:srgbClr val="050591"/>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65</a:t>
                      </a:r>
                    </a:p>
                  </a:txBody>
                  <a:tcPr marL="9525" marR="9525" marT="9525" marB="0" anchor="b">
                    <a:lnL w="19050" cap="flat" cmpd="sng" algn="ctr">
                      <a:solidFill>
                        <a:srgbClr val="002060"/>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w="19050" cap="flat" cmpd="sng" algn="ctr">
                      <a:solidFill>
                        <a:srgbClr val="050591"/>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4.28%</a:t>
                      </a:r>
                    </a:p>
                  </a:txBody>
                  <a:tcPr marL="9525" marR="9525" marT="9525" marB="0" anchor="b">
                    <a:lnL>
                      <a:noFill/>
                    </a:lnL>
                    <a:lnR>
                      <a:noFill/>
                    </a:lnR>
                    <a:lnT w="6350" cap="flat" cmpd="sng" algn="ctr">
                      <a:solidFill>
                        <a:srgbClr val="808080"/>
                      </a:solidFill>
                      <a:prstDash val="solid"/>
                      <a:round/>
                      <a:headEnd type="none" w="med" len="med"/>
                      <a:tailEnd type="none" w="med" len="med"/>
                    </a:lnT>
                    <a:lnB w="19050" cap="flat" cmpd="sng" algn="ctr">
                      <a:solidFill>
                        <a:srgbClr val="050591"/>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mn-lt"/>
                        </a:rPr>
                        <a:t>1969</a:t>
                      </a:r>
                    </a:p>
                  </a:txBody>
                  <a:tcPr marL="9525" marR="9525" marT="9525" marB="0" anchor="b">
                    <a:lnL>
                      <a:noFill/>
                    </a:lnL>
                    <a:lnR>
                      <a:noFill/>
                    </a:lnR>
                    <a:lnT w="6350" cap="flat" cmpd="sng" algn="ctr">
                      <a:solidFill>
                        <a:srgbClr val="808080"/>
                      </a:solidFill>
                      <a:prstDash val="solid"/>
                      <a:round/>
                      <a:headEnd type="none" w="med" len="med"/>
                      <a:tailEnd type="none" w="med" len="med"/>
                    </a:lnT>
                    <a:lnB w="19050" cap="flat" cmpd="sng" algn="ctr">
                      <a:solidFill>
                        <a:srgbClr val="050591"/>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6.67%</a:t>
                      </a:r>
                    </a:p>
                  </a:txBody>
                  <a:tcPr marL="9525" marR="9525" marT="9525" marB="0" anchor="b">
                    <a:lnL>
                      <a:noFill/>
                    </a:lnL>
                    <a:lnR>
                      <a:noFill/>
                    </a:lnR>
                    <a:lnT w="6350" cap="flat" cmpd="sng" algn="ctr">
                      <a:solidFill>
                        <a:srgbClr val="808080"/>
                      </a:solidFill>
                      <a:prstDash val="solid"/>
                      <a:round/>
                      <a:headEnd type="none" w="med" len="med"/>
                      <a:tailEnd type="none" w="med" len="med"/>
                    </a:lnT>
                    <a:lnB w="19050" cap="flat" cmpd="sng" algn="ctr">
                      <a:solidFill>
                        <a:srgbClr val="050591"/>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78</a:t>
                      </a:r>
                    </a:p>
                  </a:txBody>
                  <a:tcPr marL="9525" marR="9525" marT="9525" marB="0" anchor="b">
                    <a:lnL>
                      <a:noFill/>
                    </a:lnL>
                    <a:lnR>
                      <a:noFill/>
                    </a:lnR>
                    <a:lnT w="6350" cap="flat" cmpd="sng" algn="ctr">
                      <a:solidFill>
                        <a:srgbClr val="808080"/>
                      </a:solidFill>
                      <a:prstDash val="solid"/>
                      <a:round/>
                      <a:headEnd type="none" w="med" len="med"/>
                      <a:tailEnd type="none" w="med" len="med"/>
                    </a:lnT>
                    <a:lnB w="19050" cap="flat" cmpd="sng" algn="ctr">
                      <a:solidFill>
                        <a:srgbClr val="050591"/>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8.41%</a:t>
                      </a:r>
                    </a:p>
                  </a:txBody>
                  <a:tcPr marL="9525" marR="9525" marT="9525" marB="0" anchor="b">
                    <a:lnL>
                      <a:noFill/>
                    </a:lnL>
                    <a:lnR>
                      <a:noFill/>
                    </a:lnR>
                    <a:lnT w="6350" cap="flat" cmpd="sng" algn="ctr">
                      <a:solidFill>
                        <a:srgbClr val="808080"/>
                      </a:solidFill>
                      <a:prstDash val="solid"/>
                      <a:round/>
                      <a:headEnd type="none" w="med" len="med"/>
                      <a:tailEnd type="none" w="med" len="med"/>
                    </a:lnT>
                    <a:lnB w="19050" cap="flat" cmpd="sng" algn="ctr">
                      <a:solidFill>
                        <a:srgbClr val="050591"/>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mn-lt"/>
                        </a:rPr>
                        <a:t>1980</a:t>
                      </a:r>
                    </a:p>
                  </a:txBody>
                  <a:tcPr marL="9525" marR="9525" marT="9525" marB="0" anchor="b">
                    <a:lnL>
                      <a:noFill/>
                    </a:lnL>
                    <a:lnR>
                      <a:noFill/>
                    </a:lnR>
                    <a:lnT w="6350" cap="flat" cmpd="sng" algn="ctr">
                      <a:solidFill>
                        <a:srgbClr val="808080"/>
                      </a:solidFill>
                      <a:prstDash val="solid"/>
                      <a:round/>
                      <a:headEnd type="none" w="med" len="med"/>
                      <a:tailEnd type="none" w="med" len="med"/>
                    </a:lnT>
                    <a:lnB w="19050" cap="flat" cmpd="sng" algn="ctr">
                      <a:solidFill>
                        <a:srgbClr val="050591"/>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11.43%</a:t>
                      </a:r>
                    </a:p>
                  </a:txBody>
                  <a:tcPr marL="9525" marR="9525" marT="9525" marB="0" anchor="b">
                    <a:lnL>
                      <a:noFill/>
                    </a:lnL>
                    <a:lnR>
                      <a:noFill/>
                    </a:lnR>
                    <a:lnT w="6350" cap="flat" cmpd="sng" algn="ctr">
                      <a:solidFill>
                        <a:srgbClr val="808080"/>
                      </a:solidFill>
                      <a:prstDash val="solid"/>
                      <a:round/>
                      <a:headEnd type="none" w="med" len="med"/>
                      <a:tailEnd type="none" w="med" len="med"/>
                    </a:lnT>
                    <a:lnB w="19050" cap="flat" cmpd="sng" algn="ctr">
                      <a:solidFill>
                        <a:srgbClr val="050591"/>
                      </a:solidFill>
                      <a:prstDash val="solid"/>
                      <a:round/>
                      <a:headEnd type="none" w="med" len="med"/>
                      <a:tailEnd type="none" w="med" len="med"/>
                    </a:lnB>
                  </a:tcPr>
                </a:tc>
                <a:extLst>
                  <a:ext uri="{0D108BD9-81ED-4DB2-BD59-A6C34878D82A}">
                    <a16:rowId xmlns:a16="http://schemas.microsoft.com/office/drawing/2014/main" val="1299183691"/>
                  </a:ext>
                </a:extLst>
              </a:tr>
              <a:tr h="185800">
                <a:tc gridSpan="2">
                  <a:txBody>
                    <a:bodyPr/>
                    <a:lstStyle/>
                    <a:p>
                      <a:pPr algn="ctr" fontAlgn="ctr"/>
                      <a:r>
                        <a:rPr lang="en-US" sz="1000" b="1" i="0" u="none" strike="noStrike" dirty="0">
                          <a:solidFill>
                            <a:srgbClr val="FFFFFF"/>
                          </a:solidFill>
                          <a:effectLst/>
                          <a:latin typeface="Calibri" panose="020F0502020204030204" pitchFamily="34" charset="0"/>
                        </a:rPr>
                        <a:t>&lt; 2%</a:t>
                      </a:r>
                    </a:p>
                  </a:txBody>
                  <a:tcPr marL="9525" marR="9525" marT="9525" marB="0" anchor="ctr">
                    <a:lnL w="19050" cap="flat" cmpd="sng" algn="ctr">
                      <a:solidFill>
                        <a:srgbClr val="050591"/>
                      </a:solidFill>
                      <a:prstDash val="solid"/>
                      <a:round/>
                      <a:headEnd type="none" w="med" len="med"/>
                      <a:tailEnd type="none" w="med" len="med"/>
                    </a:lnL>
                    <a:lnR>
                      <a:noFill/>
                    </a:lnR>
                    <a:lnT w="19050" cap="flat" cmpd="sng" algn="ctr">
                      <a:solidFill>
                        <a:srgbClr val="050591"/>
                      </a:solidFill>
                      <a:prstDash val="solid"/>
                      <a:round/>
                      <a:headEnd type="none" w="med" len="med"/>
                      <a:tailEnd type="none" w="med" len="med"/>
                    </a:lnT>
                    <a:lnB w="19050" cap="flat" cmpd="sng" algn="ctr">
                      <a:solidFill>
                        <a:srgbClr val="050591"/>
                      </a:solidFill>
                      <a:prstDash val="solid"/>
                      <a:round/>
                      <a:headEnd type="none" w="med" len="med"/>
                      <a:tailEnd type="none" w="med" len="med"/>
                    </a:lnB>
                    <a:solidFill>
                      <a:srgbClr val="050591"/>
                    </a:solidFill>
                  </a:tcPr>
                </a:tc>
                <a:tc hMerge="1">
                  <a:txBody>
                    <a:bodyPr/>
                    <a:lstStyle/>
                    <a:p>
                      <a:endParaRPr lang="en-US"/>
                    </a:p>
                  </a:txBody>
                  <a:tcPr/>
                </a:tc>
                <a:tc gridSpan="2">
                  <a:txBody>
                    <a:bodyPr/>
                    <a:lstStyle/>
                    <a:p>
                      <a:pPr algn="ctr" fontAlgn="ctr"/>
                      <a:r>
                        <a:rPr lang="en-US" sz="1000" b="1" i="0" u="none" strike="noStrike">
                          <a:solidFill>
                            <a:srgbClr val="FFFFFF"/>
                          </a:solidFill>
                          <a:effectLst/>
                          <a:latin typeface="Calibri" panose="020F0502020204030204" pitchFamily="34" charset="0"/>
                        </a:rPr>
                        <a:t>2%-4%</a:t>
                      </a:r>
                    </a:p>
                  </a:txBody>
                  <a:tcPr marL="9525" marR="9525" marT="9525" marB="0" anchor="ctr">
                    <a:lnL>
                      <a:noFill/>
                    </a:lnL>
                    <a:lnR>
                      <a:noFill/>
                    </a:lnR>
                    <a:lnT w="19050" cap="flat" cmpd="sng" algn="ctr">
                      <a:solidFill>
                        <a:srgbClr val="050591"/>
                      </a:solidFill>
                      <a:prstDash val="solid"/>
                      <a:round/>
                      <a:headEnd type="none" w="med" len="med"/>
                      <a:tailEnd type="none" w="med" len="med"/>
                    </a:lnT>
                    <a:lnB w="19050" cap="flat" cmpd="sng" algn="ctr">
                      <a:solidFill>
                        <a:srgbClr val="050591"/>
                      </a:solidFill>
                      <a:prstDash val="solid"/>
                      <a:round/>
                      <a:headEnd type="none" w="med" len="med"/>
                      <a:tailEnd type="none" w="med" len="med"/>
                    </a:lnB>
                    <a:solidFill>
                      <a:srgbClr val="050591"/>
                    </a:solidFill>
                  </a:tcPr>
                </a:tc>
                <a:tc hMerge="1">
                  <a:txBody>
                    <a:bodyPr/>
                    <a:lstStyle/>
                    <a:p>
                      <a:endParaRPr lang="en-US"/>
                    </a:p>
                  </a:txBody>
                  <a:tcPr/>
                </a:tc>
                <a:tc gridSpan="2">
                  <a:txBody>
                    <a:bodyPr/>
                    <a:lstStyle/>
                    <a:p>
                      <a:pPr algn="ctr" fontAlgn="ctr"/>
                      <a:r>
                        <a:rPr lang="en-US" sz="1000" b="1" i="0" u="none" strike="noStrike">
                          <a:solidFill>
                            <a:srgbClr val="FFFFFF"/>
                          </a:solidFill>
                          <a:effectLst/>
                          <a:latin typeface="Calibri" panose="020F0502020204030204" pitchFamily="34" charset="0"/>
                        </a:rPr>
                        <a:t>4%-6%</a:t>
                      </a:r>
                    </a:p>
                  </a:txBody>
                  <a:tcPr marL="9525" marR="9525" marT="9525" marB="0" anchor="ctr">
                    <a:lnL>
                      <a:noFill/>
                    </a:lnL>
                    <a:lnR>
                      <a:noFill/>
                    </a:lnR>
                    <a:lnT w="19050" cap="flat" cmpd="sng" algn="ctr">
                      <a:solidFill>
                        <a:srgbClr val="050591"/>
                      </a:solidFill>
                      <a:prstDash val="solid"/>
                      <a:round/>
                      <a:headEnd type="none" w="med" len="med"/>
                      <a:tailEnd type="none" w="med" len="med"/>
                    </a:lnT>
                    <a:lnB w="19050" cap="flat" cmpd="sng" algn="ctr">
                      <a:solidFill>
                        <a:srgbClr val="050591"/>
                      </a:solidFill>
                      <a:prstDash val="solid"/>
                      <a:round/>
                      <a:headEnd type="none" w="med" len="med"/>
                      <a:tailEnd type="none" w="med" len="med"/>
                    </a:lnB>
                    <a:solidFill>
                      <a:srgbClr val="050591"/>
                    </a:solidFill>
                  </a:tcPr>
                </a:tc>
                <a:tc hMerge="1">
                  <a:txBody>
                    <a:bodyPr/>
                    <a:lstStyle/>
                    <a:p>
                      <a:endParaRPr lang="en-US"/>
                    </a:p>
                  </a:txBody>
                  <a:tcPr/>
                </a:tc>
                <a:tc gridSpan="2">
                  <a:txBody>
                    <a:bodyPr/>
                    <a:lstStyle/>
                    <a:p>
                      <a:pPr algn="ctr" fontAlgn="ctr"/>
                      <a:r>
                        <a:rPr lang="en-US" sz="1000" b="1" i="0" u="none" strike="noStrike" dirty="0">
                          <a:solidFill>
                            <a:srgbClr val="FFFFFF"/>
                          </a:solidFill>
                          <a:effectLst/>
                          <a:latin typeface="Calibri" panose="020F0502020204030204" pitchFamily="34" charset="0"/>
                        </a:rPr>
                        <a:t>6%-8%</a:t>
                      </a:r>
                    </a:p>
                  </a:txBody>
                  <a:tcPr marL="9525" marR="9525" marT="9525" marB="0" anchor="ctr">
                    <a:lnL>
                      <a:noFill/>
                    </a:lnL>
                    <a:lnR>
                      <a:noFill/>
                    </a:lnR>
                    <a:lnT w="19050" cap="flat" cmpd="sng" algn="ctr">
                      <a:solidFill>
                        <a:srgbClr val="050591"/>
                      </a:solidFill>
                      <a:prstDash val="solid"/>
                      <a:round/>
                      <a:headEnd type="none" w="med" len="med"/>
                      <a:tailEnd type="none" w="med" len="med"/>
                    </a:lnT>
                    <a:lnB w="19050" cap="flat" cmpd="sng" algn="ctr">
                      <a:solidFill>
                        <a:srgbClr val="050591"/>
                      </a:solidFill>
                      <a:prstDash val="solid"/>
                      <a:round/>
                      <a:headEnd type="none" w="med" len="med"/>
                      <a:tailEnd type="none" w="med" len="med"/>
                    </a:lnB>
                    <a:solidFill>
                      <a:srgbClr val="050591"/>
                    </a:solidFill>
                  </a:tcPr>
                </a:tc>
                <a:tc hMerge="1">
                  <a:txBody>
                    <a:bodyPr/>
                    <a:lstStyle/>
                    <a:p>
                      <a:endParaRPr lang="en-US"/>
                    </a:p>
                  </a:txBody>
                  <a:tcPr/>
                </a:tc>
                <a:tc gridSpan="2">
                  <a:txBody>
                    <a:bodyPr/>
                    <a:lstStyle/>
                    <a:p>
                      <a:pPr algn="ctr" fontAlgn="ctr"/>
                      <a:r>
                        <a:rPr lang="en-US" sz="1000" b="1" i="0" u="none" strike="noStrike" dirty="0">
                          <a:solidFill>
                            <a:srgbClr val="FFFFFF"/>
                          </a:solidFill>
                          <a:effectLst/>
                          <a:latin typeface="Calibri" panose="020F0502020204030204" pitchFamily="34" charset="0"/>
                        </a:rPr>
                        <a:t>8%-10%</a:t>
                      </a:r>
                    </a:p>
                  </a:txBody>
                  <a:tcPr marL="9525" marR="9525" marT="9525" marB="0" anchor="ctr">
                    <a:lnL>
                      <a:noFill/>
                    </a:lnL>
                    <a:lnR>
                      <a:noFill/>
                    </a:lnR>
                    <a:lnT w="19050" cap="flat" cmpd="sng" algn="ctr">
                      <a:solidFill>
                        <a:srgbClr val="050591"/>
                      </a:solidFill>
                      <a:prstDash val="solid"/>
                      <a:round/>
                      <a:headEnd type="none" w="med" len="med"/>
                      <a:tailEnd type="none" w="med" len="med"/>
                    </a:lnT>
                    <a:lnB w="19050" cap="flat" cmpd="sng" algn="ctr">
                      <a:solidFill>
                        <a:srgbClr val="050591"/>
                      </a:solidFill>
                      <a:prstDash val="solid"/>
                      <a:round/>
                      <a:headEnd type="none" w="med" len="med"/>
                      <a:tailEnd type="none" w="med" len="med"/>
                    </a:lnB>
                    <a:solidFill>
                      <a:srgbClr val="050591"/>
                    </a:solidFill>
                  </a:tcPr>
                </a:tc>
                <a:tc hMerge="1">
                  <a:txBody>
                    <a:bodyPr/>
                    <a:lstStyle/>
                    <a:p>
                      <a:endParaRPr lang="en-US"/>
                    </a:p>
                  </a:txBody>
                  <a:tcPr/>
                </a:tc>
                <a:tc gridSpan="2">
                  <a:txBody>
                    <a:bodyPr/>
                    <a:lstStyle/>
                    <a:p>
                      <a:pPr algn="ctr" fontAlgn="ctr"/>
                      <a:r>
                        <a:rPr lang="en-US" sz="1000" b="1" i="0" u="none" strike="noStrike" dirty="0">
                          <a:solidFill>
                            <a:srgbClr val="FFFFFF"/>
                          </a:solidFill>
                          <a:effectLst/>
                          <a:latin typeface="Calibri" panose="020F0502020204030204" pitchFamily="34" charset="0"/>
                        </a:rPr>
                        <a:t>&gt; 10%</a:t>
                      </a:r>
                    </a:p>
                  </a:txBody>
                  <a:tcPr marL="9525" marR="9525" marT="9525" marB="0" anchor="ctr">
                    <a:lnL>
                      <a:noFill/>
                    </a:lnL>
                    <a:lnR w="19050" cap="flat" cmpd="sng" algn="ctr">
                      <a:solidFill>
                        <a:srgbClr val="050591"/>
                      </a:solidFill>
                      <a:prstDash val="solid"/>
                      <a:round/>
                      <a:headEnd type="none" w="med" len="med"/>
                      <a:tailEnd type="none" w="med" len="med"/>
                    </a:lnR>
                    <a:lnT w="19050" cap="flat" cmpd="sng" algn="ctr">
                      <a:solidFill>
                        <a:srgbClr val="050591"/>
                      </a:solidFill>
                      <a:prstDash val="solid"/>
                      <a:round/>
                      <a:headEnd type="none" w="med" len="med"/>
                      <a:tailEnd type="none" w="med" len="med"/>
                    </a:lnT>
                    <a:lnB w="19050" cap="flat" cmpd="sng" algn="ctr">
                      <a:solidFill>
                        <a:srgbClr val="050591"/>
                      </a:solidFill>
                      <a:prstDash val="solid"/>
                      <a:round/>
                      <a:headEnd type="none" w="med" len="med"/>
                      <a:tailEnd type="none" w="med" len="med"/>
                    </a:lnB>
                    <a:solidFill>
                      <a:srgbClr val="050591"/>
                    </a:solidFill>
                  </a:tcPr>
                </a:tc>
                <a:tc hMerge="1">
                  <a:txBody>
                    <a:bodyPr/>
                    <a:lstStyle/>
                    <a:p>
                      <a:endParaRPr lang="en-US"/>
                    </a:p>
                  </a:txBody>
                  <a:tcPr/>
                </a:tc>
                <a:extLst>
                  <a:ext uri="{0D108BD9-81ED-4DB2-BD59-A6C34878D82A}">
                    <a16:rowId xmlns:a16="http://schemas.microsoft.com/office/drawing/2014/main" val="1364076446"/>
                  </a:ext>
                </a:extLst>
              </a:tr>
            </a:tbl>
          </a:graphicData>
        </a:graphic>
      </p:graphicFrame>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21</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60296"/>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7925589"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Interest Rates &amp; Inflation: Historically</a:t>
            </a:r>
          </a:p>
        </p:txBody>
      </p:sp>
      <p:sp>
        <p:nvSpPr>
          <p:cNvPr id="20" name="Text Placeholder 4">
            <a:extLst>
              <a:ext uri="{FF2B5EF4-FFF2-40B4-BE49-F238E27FC236}">
                <a16:creationId xmlns:a16="http://schemas.microsoft.com/office/drawing/2014/main" id="{CA15F4B7-F765-7143-B3AF-BED3A30FD0C3}"/>
              </a:ext>
            </a:extLst>
          </p:cNvPr>
          <p:cNvSpPr txBox="1">
            <a:spLocks/>
          </p:cNvSpPr>
          <p:nvPr/>
        </p:nvSpPr>
        <p:spPr>
          <a:xfrm>
            <a:off x="340081" y="1329539"/>
            <a:ext cx="6267437" cy="387915"/>
          </a:xfrm>
          <a:prstGeom prst="rect">
            <a:avLst/>
          </a:prstGeom>
        </p:spPr>
        <p:style>
          <a:lnRef idx="0">
            <a:scrgbClr r="0" g="0" b="0"/>
          </a:lnRef>
          <a:fillRef idx="0">
            <a:scrgbClr r="0" g="0" b="0"/>
          </a:fillRef>
          <a:effectRef idx="0">
            <a:scrgbClr r="0" g="0" b="0"/>
          </a:effectRef>
          <a:fontRef idx="major"/>
        </p:style>
        <p:txBody>
          <a:bodyPr>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nSpc>
                <a:spcPct val="100000"/>
              </a:lnSpc>
              <a:spcBef>
                <a:spcPts val="0"/>
              </a:spcBef>
            </a:pPr>
            <a:r>
              <a:rPr lang="en-US" sz="1400" b="1" dirty="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rPr>
              <a:t>Annual 10-Year Treasury Yields 1965 – 2018</a:t>
            </a:r>
          </a:p>
        </p:txBody>
      </p:sp>
      <p:sp>
        <p:nvSpPr>
          <p:cNvPr id="21" name="TextBox 5">
            <a:extLst>
              <a:ext uri="{FF2B5EF4-FFF2-40B4-BE49-F238E27FC236}">
                <a16:creationId xmlns:a16="http://schemas.microsoft.com/office/drawing/2014/main" id="{47C3F580-06B2-2D4C-8039-BC86D21E58B2}"/>
              </a:ext>
            </a:extLst>
          </p:cNvPr>
          <p:cNvSpPr txBox="1"/>
          <p:nvPr/>
        </p:nvSpPr>
        <p:spPr>
          <a:xfrm>
            <a:off x="442157" y="5869370"/>
            <a:ext cx="7144894" cy="246221"/>
          </a:xfrm>
          <a:prstGeom prst="rect">
            <a:avLst/>
          </a:prstGeom>
          <a:noFill/>
        </p:spPr>
        <p:style>
          <a:lnRef idx="0">
            <a:scrgbClr r="0" g="0" b="0"/>
          </a:lnRef>
          <a:fillRef idx="0">
            <a:scrgbClr r="0" g="0" b="0"/>
          </a:fillRef>
          <a:effectRef idx="0">
            <a:scrgbClr r="0" g="0" b="0"/>
          </a:effectRef>
          <a:fontRef idx="major"/>
        </p:style>
        <p:txBody>
          <a:bodyPr wrap="squar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defTabSz="914400" fontAlgn="base">
              <a:spcBef>
                <a:spcPct val="0"/>
              </a:spcBef>
              <a:spcAft>
                <a:spcPct val="0"/>
              </a:spcAft>
              <a:defRPr/>
            </a:pPr>
            <a:r>
              <a:rPr kumimoji="0" lang="en-US" sz="800" b="0" i="0" strike="noStrike" kern="1200" cap="none" spc="0" normalizeH="0" baseline="0" noProof="0" dirty="0">
                <a:ln>
                  <a:noFill/>
                </a:ln>
                <a:solidFill>
                  <a:srgbClr val="75787B"/>
                </a:solidFill>
                <a:effectLst/>
                <a:uLnTx/>
                <a:uFillTx/>
                <a:ea typeface="ＭＳ Ｐゴシック" charset="0"/>
                <a:cs typeface="Arial" pitchFamily="34" charset="0"/>
              </a:rPr>
              <a:t>Information accurate through December 31, 2018. </a:t>
            </a:r>
            <a:r>
              <a:rPr lang="en-US" sz="800" b="1" dirty="0">
                <a:solidFill>
                  <a:srgbClr val="75787B"/>
                </a:solidFill>
                <a:ea typeface="ＭＳ Ｐゴシック" charset="0"/>
                <a:cs typeface="Arial" pitchFamily="34" charset="0"/>
              </a:rPr>
              <a:t>Source:</a:t>
            </a:r>
            <a:r>
              <a:rPr lang="en-US" sz="800" dirty="0">
                <a:solidFill>
                  <a:srgbClr val="75787B"/>
                </a:solidFill>
                <a:ea typeface="ＭＳ Ｐゴシック" charset="0"/>
                <a:cs typeface="Arial" pitchFamily="34" charset="0"/>
              </a:rPr>
              <a:t> </a:t>
            </a:r>
            <a:r>
              <a:rPr lang="en-US" sz="800" dirty="0" err="1">
                <a:solidFill>
                  <a:srgbClr val="75787B"/>
                </a:solidFill>
                <a:ea typeface="ＭＳ Ｐゴシック" charset="0"/>
                <a:cs typeface="Arial" pitchFamily="34" charset="0"/>
              </a:rPr>
              <a:t>www.federalreserve.gov</a:t>
            </a:r>
            <a:r>
              <a:rPr lang="en-US" sz="800" dirty="0">
                <a:solidFill>
                  <a:srgbClr val="75787B"/>
                </a:solidFill>
                <a:ea typeface="ＭＳ Ｐゴシック" charset="0"/>
                <a:cs typeface="Arial" pitchFamily="34" charset="0"/>
              </a:rPr>
              <a:t>    </a:t>
            </a:r>
            <a:br>
              <a:rPr lang="en-US" sz="800" dirty="0">
                <a:solidFill>
                  <a:srgbClr val="75787B"/>
                </a:solidFill>
                <a:ea typeface="ＭＳ Ｐゴシック" charset="0"/>
                <a:cs typeface="Arial" pitchFamily="34" charset="0"/>
              </a:rPr>
            </a:br>
            <a:r>
              <a:rPr kumimoji="0" lang="en-US" sz="800" b="0" i="0" u="none" strike="noStrike" kern="1200" cap="none" spc="0" normalizeH="0" baseline="0" noProof="0" dirty="0">
                <a:ln>
                  <a:noFill/>
                </a:ln>
                <a:solidFill>
                  <a:srgbClr val="75787B"/>
                </a:solidFill>
                <a:effectLst/>
                <a:uLnTx/>
                <a:uFillTx/>
                <a:ea typeface="ＭＳ Ｐゴシック" charset="0"/>
                <a:cs typeface="Arial" pitchFamily="34" charset="0"/>
              </a:rPr>
              <a:t>There is no guarantee that historical trends will continue in the future. </a:t>
            </a:r>
          </a:p>
        </p:txBody>
      </p:sp>
      <p:cxnSp>
        <p:nvCxnSpPr>
          <p:cNvPr id="22" name="Straight Arrow Connector 21">
            <a:extLst>
              <a:ext uri="{FF2B5EF4-FFF2-40B4-BE49-F238E27FC236}">
                <a16:creationId xmlns:a16="http://schemas.microsoft.com/office/drawing/2014/main" id="{F68E41E0-5FEC-5445-814B-B6913E234BF5}"/>
              </a:ext>
            </a:extLst>
          </p:cNvPr>
          <p:cNvCxnSpPr>
            <a:cxnSpLocks/>
          </p:cNvCxnSpPr>
          <p:nvPr/>
        </p:nvCxnSpPr>
        <p:spPr>
          <a:xfrm>
            <a:off x="429663" y="5263482"/>
            <a:ext cx="8428587" cy="0"/>
          </a:xfrm>
          <a:prstGeom prst="straightConnector1">
            <a:avLst/>
          </a:prstGeom>
          <a:ln w="12700">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Box 7">
            <a:extLst>
              <a:ext uri="{FF2B5EF4-FFF2-40B4-BE49-F238E27FC236}">
                <a16:creationId xmlns:a16="http://schemas.microsoft.com/office/drawing/2014/main" id="{1E0FACE9-B27A-924C-B320-E2D3F25CF3BA}"/>
              </a:ext>
            </a:extLst>
          </p:cNvPr>
          <p:cNvSpPr txBox="1"/>
          <p:nvPr/>
        </p:nvSpPr>
        <p:spPr bwMode="auto">
          <a:xfrm>
            <a:off x="4364105" y="5161138"/>
            <a:ext cx="567928" cy="169277"/>
          </a:xfrm>
          <a:prstGeom prst="rect">
            <a:avLst/>
          </a:prstGeom>
          <a:solidFill>
            <a:schemeClr val="bg1"/>
          </a:solidFill>
          <a:ln>
            <a:noFill/>
          </a:ln>
        </p:spPr>
        <p:style>
          <a:lnRef idx="0">
            <a:scrgbClr r="0" g="0" b="0"/>
          </a:lnRef>
          <a:fillRef idx="0">
            <a:scrgbClr r="0" g="0" b="0"/>
          </a:fillRef>
          <a:effectRef idx="0">
            <a:scrgbClr r="0" g="0" b="0"/>
          </a:effectRef>
          <a:fontRef idx="major"/>
        </p:style>
        <p:txBody>
          <a:bodyPr wrap="square" lIns="0" tIns="0" rIns="0" bIns="0" rtlCol="0" anchor="b">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hangingPunct="1"/>
            <a:r>
              <a:rPr lang="en-US" sz="1100" dirty="0">
                <a:solidFill>
                  <a:srgbClr val="404040"/>
                </a:solidFill>
                <a:latin typeface="+mj-lt"/>
                <a:cs typeface="Arial" pitchFamily="34" charset="0"/>
              </a:rPr>
              <a:t>54 Years</a:t>
            </a:r>
          </a:p>
        </p:txBody>
      </p:sp>
      <p:cxnSp>
        <p:nvCxnSpPr>
          <p:cNvPr id="25" name="Straight Connector 24">
            <a:extLst>
              <a:ext uri="{FF2B5EF4-FFF2-40B4-BE49-F238E27FC236}">
                <a16:creationId xmlns:a16="http://schemas.microsoft.com/office/drawing/2014/main" id="{E2143B69-F3FA-7E4D-9180-D242FED593DC}"/>
              </a:ext>
            </a:extLst>
          </p:cNvPr>
          <p:cNvCxnSpPr>
            <a:cxnSpLocks/>
          </p:cNvCxnSpPr>
          <p:nvPr/>
        </p:nvCxnSpPr>
        <p:spPr>
          <a:xfrm flipV="1">
            <a:off x="419100" y="1662491"/>
            <a:ext cx="8439150" cy="13905"/>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27" name="TextBox 11">
            <a:extLst>
              <a:ext uri="{FF2B5EF4-FFF2-40B4-BE49-F238E27FC236}">
                <a16:creationId xmlns:a16="http://schemas.microsoft.com/office/drawing/2014/main" id="{7D670E08-4FDC-AD4B-9F78-17F52976418B}"/>
              </a:ext>
            </a:extLst>
          </p:cNvPr>
          <p:cNvSpPr txBox="1"/>
          <p:nvPr/>
        </p:nvSpPr>
        <p:spPr>
          <a:xfrm>
            <a:off x="440088" y="2838998"/>
            <a:ext cx="1282575" cy="1354217"/>
          </a:xfrm>
          <a:prstGeom prst="rect">
            <a:avLst/>
          </a:prstGeom>
          <a:solidFill>
            <a:schemeClr val="bg1"/>
          </a:solidFill>
        </p:spPr>
        <p:style>
          <a:lnRef idx="0">
            <a:scrgbClr r="0" g="0" b="0"/>
          </a:lnRef>
          <a:fillRef idx="0">
            <a:scrgbClr r="0" g="0" b="0"/>
          </a:fillRef>
          <a:effectRef idx="0">
            <a:scrgbClr r="0" g="0" b="0"/>
          </a:effectRef>
          <a:fontRef idx="major"/>
        </p:style>
        <p:txBody>
          <a:bodyPr wrap="squar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en-US" sz="1100" dirty="0">
                <a:cs typeface="Arial" pitchFamily="34" charset="0"/>
              </a:rPr>
              <a:t>The 10-year Treasury has been below 4% a mere 11 times in 54 years. What does this mean? Where rates are today is </a:t>
            </a:r>
            <a:r>
              <a:rPr lang="en-US" sz="1100" i="1" dirty="0">
                <a:cs typeface="Arial" pitchFamily="34" charset="0"/>
              </a:rPr>
              <a:t>not</a:t>
            </a:r>
            <a:r>
              <a:rPr lang="en-US" sz="1100" dirty="0">
                <a:cs typeface="Arial" pitchFamily="34" charset="0"/>
              </a:rPr>
              <a:t> the norm.</a:t>
            </a:r>
          </a:p>
          <a:p>
            <a:endParaRPr lang="en-US" sz="1100" dirty="0">
              <a:latin typeface="+mj-lt"/>
              <a:cs typeface="Arial" pitchFamily="34" charset="0"/>
            </a:endParaRPr>
          </a:p>
        </p:txBody>
      </p:sp>
      <p:cxnSp>
        <p:nvCxnSpPr>
          <p:cNvPr id="28" name="Straight Connector 27">
            <a:extLst>
              <a:ext uri="{FF2B5EF4-FFF2-40B4-BE49-F238E27FC236}">
                <a16:creationId xmlns:a16="http://schemas.microsoft.com/office/drawing/2014/main" id="{22A5A615-31C1-FC45-AE60-74D6F231EB9E}"/>
              </a:ext>
            </a:extLst>
          </p:cNvPr>
          <p:cNvCxnSpPr>
            <a:cxnSpLocks/>
          </p:cNvCxnSpPr>
          <p:nvPr/>
        </p:nvCxnSpPr>
        <p:spPr>
          <a:xfrm>
            <a:off x="976952" y="4051246"/>
            <a:ext cx="0" cy="449477"/>
          </a:xfrm>
          <a:prstGeom prst="line">
            <a:avLst/>
          </a:prstGeom>
          <a:ln w="15875">
            <a:solidFill>
              <a:srgbClr val="75787B"/>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4" name="Text Placeholder 4">
            <a:extLst>
              <a:ext uri="{FF2B5EF4-FFF2-40B4-BE49-F238E27FC236}">
                <a16:creationId xmlns:a16="http://schemas.microsoft.com/office/drawing/2014/main" id="{6BA9C7EA-25AF-034B-AB74-FF846E03E372}"/>
              </a:ext>
            </a:extLst>
          </p:cNvPr>
          <p:cNvSpPr txBox="1">
            <a:spLocks/>
          </p:cNvSpPr>
          <p:nvPr/>
        </p:nvSpPr>
        <p:spPr>
          <a:xfrm>
            <a:off x="6280362" y="2321375"/>
            <a:ext cx="2381946" cy="928008"/>
          </a:xfrm>
          <a:prstGeom prst="rect">
            <a:avLst/>
          </a:prstGeom>
          <a:solidFill>
            <a:schemeClr val="bg1"/>
          </a:solidFill>
        </p:spPr>
        <p:style>
          <a:lnRef idx="0">
            <a:scrgbClr r="0" g="0" b="0"/>
          </a:lnRef>
          <a:fillRef idx="0">
            <a:scrgbClr r="0" g="0" b="0"/>
          </a:fillRef>
          <a:effectRef idx="0">
            <a:scrgbClr r="0" g="0" b="0"/>
          </a:effectRef>
          <a:fontRef idx="major"/>
        </p:style>
        <p:txBody>
          <a:bodyPr>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spcBef>
                <a:spcPts val="0"/>
              </a:spcBef>
            </a:pPr>
            <a:r>
              <a:rPr lang="en-US" sz="1400" b="1" dirty="0">
                <a:solidFill>
                  <a:srgbClr val="3368FB"/>
                </a:solidFill>
                <a:latin typeface="Segoe UI" panose="020B0502040204020203" pitchFamily="34" charset="0"/>
                <a:ea typeface="Segoe UI" panose="020B0502040204020203" pitchFamily="34" charset="0"/>
                <a:cs typeface="Segoe UI" panose="020B0502040204020203" pitchFamily="34" charset="0"/>
              </a:rPr>
              <a:t>Since 1965, rates have been above 4% almost eighty percent of the time</a:t>
            </a:r>
          </a:p>
          <a:p>
            <a:pPr>
              <a:lnSpc>
                <a:spcPct val="100000"/>
              </a:lnSpc>
              <a:spcBef>
                <a:spcPts val="0"/>
              </a:spcBef>
            </a:pPr>
            <a:r>
              <a:rPr lang="en-US" sz="1000" b="0" dirty="0">
                <a:solidFill>
                  <a:srgbClr val="3368FB"/>
                </a:solidFill>
                <a:latin typeface="Segoe UI" panose="020B0502040204020203" pitchFamily="34" charset="0"/>
                <a:ea typeface="Segoe UI" panose="020B0502040204020203" pitchFamily="34" charset="0"/>
                <a:cs typeface="Segoe UI" panose="020B0502040204020203" pitchFamily="34" charset="0"/>
              </a:rPr>
              <a:t>Source: </a:t>
            </a:r>
            <a:r>
              <a:rPr lang="en-US" sz="1000" b="0" dirty="0" err="1">
                <a:solidFill>
                  <a:srgbClr val="3368FB"/>
                </a:solidFill>
                <a:latin typeface="Segoe UI" panose="020B0502040204020203" pitchFamily="34" charset="0"/>
                <a:ea typeface="Segoe UI" panose="020B0502040204020203" pitchFamily="34" charset="0"/>
                <a:cs typeface="Segoe UI" panose="020B0502040204020203" pitchFamily="34" charset="0"/>
              </a:rPr>
              <a:t>www.federalreserve.gov</a:t>
            </a:r>
            <a:endParaRPr lang="en-US" sz="1000" b="0" dirty="0">
              <a:solidFill>
                <a:srgbClr val="3368FB"/>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260975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829306A-56C2-DF46-B972-9D0E8095A0A2}"/>
              </a:ext>
            </a:extLst>
          </p:cNvPr>
          <p:cNvSpPr>
            <a:spLocks noGrp="1"/>
          </p:cNvSpPr>
          <p:nvPr>
            <p:ph type="sldNum" sz="quarter" idx="4"/>
          </p:nvPr>
        </p:nvSpPr>
        <p:spPr/>
        <p:txBody>
          <a:bodyPr/>
          <a:lstStyle/>
          <a:p>
            <a:fld id="{2C7AFF3D-0B71-614B-ACB6-7F45BDA6A838}" type="slidenum">
              <a:rPr lang="en-US" smtClean="0"/>
              <a:pPr/>
              <a:t>22</a:t>
            </a:fld>
            <a:endParaRPr lang="en-US" dirty="0"/>
          </a:p>
        </p:txBody>
      </p:sp>
      <p:sp>
        <p:nvSpPr>
          <p:cNvPr id="3" name="Footer Placeholder 2">
            <a:extLst>
              <a:ext uri="{FF2B5EF4-FFF2-40B4-BE49-F238E27FC236}">
                <a16:creationId xmlns:a16="http://schemas.microsoft.com/office/drawing/2014/main" id="{E6C031F9-29E4-6444-85FF-CE62B64B94D9}"/>
              </a:ext>
            </a:extLst>
          </p:cNvPr>
          <p:cNvSpPr>
            <a:spLocks noGrp="1"/>
          </p:cNvSpPr>
          <p:nvPr>
            <p:ph type="ftr" sz="quarter" idx="3"/>
          </p:nvPr>
        </p:nvSpPr>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150A4137-50FC-6342-AFC3-02AD66F4D3D3}"/>
              </a:ext>
            </a:extLst>
          </p:cNvPr>
          <p:cNvSpPr>
            <a:spLocks noGrp="1"/>
          </p:cNvSpPr>
          <p:nvPr>
            <p:ph type="body" sz="quarter" idx="12"/>
          </p:nvPr>
        </p:nvSpPr>
        <p:spPr>
          <a:xfrm>
            <a:off x="324004" y="3172731"/>
            <a:ext cx="1847696" cy="727080"/>
          </a:xfrm>
        </p:spPr>
        <p:txBody>
          <a:bodyPr/>
          <a:lstStyle/>
          <a:p>
            <a:pPr>
              <a:lnSpc>
                <a:spcPct val="100000"/>
              </a:lnSpc>
              <a:spcBef>
                <a:spcPts val="0"/>
              </a:spcBef>
            </a:pPr>
            <a:r>
              <a:rPr lang="en-US" sz="2400" b="0" dirty="0"/>
              <a:t>Guaranteed stream of lifetime Income</a:t>
            </a:r>
          </a:p>
        </p:txBody>
      </p:sp>
      <p:sp>
        <p:nvSpPr>
          <p:cNvPr id="13" name="Text Placeholder 4">
            <a:extLst>
              <a:ext uri="{FF2B5EF4-FFF2-40B4-BE49-F238E27FC236}">
                <a16:creationId xmlns:a16="http://schemas.microsoft.com/office/drawing/2014/main" id="{3F306FBE-FBB7-5740-89F7-B6EFEE15F4D7}"/>
              </a:ext>
            </a:extLst>
          </p:cNvPr>
          <p:cNvSpPr txBox="1">
            <a:spLocks/>
          </p:cNvSpPr>
          <p:nvPr/>
        </p:nvSpPr>
        <p:spPr>
          <a:xfrm>
            <a:off x="350534" y="299358"/>
            <a:ext cx="4480532" cy="619239"/>
          </a:xfrm>
          <a:prstGeom prst="rect">
            <a:avLst/>
          </a:prstGeom>
        </p:spPr>
        <p:txBody>
          <a:bodyPr/>
          <a:lst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1" indent="-171438" algn="l" defTabSz="685749" rtl="0" eaLnBrk="1" latinLnBrk="0" hangingPunct="1">
              <a:lnSpc>
                <a:spcPct val="90000"/>
              </a:lnSpc>
              <a:spcBef>
                <a:spcPts val="376"/>
              </a:spcBef>
              <a:buFont typeface="Arial" panose="020B0604020202020204" pitchFamily="34" charset="0"/>
              <a:buChar char="•"/>
              <a:defRPr sz="1800" kern="1200">
                <a:solidFill>
                  <a:schemeClr val="tx1"/>
                </a:solidFill>
                <a:latin typeface="+mn-lt"/>
                <a:ea typeface="+mn-ea"/>
                <a:cs typeface="+mn-cs"/>
              </a:defRPr>
            </a:lvl2pPr>
            <a:lvl3pPr marL="857185" indent="-171438" algn="l" defTabSz="685749" rtl="0" eaLnBrk="1" latinLnBrk="0" hangingPunct="1">
              <a:lnSpc>
                <a:spcPct val="90000"/>
              </a:lnSpc>
              <a:spcBef>
                <a:spcPts val="376"/>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8pPr>
            <a:lvl9pPr marL="2914431"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dirty="0">
                <a:solidFill>
                  <a:srgbClr val="002577"/>
                </a:solidFill>
                <a:latin typeface="Segoe UI" panose="020B0502040204020203" pitchFamily="34" charset="0"/>
                <a:ea typeface="Segoe UI" panose="020B0502040204020203" pitchFamily="34" charset="0"/>
                <a:cs typeface="Segoe UI" panose="020B0502040204020203" pitchFamily="34" charset="0"/>
              </a:rPr>
              <a:t>What is a Variable Annuity?</a:t>
            </a:r>
          </a:p>
        </p:txBody>
      </p:sp>
      <p:sp>
        <p:nvSpPr>
          <p:cNvPr id="15" name="Text Placeholder 4">
            <a:extLst>
              <a:ext uri="{FF2B5EF4-FFF2-40B4-BE49-F238E27FC236}">
                <a16:creationId xmlns:a16="http://schemas.microsoft.com/office/drawing/2014/main" id="{091C2DB3-2A9E-9044-ADAE-E1755881D5F5}"/>
              </a:ext>
            </a:extLst>
          </p:cNvPr>
          <p:cNvSpPr txBox="1">
            <a:spLocks/>
          </p:cNvSpPr>
          <p:nvPr/>
        </p:nvSpPr>
        <p:spPr>
          <a:xfrm>
            <a:off x="2462213" y="3180895"/>
            <a:ext cx="1847696" cy="727080"/>
          </a:xfrm>
          <a:prstGeom prst="rect">
            <a:avLst/>
          </a:prstGeom>
        </p:spPr>
        <p:txBody>
          <a:bodyPr/>
          <a:lstStyle>
            <a:lvl1pPr marL="0" indent="0" algn="l" defTabSz="685749" rtl="0" eaLnBrk="1" latinLnBrk="0" hangingPunct="1">
              <a:lnSpc>
                <a:spcPts val="750"/>
              </a:lnSpc>
              <a:spcBef>
                <a:spcPts val="750"/>
              </a:spcBef>
              <a:buFont typeface="Arial" panose="020B0604020202020204" pitchFamily="34" charset="0"/>
              <a:buNone/>
              <a:defRPr sz="1125" b="1" i="0" kern="1200">
                <a:solidFill>
                  <a:srgbClr val="FFFFFF"/>
                </a:solidFill>
                <a:latin typeface="IBM Eliot Sans Medium" panose="020B0703050000000000" pitchFamily="34" charset="0"/>
                <a:ea typeface="+mn-ea"/>
                <a:cs typeface="+mn-cs"/>
              </a:defRPr>
            </a:lvl1pPr>
            <a:lvl2pPr marL="342875" indent="0" algn="l" defTabSz="685749" rtl="0" eaLnBrk="1" latinLnBrk="0" hangingPunct="1">
              <a:lnSpc>
                <a:spcPct val="90000"/>
              </a:lnSpc>
              <a:spcBef>
                <a:spcPts val="376"/>
              </a:spcBef>
              <a:buFont typeface="Arial" panose="020B0604020202020204" pitchFamily="34" charset="0"/>
              <a:buNone/>
              <a:defRPr sz="1800" kern="1200">
                <a:solidFill>
                  <a:schemeClr val="tx1"/>
                </a:solidFill>
                <a:latin typeface="+mn-lt"/>
                <a:ea typeface="+mn-ea"/>
                <a:cs typeface="+mn-cs"/>
              </a:defRPr>
            </a:lvl2pPr>
            <a:lvl3pPr marL="685749" indent="0" algn="l" defTabSz="685749" rtl="0" eaLnBrk="1" latinLnBrk="0" hangingPunct="1">
              <a:lnSpc>
                <a:spcPct val="90000"/>
              </a:lnSpc>
              <a:spcBef>
                <a:spcPts val="376"/>
              </a:spcBef>
              <a:buFont typeface="Arial" panose="020B0604020202020204" pitchFamily="34" charset="0"/>
              <a:buNone/>
              <a:defRPr sz="1500" kern="1200">
                <a:solidFill>
                  <a:schemeClr val="tx1"/>
                </a:solidFill>
                <a:latin typeface="+mn-lt"/>
                <a:ea typeface="+mn-ea"/>
                <a:cs typeface="+mn-cs"/>
              </a:defRPr>
            </a:lvl3pPr>
            <a:lvl4pPr marL="1028624" indent="0" algn="l" defTabSz="685749" rtl="0" eaLnBrk="1" latinLnBrk="0" hangingPunct="1">
              <a:lnSpc>
                <a:spcPct val="90000"/>
              </a:lnSpc>
              <a:spcBef>
                <a:spcPts val="376"/>
              </a:spcBef>
              <a:buFont typeface="Arial" panose="020B0604020202020204" pitchFamily="34" charset="0"/>
              <a:buNone/>
              <a:defRPr sz="1350" kern="1200">
                <a:solidFill>
                  <a:schemeClr val="tx1"/>
                </a:solidFill>
                <a:latin typeface="+mn-lt"/>
                <a:ea typeface="+mn-ea"/>
                <a:cs typeface="+mn-cs"/>
              </a:defRPr>
            </a:lvl4pPr>
            <a:lvl5pPr marL="1371498" indent="0" algn="l" defTabSz="685749" rtl="0" eaLnBrk="1" latinLnBrk="0" hangingPunct="1">
              <a:lnSpc>
                <a:spcPct val="90000"/>
              </a:lnSpc>
              <a:spcBef>
                <a:spcPts val="376"/>
              </a:spcBef>
              <a:buFont typeface="Arial" panose="020B0604020202020204" pitchFamily="34" charset="0"/>
              <a:buNone/>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8pPr>
            <a:lvl9pPr marL="2914431"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0"/>
              </a:spcBef>
            </a:pPr>
            <a:r>
              <a:rPr lang="en-US" sz="2400" b="0" dirty="0"/>
              <a:t>Guaranteed payments to your beneficiaries upon death</a:t>
            </a:r>
          </a:p>
        </p:txBody>
      </p:sp>
      <p:sp>
        <p:nvSpPr>
          <p:cNvPr id="16" name="Text Placeholder 4">
            <a:extLst>
              <a:ext uri="{FF2B5EF4-FFF2-40B4-BE49-F238E27FC236}">
                <a16:creationId xmlns:a16="http://schemas.microsoft.com/office/drawing/2014/main" id="{5AE783AB-10AA-AC4B-AE6F-29E66F2020AA}"/>
              </a:ext>
            </a:extLst>
          </p:cNvPr>
          <p:cNvSpPr txBox="1">
            <a:spLocks/>
          </p:cNvSpPr>
          <p:nvPr/>
        </p:nvSpPr>
        <p:spPr>
          <a:xfrm>
            <a:off x="4737327" y="3180895"/>
            <a:ext cx="1847696" cy="727080"/>
          </a:xfrm>
          <a:prstGeom prst="rect">
            <a:avLst/>
          </a:prstGeom>
        </p:spPr>
        <p:txBody>
          <a:bodyPr/>
          <a:lstStyle>
            <a:lvl1pPr marL="0" indent="0" algn="l" defTabSz="685749" rtl="0" eaLnBrk="1" latinLnBrk="0" hangingPunct="1">
              <a:lnSpc>
                <a:spcPts val="750"/>
              </a:lnSpc>
              <a:spcBef>
                <a:spcPts val="750"/>
              </a:spcBef>
              <a:buFont typeface="Arial" panose="020B0604020202020204" pitchFamily="34" charset="0"/>
              <a:buNone/>
              <a:defRPr sz="1125" b="1" i="0" kern="1200">
                <a:solidFill>
                  <a:srgbClr val="FFFFFF"/>
                </a:solidFill>
                <a:latin typeface="IBM Eliot Sans Medium" panose="020B0703050000000000" pitchFamily="34" charset="0"/>
                <a:ea typeface="+mn-ea"/>
                <a:cs typeface="+mn-cs"/>
              </a:defRPr>
            </a:lvl1pPr>
            <a:lvl2pPr marL="342875" indent="0" algn="l" defTabSz="685749" rtl="0" eaLnBrk="1" latinLnBrk="0" hangingPunct="1">
              <a:lnSpc>
                <a:spcPct val="90000"/>
              </a:lnSpc>
              <a:spcBef>
                <a:spcPts val="376"/>
              </a:spcBef>
              <a:buFont typeface="Arial" panose="020B0604020202020204" pitchFamily="34" charset="0"/>
              <a:buNone/>
              <a:defRPr sz="1800" kern="1200">
                <a:solidFill>
                  <a:schemeClr val="tx1"/>
                </a:solidFill>
                <a:latin typeface="+mn-lt"/>
                <a:ea typeface="+mn-ea"/>
                <a:cs typeface="+mn-cs"/>
              </a:defRPr>
            </a:lvl2pPr>
            <a:lvl3pPr marL="685749" indent="0" algn="l" defTabSz="685749" rtl="0" eaLnBrk="1" latinLnBrk="0" hangingPunct="1">
              <a:lnSpc>
                <a:spcPct val="90000"/>
              </a:lnSpc>
              <a:spcBef>
                <a:spcPts val="376"/>
              </a:spcBef>
              <a:buFont typeface="Arial" panose="020B0604020202020204" pitchFamily="34" charset="0"/>
              <a:buNone/>
              <a:defRPr sz="1500" kern="1200">
                <a:solidFill>
                  <a:schemeClr val="tx1"/>
                </a:solidFill>
                <a:latin typeface="+mn-lt"/>
                <a:ea typeface="+mn-ea"/>
                <a:cs typeface="+mn-cs"/>
              </a:defRPr>
            </a:lvl3pPr>
            <a:lvl4pPr marL="1028624" indent="0" algn="l" defTabSz="685749" rtl="0" eaLnBrk="1" latinLnBrk="0" hangingPunct="1">
              <a:lnSpc>
                <a:spcPct val="90000"/>
              </a:lnSpc>
              <a:spcBef>
                <a:spcPts val="376"/>
              </a:spcBef>
              <a:buFont typeface="Arial" panose="020B0604020202020204" pitchFamily="34" charset="0"/>
              <a:buNone/>
              <a:defRPr sz="1350" kern="1200">
                <a:solidFill>
                  <a:schemeClr val="tx1"/>
                </a:solidFill>
                <a:latin typeface="+mn-lt"/>
                <a:ea typeface="+mn-ea"/>
                <a:cs typeface="+mn-cs"/>
              </a:defRPr>
            </a:lvl4pPr>
            <a:lvl5pPr marL="1371498" indent="0" algn="l" defTabSz="685749" rtl="0" eaLnBrk="1" latinLnBrk="0" hangingPunct="1">
              <a:lnSpc>
                <a:spcPct val="90000"/>
              </a:lnSpc>
              <a:spcBef>
                <a:spcPts val="376"/>
              </a:spcBef>
              <a:buFont typeface="Arial" panose="020B0604020202020204" pitchFamily="34" charset="0"/>
              <a:buNone/>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8pPr>
            <a:lvl9pPr marL="2914431"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0"/>
              </a:spcBef>
            </a:pPr>
            <a:r>
              <a:rPr lang="en-US" sz="2400" b="0" dirty="0"/>
              <a:t>Equity Exposure</a:t>
            </a:r>
          </a:p>
        </p:txBody>
      </p:sp>
      <p:sp>
        <p:nvSpPr>
          <p:cNvPr id="17" name="Text Placeholder 4">
            <a:extLst>
              <a:ext uri="{FF2B5EF4-FFF2-40B4-BE49-F238E27FC236}">
                <a16:creationId xmlns:a16="http://schemas.microsoft.com/office/drawing/2014/main" id="{FAD3ED03-E185-2A40-96D1-813EC688CB63}"/>
              </a:ext>
            </a:extLst>
          </p:cNvPr>
          <p:cNvSpPr txBox="1">
            <a:spLocks/>
          </p:cNvSpPr>
          <p:nvPr/>
        </p:nvSpPr>
        <p:spPr>
          <a:xfrm>
            <a:off x="7069591" y="3164567"/>
            <a:ext cx="1847696" cy="727080"/>
          </a:xfrm>
          <a:prstGeom prst="rect">
            <a:avLst/>
          </a:prstGeom>
        </p:spPr>
        <p:txBody>
          <a:bodyPr/>
          <a:lstStyle>
            <a:lvl1pPr marL="0" indent="0" algn="l" defTabSz="685749" rtl="0" eaLnBrk="1" latinLnBrk="0" hangingPunct="1">
              <a:lnSpc>
                <a:spcPts val="750"/>
              </a:lnSpc>
              <a:spcBef>
                <a:spcPts val="750"/>
              </a:spcBef>
              <a:buFont typeface="Arial" panose="020B0604020202020204" pitchFamily="34" charset="0"/>
              <a:buNone/>
              <a:defRPr sz="1125" b="1" i="0" kern="1200">
                <a:solidFill>
                  <a:srgbClr val="FFFFFF"/>
                </a:solidFill>
                <a:latin typeface="IBM Eliot Sans Medium" panose="020B0703050000000000" pitchFamily="34" charset="0"/>
                <a:ea typeface="+mn-ea"/>
                <a:cs typeface="+mn-cs"/>
              </a:defRPr>
            </a:lvl1pPr>
            <a:lvl2pPr marL="342875" indent="0" algn="l" defTabSz="685749" rtl="0" eaLnBrk="1" latinLnBrk="0" hangingPunct="1">
              <a:lnSpc>
                <a:spcPct val="90000"/>
              </a:lnSpc>
              <a:spcBef>
                <a:spcPts val="376"/>
              </a:spcBef>
              <a:buFont typeface="Arial" panose="020B0604020202020204" pitchFamily="34" charset="0"/>
              <a:buNone/>
              <a:defRPr sz="1800" kern="1200">
                <a:solidFill>
                  <a:schemeClr val="tx1"/>
                </a:solidFill>
                <a:latin typeface="+mn-lt"/>
                <a:ea typeface="+mn-ea"/>
                <a:cs typeface="+mn-cs"/>
              </a:defRPr>
            </a:lvl2pPr>
            <a:lvl3pPr marL="685749" indent="0" algn="l" defTabSz="685749" rtl="0" eaLnBrk="1" latinLnBrk="0" hangingPunct="1">
              <a:lnSpc>
                <a:spcPct val="90000"/>
              </a:lnSpc>
              <a:spcBef>
                <a:spcPts val="376"/>
              </a:spcBef>
              <a:buFont typeface="Arial" panose="020B0604020202020204" pitchFamily="34" charset="0"/>
              <a:buNone/>
              <a:defRPr sz="1500" kern="1200">
                <a:solidFill>
                  <a:schemeClr val="tx1"/>
                </a:solidFill>
                <a:latin typeface="+mn-lt"/>
                <a:ea typeface="+mn-ea"/>
                <a:cs typeface="+mn-cs"/>
              </a:defRPr>
            </a:lvl3pPr>
            <a:lvl4pPr marL="1028624" indent="0" algn="l" defTabSz="685749" rtl="0" eaLnBrk="1" latinLnBrk="0" hangingPunct="1">
              <a:lnSpc>
                <a:spcPct val="90000"/>
              </a:lnSpc>
              <a:spcBef>
                <a:spcPts val="376"/>
              </a:spcBef>
              <a:buFont typeface="Arial" panose="020B0604020202020204" pitchFamily="34" charset="0"/>
              <a:buNone/>
              <a:defRPr sz="1350" kern="1200">
                <a:solidFill>
                  <a:schemeClr val="tx1"/>
                </a:solidFill>
                <a:latin typeface="+mn-lt"/>
                <a:ea typeface="+mn-ea"/>
                <a:cs typeface="+mn-cs"/>
              </a:defRPr>
            </a:lvl4pPr>
            <a:lvl5pPr marL="1371498" indent="0" algn="l" defTabSz="685749" rtl="0" eaLnBrk="1" latinLnBrk="0" hangingPunct="1">
              <a:lnSpc>
                <a:spcPct val="90000"/>
              </a:lnSpc>
              <a:spcBef>
                <a:spcPts val="376"/>
              </a:spcBef>
              <a:buFont typeface="Arial" panose="020B0604020202020204" pitchFamily="34" charset="0"/>
              <a:buNone/>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8pPr>
            <a:lvl9pPr marL="2914431"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0"/>
              </a:spcBef>
            </a:pPr>
            <a:r>
              <a:rPr lang="en-US" sz="2400" b="0" dirty="0">
                <a:solidFill>
                  <a:srgbClr val="002577"/>
                </a:solidFill>
              </a:rPr>
              <a:t>Defer taxes</a:t>
            </a:r>
          </a:p>
        </p:txBody>
      </p:sp>
      <p:sp>
        <p:nvSpPr>
          <p:cNvPr id="18" name="Title 16">
            <a:extLst>
              <a:ext uri="{FF2B5EF4-FFF2-40B4-BE49-F238E27FC236}">
                <a16:creationId xmlns:a16="http://schemas.microsoft.com/office/drawing/2014/main" id="{64976E0D-8E5A-A340-8E91-4A3E928AA485}"/>
              </a:ext>
            </a:extLst>
          </p:cNvPr>
          <p:cNvSpPr txBox="1">
            <a:spLocks/>
          </p:cNvSpPr>
          <p:nvPr/>
        </p:nvSpPr>
        <p:spPr>
          <a:xfrm>
            <a:off x="317229" y="1537608"/>
            <a:ext cx="6793234" cy="513403"/>
          </a:xfrm>
          <a:prstGeom prst="rect">
            <a:avLst/>
          </a:prstGeom>
        </p:spPr>
        <p:txBody>
          <a:bodyPr anchor="t">
            <a:noAutofit/>
          </a:bodyPr>
          <a:lstStyle>
            <a:lvl1pPr algn="l" defTabSz="1097198" rtl="0" eaLnBrk="1" latinLnBrk="0" hangingPunct="1">
              <a:lnSpc>
                <a:spcPct val="90000"/>
              </a:lnSpc>
              <a:spcBef>
                <a:spcPct val="0"/>
              </a:spcBef>
              <a:buNone/>
              <a:defRPr sz="3500" b="1" i="0" kern="1200">
                <a:solidFill>
                  <a:srgbClr val="002677"/>
                </a:solidFill>
                <a:latin typeface="IBM Eliot Sans Medium" panose="020B0703050000000000" pitchFamily="34" charset="0"/>
                <a:ea typeface="+mj-ea"/>
                <a:cs typeface="+mj-cs"/>
              </a:defRPr>
            </a:lvl1pPr>
          </a:lstStyle>
          <a:p>
            <a:pPr>
              <a:lnSpc>
                <a:spcPct val="85000"/>
              </a:lnSpc>
              <a:spcBef>
                <a:spcPts val="0"/>
              </a:spcBef>
            </a:pP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Variable Annuities</a:t>
            </a:r>
            <a:endParaRPr lang="en-US" sz="1400" dirty="0">
              <a:solidFill>
                <a:srgbClr val="75787B"/>
              </a:solidFill>
            </a:endParaRPr>
          </a:p>
        </p:txBody>
      </p:sp>
      <p:sp>
        <p:nvSpPr>
          <p:cNvPr id="6" name="Text Placeholder 5">
            <a:extLst>
              <a:ext uri="{FF2B5EF4-FFF2-40B4-BE49-F238E27FC236}">
                <a16:creationId xmlns:a16="http://schemas.microsoft.com/office/drawing/2014/main" id="{4495A5A9-1FC9-5744-B33F-3E393045BD15}"/>
              </a:ext>
            </a:extLst>
          </p:cNvPr>
          <p:cNvSpPr>
            <a:spLocks noGrp="1"/>
          </p:cNvSpPr>
          <p:nvPr>
            <p:ph type="body" sz="quarter" idx="21"/>
          </p:nvPr>
        </p:nvSpPr>
        <p:spPr>
          <a:xfrm>
            <a:off x="282339" y="2070102"/>
            <a:ext cx="825624" cy="836384"/>
          </a:xfrm>
        </p:spPr>
        <p:txBody>
          <a:bodyPr/>
          <a:lstStyle/>
          <a:p>
            <a:r>
              <a:rPr lang="en-US" dirty="0"/>
              <a:t>1</a:t>
            </a:r>
          </a:p>
        </p:txBody>
      </p:sp>
      <p:sp>
        <p:nvSpPr>
          <p:cNvPr id="10" name="Text Placeholder 9">
            <a:extLst>
              <a:ext uri="{FF2B5EF4-FFF2-40B4-BE49-F238E27FC236}">
                <a16:creationId xmlns:a16="http://schemas.microsoft.com/office/drawing/2014/main" id="{F4631D78-50B1-9249-B6F8-A7634ABF101A}"/>
              </a:ext>
            </a:extLst>
          </p:cNvPr>
          <p:cNvSpPr>
            <a:spLocks noGrp="1"/>
          </p:cNvSpPr>
          <p:nvPr>
            <p:ph type="body" sz="quarter" idx="36"/>
          </p:nvPr>
        </p:nvSpPr>
        <p:spPr>
          <a:ln>
            <a:noFill/>
          </a:ln>
          <a:effectLst/>
        </p:spPr>
        <p:txBody>
          <a:bodyPr/>
          <a:lstStyle/>
          <a:p>
            <a:r>
              <a:rPr lang="en-US" dirty="0"/>
              <a:t>2</a:t>
            </a:r>
          </a:p>
        </p:txBody>
      </p:sp>
      <p:sp>
        <p:nvSpPr>
          <p:cNvPr id="11" name="Text Placeholder 10">
            <a:extLst>
              <a:ext uri="{FF2B5EF4-FFF2-40B4-BE49-F238E27FC236}">
                <a16:creationId xmlns:a16="http://schemas.microsoft.com/office/drawing/2014/main" id="{0C7DD51F-605C-B643-ACB4-41324E342FFB}"/>
              </a:ext>
            </a:extLst>
          </p:cNvPr>
          <p:cNvSpPr>
            <a:spLocks noGrp="1"/>
          </p:cNvSpPr>
          <p:nvPr>
            <p:ph type="body" sz="quarter" idx="38"/>
          </p:nvPr>
        </p:nvSpPr>
        <p:spPr/>
        <p:txBody>
          <a:bodyPr/>
          <a:lstStyle/>
          <a:p>
            <a:r>
              <a:rPr lang="en-US" dirty="0"/>
              <a:t>3</a:t>
            </a:r>
          </a:p>
        </p:txBody>
      </p:sp>
      <p:sp>
        <p:nvSpPr>
          <p:cNvPr id="12" name="Text Placeholder 11">
            <a:extLst>
              <a:ext uri="{FF2B5EF4-FFF2-40B4-BE49-F238E27FC236}">
                <a16:creationId xmlns:a16="http://schemas.microsoft.com/office/drawing/2014/main" id="{AB866F9A-6E43-E14A-A35C-88CEE07E8A16}"/>
              </a:ext>
            </a:extLst>
          </p:cNvPr>
          <p:cNvSpPr>
            <a:spLocks noGrp="1"/>
          </p:cNvSpPr>
          <p:nvPr>
            <p:ph type="body" sz="quarter" idx="40"/>
          </p:nvPr>
        </p:nvSpPr>
        <p:spPr/>
        <p:txBody>
          <a:bodyPr/>
          <a:lstStyle/>
          <a:p>
            <a:r>
              <a:rPr lang="en-US" dirty="0"/>
              <a:t>4</a:t>
            </a:r>
          </a:p>
        </p:txBody>
      </p:sp>
    </p:spTree>
    <p:extLst>
      <p:ext uri="{BB962C8B-B14F-4D97-AF65-F5344CB8AC3E}">
        <p14:creationId xmlns:p14="http://schemas.microsoft.com/office/powerpoint/2010/main" val="11512080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17227" y="6371406"/>
            <a:ext cx="317212" cy="188420"/>
          </a:xfrm>
        </p:spPr>
        <p:txBody>
          <a:bodyPr/>
          <a:lstStyle/>
          <a:p>
            <a:fld id="{2C7AFF3D-0B71-614B-ACB6-7F45BDA6A838}" type="slidenum">
              <a:rPr lang="en-US" smtClean="0">
                <a:latin typeface="Segoe UI" panose="020B0502040204020203" pitchFamily="34" charset="0"/>
              </a:rPr>
              <a:pPr/>
              <a:t>23</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79960"/>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6532537"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Investors are Ready for Annuities</a:t>
            </a:r>
          </a:p>
        </p:txBody>
      </p:sp>
      <p:sp>
        <p:nvSpPr>
          <p:cNvPr id="33" name="Text Placeholder 4">
            <a:extLst>
              <a:ext uri="{FF2B5EF4-FFF2-40B4-BE49-F238E27FC236}">
                <a16:creationId xmlns:a16="http://schemas.microsoft.com/office/drawing/2014/main" id="{6FFFEBC6-1137-BD47-B39C-D0F4CEA11FB0}"/>
              </a:ext>
            </a:extLst>
          </p:cNvPr>
          <p:cNvSpPr txBox="1">
            <a:spLocks/>
          </p:cNvSpPr>
          <p:nvPr/>
        </p:nvSpPr>
        <p:spPr>
          <a:xfrm>
            <a:off x="5870247" y="2421290"/>
            <a:ext cx="4659163" cy="61923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2400"/>
              </a:lnSpc>
              <a:spcBef>
                <a:spcPts val="600"/>
              </a:spcBef>
            </a:pPr>
            <a:r>
              <a:rPr lang="en-US" sz="2400" dirty="0">
                <a:solidFill>
                  <a:srgbClr val="3369FF"/>
                </a:solidFill>
                <a:latin typeface="Segoe UI" panose="020B0502040204020203" pitchFamily="34" charset="0"/>
                <a:ea typeface="Segoe UI" panose="020B0502040204020203" pitchFamily="34" charset="0"/>
                <a:cs typeface="Segoe UI" panose="020B0502040204020203" pitchFamily="34" charset="0"/>
              </a:rPr>
              <a:t>Appealing:</a:t>
            </a:r>
          </a:p>
          <a:p>
            <a:pPr>
              <a:lnSpc>
                <a:spcPts val="2400"/>
              </a:lnSpc>
              <a:spcBef>
                <a:spcPts val="600"/>
              </a:spcBef>
            </a:pPr>
            <a:r>
              <a:rPr lang="en-US" sz="2400" b="0" dirty="0">
                <a:solidFill>
                  <a:srgbClr val="3369FF"/>
                </a:solidFill>
                <a:latin typeface="Segoe UI" panose="020B0502040204020203" pitchFamily="34" charset="0"/>
                <a:ea typeface="Segoe UI" panose="020B0502040204020203" pitchFamily="34" charset="0"/>
                <a:cs typeface="Segoe UI" panose="020B0502040204020203" pitchFamily="34" charset="0"/>
              </a:rPr>
              <a:t>Structured </a:t>
            </a:r>
            <a:r>
              <a:rPr lang="en-US" sz="2400" dirty="0">
                <a:solidFill>
                  <a:srgbClr val="3369FF"/>
                </a:solidFill>
                <a:latin typeface="Segoe UI" panose="020B0502040204020203" pitchFamily="34" charset="0"/>
                <a:ea typeface="Segoe UI" panose="020B0502040204020203" pitchFamily="34" charset="0"/>
                <a:cs typeface="Segoe UI" panose="020B0502040204020203" pitchFamily="34" charset="0"/>
              </a:rPr>
              <a:t>73%</a:t>
            </a:r>
          </a:p>
          <a:p>
            <a:pPr>
              <a:lnSpc>
                <a:spcPts val="2400"/>
              </a:lnSpc>
              <a:spcBef>
                <a:spcPts val="600"/>
              </a:spcBef>
            </a:pPr>
            <a:r>
              <a:rPr lang="en-US" sz="2400" b="0" dirty="0">
                <a:solidFill>
                  <a:srgbClr val="3369FF"/>
                </a:solidFill>
                <a:latin typeface="Segoe UI" panose="020B0502040204020203" pitchFamily="34" charset="0"/>
                <a:ea typeface="Segoe UI" panose="020B0502040204020203" pitchFamily="34" charset="0"/>
                <a:cs typeface="Segoe UI" panose="020B0502040204020203" pitchFamily="34" charset="0"/>
              </a:rPr>
              <a:t>Lifetime Income </a:t>
            </a:r>
            <a:r>
              <a:rPr lang="en-US" sz="2400" dirty="0">
                <a:solidFill>
                  <a:srgbClr val="3369FF"/>
                </a:solidFill>
                <a:latin typeface="Segoe UI" panose="020B0502040204020203" pitchFamily="34" charset="0"/>
                <a:ea typeface="Segoe UI" panose="020B0502040204020203" pitchFamily="34" charset="0"/>
                <a:cs typeface="Segoe UI" panose="020B0502040204020203" pitchFamily="34" charset="0"/>
              </a:rPr>
              <a:t>67%</a:t>
            </a:r>
          </a:p>
        </p:txBody>
      </p:sp>
      <p:cxnSp>
        <p:nvCxnSpPr>
          <p:cNvPr id="43" name="Straight Connector 42">
            <a:extLst>
              <a:ext uri="{FF2B5EF4-FFF2-40B4-BE49-F238E27FC236}">
                <a16:creationId xmlns:a16="http://schemas.microsoft.com/office/drawing/2014/main" id="{7AFB0420-5CD8-3043-9CFE-2C917C960255}"/>
              </a:ext>
            </a:extLst>
          </p:cNvPr>
          <p:cNvCxnSpPr>
            <a:cxnSpLocks/>
          </p:cNvCxnSpPr>
          <p:nvPr/>
        </p:nvCxnSpPr>
        <p:spPr>
          <a:xfrm>
            <a:off x="419100" y="1728866"/>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DBF1986-E741-784A-A1CF-BD318E2C4D89}"/>
              </a:ext>
            </a:extLst>
          </p:cNvPr>
          <p:cNvCxnSpPr>
            <a:cxnSpLocks/>
          </p:cNvCxnSpPr>
          <p:nvPr/>
        </p:nvCxnSpPr>
        <p:spPr>
          <a:xfrm>
            <a:off x="419100" y="5614410"/>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E2986C8-4C91-8C4C-8230-30CDD2B5B689}"/>
              </a:ext>
            </a:extLst>
          </p:cNvPr>
          <p:cNvSpPr txBox="1"/>
          <p:nvPr/>
        </p:nvSpPr>
        <p:spPr>
          <a:xfrm>
            <a:off x="436192" y="5684662"/>
            <a:ext cx="8220791" cy="123111"/>
          </a:xfrm>
          <a:prstGeom prst="rect">
            <a:avLst/>
          </a:prstGeom>
          <a:noFill/>
        </p:spPr>
        <p:txBody>
          <a:bodyPr wrap="square" lIns="0" tIns="0" rIns="0" bIns="0" rtlCol="0">
            <a:spAutoFit/>
          </a:bodyPr>
          <a:lstStyle/>
          <a:p>
            <a:r>
              <a:rPr lang="en-US" sz="800" dirty="0">
                <a:solidFill>
                  <a:srgbClr val="000000"/>
                </a:solidFill>
              </a:rPr>
              <a:t>Insured Retirement Institute, Protection, Growth, and Income, 2018 </a:t>
            </a:r>
            <a:endParaRPr lang="en-US" sz="800" dirty="0">
              <a:latin typeface="Arial" pitchFamily="34" charset="0"/>
              <a:cs typeface="Arial" pitchFamily="34" charset="0"/>
            </a:endParaRPr>
          </a:p>
        </p:txBody>
      </p:sp>
      <p:graphicFrame>
        <p:nvGraphicFramePr>
          <p:cNvPr id="15" name="Chart 14">
            <a:extLst>
              <a:ext uri="{FF2B5EF4-FFF2-40B4-BE49-F238E27FC236}">
                <a16:creationId xmlns:a16="http://schemas.microsoft.com/office/drawing/2014/main" id="{816B0A0D-33A7-BD48-80A4-50DD10C50B69}"/>
              </a:ext>
            </a:extLst>
          </p:cNvPr>
          <p:cNvGraphicFramePr/>
          <p:nvPr>
            <p:extLst>
              <p:ext uri="{D42A27DB-BD31-4B8C-83A1-F6EECF244321}">
                <p14:modId xmlns:p14="http://schemas.microsoft.com/office/powerpoint/2010/main" val="2444529349"/>
              </p:ext>
            </p:extLst>
          </p:nvPr>
        </p:nvGraphicFramePr>
        <p:xfrm>
          <a:off x="0" y="1889472"/>
          <a:ext cx="3048000"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4">
            <a:extLst>
              <a:ext uri="{FF2B5EF4-FFF2-40B4-BE49-F238E27FC236}">
                <a16:creationId xmlns:a16="http://schemas.microsoft.com/office/drawing/2014/main" id="{31357CA4-7B74-C84F-9CEB-6D37ED09DB2A}"/>
              </a:ext>
            </a:extLst>
          </p:cNvPr>
          <p:cNvSpPr txBox="1">
            <a:spLocks/>
          </p:cNvSpPr>
          <p:nvPr/>
        </p:nvSpPr>
        <p:spPr>
          <a:xfrm>
            <a:off x="786854" y="4321949"/>
            <a:ext cx="2193110"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0"/>
              </a:spcBef>
            </a:pP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8 in 10 </a:t>
            </a:r>
            <a:r>
              <a:rPr lang="en-US" sz="1400" b="0" dirty="0">
                <a:solidFill>
                  <a:srgbClr val="75787B"/>
                </a:solidFill>
                <a:latin typeface="Segoe UI" panose="020B0502040204020203" pitchFamily="34" charset="0"/>
                <a:ea typeface="Segoe UI" panose="020B0502040204020203" pitchFamily="34" charset="0"/>
                <a:cs typeface="Segoe UI" panose="020B0502040204020203" pitchFamily="34" charset="0"/>
              </a:rPr>
              <a:t>consumers find structured and lifetime income annuities </a:t>
            </a: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easy</a:t>
            </a:r>
            <a:r>
              <a:rPr lang="en-US" sz="1400" b="0" dirty="0">
                <a:solidFill>
                  <a:srgbClr val="75787B"/>
                </a:solidFill>
                <a:latin typeface="Segoe UI" panose="020B0502040204020203" pitchFamily="34" charset="0"/>
                <a:ea typeface="Segoe UI" panose="020B0502040204020203" pitchFamily="34" charset="0"/>
                <a:cs typeface="Segoe UI" panose="020B0502040204020203" pitchFamily="34" charset="0"/>
              </a:rPr>
              <a:t> to understand</a:t>
            </a:r>
          </a:p>
        </p:txBody>
      </p:sp>
      <p:graphicFrame>
        <p:nvGraphicFramePr>
          <p:cNvPr id="12" name="Chart 11">
            <a:extLst>
              <a:ext uri="{FF2B5EF4-FFF2-40B4-BE49-F238E27FC236}">
                <a16:creationId xmlns:a16="http://schemas.microsoft.com/office/drawing/2014/main" id="{AB701E78-889F-ED4F-8EB6-6E15E3563950}"/>
              </a:ext>
            </a:extLst>
          </p:cNvPr>
          <p:cNvGraphicFramePr/>
          <p:nvPr>
            <p:extLst>
              <p:ext uri="{D42A27DB-BD31-4B8C-83A1-F6EECF244321}">
                <p14:modId xmlns:p14="http://schemas.microsoft.com/office/powerpoint/2010/main" val="2123434146"/>
              </p:ext>
            </p:extLst>
          </p:nvPr>
        </p:nvGraphicFramePr>
        <p:xfrm>
          <a:off x="2921000" y="1878587"/>
          <a:ext cx="3048000" cy="2971800"/>
        </p:xfrm>
        <a:graphic>
          <a:graphicData uri="http://schemas.openxmlformats.org/drawingml/2006/chart">
            <c:chart xmlns:c="http://schemas.openxmlformats.org/drawingml/2006/chart" xmlns:r="http://schemas.openxmlformats.org/officeDocument/2006/relationships" r:id="rId4"/>
          </a:graphicData>
        </a:graphic>
      </p:graphicFrame>
      <p:sp>
        <p:nvSpPr>
          <p:cNvPr id="2" name="Rectangle 1">
            <a:extLst>
              <a:ext uri="{FF2B5EF4-FFF2-40B4-BE49-F238E27FC236}">
                <a16:creationId xmlns:a16="http://schemas.microsoft.com/office/drawing/2014/main" id="{02B722D8-8FD3-2241-A721-92BF1212C949}"/>
              </a:ext>
            </a:extLst>
          </p:cNvPr>
          <p:cNvSpPr/>
          <p:nvPr/>
        </p:nvSpPr>
        <p:spPr>
          <a:xfrm>
            <a:off x="3179763" y="4287386"/>
            <a:ext cx="3729038" cy="954107"/>
          </a:xfrm>
          <a:prstGeom prst="rect">
            <a:avLst/>
          </a:prstGeom>
        </p:spPr>
        <p:txBody>
          <a:bodyPr wrap="square">
            <a:spAutoFit/>
          </a:bodyPr>
          <a:lstStyle/>
          <a:p>
            <a:pPr>
              <a:lnSpc>
                <a:spcPct val="100000"/>
              </a:lnSpc>
              <a:spcBef>
                <a:spcPts val="0"/>
              </a:spcBef>
            </a:pPr>
            <a:r>
              <a:rPr lang="en-US" sz="1400" b="1" dirty="0">
                <a:solidFill>
                  <a:srgbClr val="75787B"/>
                </a:solidFill>
                <a:latin typeface="Segoe UI" panose="020B0502040204020203" pitchFamily="34" charset="0"/>
                <a:ea typeface="Segoe UI" panose="020B0502040204020203" pitchFamily="34" charset="0"/>
                <a:cs typeface="Segoe UI" panose="020B0502040204020203" pitchFamily="34" charset="0"/>
              </a:rPr>
              <a:t>7 in 10 </a:t>
            </a: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consumers find annuity products that offer principal protection, the potential for growth based on stock market gains, and/or </a:t>
            </a:r>
            <a:r>
              <a:rPr lang="en-US" sz="1400" b="1" dirty="0">
                <a:solidFill>
                  <a:srgbClr val="75787B"/>
                </a:solidFill>
                <a:latin typeface="Segoe UI" panose="020B0502040204020203" pitchFamily="34" charset="0"/>
                <a:ea typeface="Segoe UI" panose="020B0502040204020203" pitchFamily="34" charset="0"/>
                <a:cs typeface="Segoe UI" panose="020B0502040204020203" pitchFamily="34" charset="0"/>
              </a:rPr>
              <a:t>guaranteed lifetime income </a:t>
            </a: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appealing </a:t>
            </a:r>
          </a:p>
        </p:txBody>
      </p:sp>
    </p:spTree>
    <p:extLst>
      <p:ext uri="{BB962C8B-B14F-4D97-AF65-F5344CB8AC3E}">
        <p14:creationId xmlns:p14="http://schemas.microsoft.com/office/powerpoint/2010/main" val="29679854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24</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60296"/>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7459863"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Taxes- The Advantages of Tax Deferral</a:t>
            </a:r>
          </a:p>
        </p:txBody>
      </p:sp>
      <p:sp>
        <p:nvSpPr>
          <p:cNvPr id="24" name="Text Placeholder 4">
            <a:extLst>
              <a:ext uri="{FF2B5EF4-FFF2-40B4-BE49-F238E27FC236}">
                <a16:creationId xmlns:a16="http://schemas.microsoft.com/office/drawing/2014/main" id="{6BA9C7EA-25AF-034B-AB74-FF846E03E372}"/>
              </a:ext>
            </a:extLst>
          </p:cNvPr>
          <p:cNvSpPr txBox="1">
            <a:spLocks/>
          </p:cNvSpPr>
          <p:nvPr/>
        </p:nvSpPr>
        <p:spPr>
          <a:xfrm>
            <a:off x="361950" y="1778454"/>
            <a:ext cx="3687536" cy="314325"/>
          </a:xfrm>
          <a:prstGeom prst="rect">
            <a:avLst/>
          </a:prstGeom>
          <a:solidFill>
            <a:schemeClr val="bg1"/>
          </a:solidFill>
        </p:spPr>
        <p:style>
          <a:lnRef idx="0">
            <a:scrgbClr r="0" g="0" b="0"/>
          </a:lnRef>
          <a:fillRef idx="0">
            <a:scrgbClr r="0" g="0" b="0"/>
          </a:fillRef>
          <a:effectRef idx="0">
            <a:scrgbClr r="0" g="0" b="0"/>
          </a:effectRef>
          <a:fontRef idx="major"/>
        </p:style>
        <p:txBody>
          <a:bodyPr>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spcBef>
                <a:spcPts val="0"/>
              </a:spcBef>
            </a:pPr>
            <a:r>
              <a:rPr lang="en-US" sz="1400" b="1" dirty="0">
                <a:solidFill>
                  <a:srgbClr val="75787B"/>
                </a:solidFill>
                <a:latin typeface="Segoe UI" panose="020B0502040204020203" pitchFamily="34" charset="0"/>
                <a:ea typeface="Segoe UI" panose="020B0502040204020203" pitchFamily="34" charset="0"/>
                <a:cs typeface="Segoe UI" panose="020B0502040204020203" pitchFamily="34" charset="0"/>
              </a:rPr>
              <a:t>Growth of $200,000 account</a:t>
            </a:r>
            <a:endParaRPr lang="en-US" sz="1000" b="0" dirty="0">
              <a:solidFill>
                <a:srgbClr val="75787B"/>
              </a:solidFill>
              <a:latin typeface="Segoe UI" panose="020B0502040204020203" pitchFamily="34" charset="0"/>
              <a:ea typeface="Segoe UI" panose="020B0502040204020203" pitchFamily="34" charset="0"/>
              <a:cs typeface="Segoe UI" panose="020B0502040204020203" pitchFamily="34" charset="0"/>
            </a:endParaRPr>
          </a:p>
        </p:txBody>
      </p:sp>
      <p:pic>
        <p:nvPicPr>
          <p:cNvPr id="16" name="Picture 15">
            <a:extLst>
              <a:ext uri="{FF2B5EF4-FFF2-40B4-BE49-F238E27FC236}">
                <a16:creationId xmlns:a16="http://schemas.microsoft.com/office/drawing/2014/main" id="{AE0A1CBB-4048-0A4A-8E56-42862BE16C9A}"/>
              </a:ext>
            </a:extLst>
          </p:cNvPr>
          <p:cNvPicPr>
            <a:picLocks noChangeAspect="1"/>
          </p:cNvPicPr>
          <p:nvPr/>
        </p:nvPicPr>
        <p:blipFill rotWithShape="1">
          <a:blip r:embed="rId3"/>
          <a:srcRect t="4705"/>
          <a:stretch/>
        </p:blipFill>
        <p:spPr>
          <a:xfrm>
            <a:off x="664030" y="2245802"/>
            <a:ext cx="7369629" cy="3041308"/>
          </a:xfrm>
          <a:prstGeom prst="rect">
            <a:avLst/>
          </a:prstGeom>
        </p:spPr>
      </p:pic>
      <p:cxnSp>
        <p:nvCxnSpPr>
          <p:cNvPr id="25" name="Straight Connector 24">
            <a:extLst>
              <a:ext uri="{FF2B5EF4-FFF2-40B4-BE49-F238E27FC236}">
                <a16:creationId xmlns:a16="http://schemas.microsoft.com/office/drawing/2014/main" id="{E2143B69-F3FA-7E4D-9180-D242FED593DC}"/>
              </a:ext>
            </a:extLst>
          </p:cNvPr>
          <p:cNvCxnSpPr>
            <a:cxnSpLocks/>
          </p:cNvCxnSpPr>
          <p:nvPr/>
        </p:nvCxnSpPr>
        <p:spPr>
          <a:xfrm flipV="1">
            <a:off x="419100" y="2119695"/>
            <a:ext cx="8439150" cy="13905"/>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89B0CAB-51CA-1541-B490-C3399D521C39}"/>
              </a:ext>
            </a:extLst>
          </p:cNvPr>
          <p:cNvCxnSpPr>
            <a:cxnSpLocks/>
          </p:cNvCxnSpPr>
          <p:nvPr/>
        </p:nvCxnSpPr>
        <p:spPr>
          <a:xfrm flipV="1">
            <a:off x="406400" y="5333701"/>
            <a:ext cx="8439150" cy="13905"/>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6ED13D7-1E14-9840-A282-CF352259E1C8}"/>
              </a:ext>
            </a:extLst>
          </p:cNvPr>
          <p:cNvSpPr txBox="1"/>
          <p:nvPr/>
        </p:nvSpPr>
        <p:spPr>
          <a:xfrm>
            <a:off x="339952" y="5385708"/>
            <a:ext cx="8395834" cy="830997"/>
          </a:xfrm>
          <a:prstGeom prst="rect">
            <a:avLst/>
          </a:prstGeom>
          <a:solidFill>
            <a:srgbClr val="FFFFFF"/>
          </a:solidFill>
        </p:spPr>
        <p:txBody>
          <a:bodyPr wrap="square" anchor="ctr">
            <a:spAutoFit/>
          </a:bodyPr>
          <a:lstStyle/>
          <a:p>
            <a:r>
              <a:rPr lang="en-US" sz="800" dirty="0">
                <a:solidFill>
                  <a:srgbClr val="75787B"/>
                </a:solidFill>
              </a:rPr>
              <a:t>The hypothetical example above is for illustrative purposes only. It does not reflect a specific annuity, an actual account value or the performance of any investment. If this were an actual example, various costs would be factored into the gross return, including annual insurance and administrative charges of the annuity, annual contract charges, investment management fees of the underlying funds, the cost for any optional features, and any other applicable fees. The example assumes an initial investment of $200,000; a tax-deferred investment growing at an 8% hypothetical annual rate for 25 years; and a taxable investment growing at an 8% hypothetical annual rate for 25 years, with an assumed annual tax rate of 28% on each year’s earnings. Please note that the impact of tax deferral can vary depending on the annual rate realized. This illustration does not consider that income tax rates may be higher in future years or that bunching up income into 1 year may cause you to be in a higher tax bracket.	</a:t>
            </a:r>
          </a:p>
        </p:txBody>
      </p:sp>
    </p:spTree>
    <p:extLst>
      <p:ext uri="{BB962C8B-B14F-4D97-AF65-F5344CB8AC3E}">
        <p14:creationId xmlns:p14="http://schemas.microsoft.com/office/powerpoint/2010/main" val="16762472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25</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60296"/>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7459863"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What is a Structured Product?</a:t>
            </a:r>
          </a:p>
        </p:txBody>
      </p:sp>
      <p:sp>
        <p:nvSpPr>
          <p:cNvPr id="12" name="Content Placeholder 2">
            <a:extLst>
              <a:ext uri="{FF2B5EF4-FFF2-40B4-BE49-F238E27FC236}">
                <a16:creationId xmlns:a16="http://schemas.microsoft.com/office/drawing/2014/main" id="{4E563CA4-D05A-5844-A6C3-5F2C12A616A7}"/>
              </a:ext>
            </a:extLst>
          </p:cNvPr>
          <p:cNvSpPr txBox="1">
            <a:spLocks/>
          </p:cNvSpPr>
          <p:nvPr/>
        </p:nvSpPr>
        <p:spPr bwMode="auto">
          <a:xfrm>
            <a:off x="419100" y="2002697"/>
            <a:ext cx="7939592" cy="1978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457200"/>
          <a:lstStyle>
            <a:lvl1pPr indent="-342900" defTabSz="457200">
              <a:spcBef>
                <a:spcPct val="20000"/>
              </a:spcBef>
              <a:buBlip>
                <a:blip r:embed="rId3"/>
              </a:buBlip>
              <a:defRPr>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361950" indent="95250" defTabSz="457200">
              <a:spcBef>
                <a:spcPct val="20000"/>
              </a:spcBef>
              <a:buFont typeface="Arial" panose="020B0604020202020204" pitchFamily="34" charset="0"/>
              <a:defRPr b="1">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630238" indent="-268288" defTabSz="45720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630238" indent="741363" defTabSz="457200">
              <a:spcBef>
                <a:spcPct val="20000"/>
              </a:spcBef>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801688" indent="-171450" defTabSz="45720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1258888" indent="-171450" defTabSz="4572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1716088" indent="-171450" defTabSz="4572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2173288" indent="-171450" defTabSz="4572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2630488" indent="-171450" defTabSz="457200"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342900">
              <a:spcBef>
                <a:spcPct val="0"/>
              </a:spcBef>
              <a:buFont typeface="Arial" panose="020B0604020202020204" pitchFamily="34" charset="0"/>
              <a:buChar cha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Definition: A pre-packaged investment strategy</a:t>
            </a:r>
            <a:b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b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that uses 2 or more financial instruments.  One of these instruments is a derivative, which is essentially a contract between two parties, and its value fluctuates based on an underlying asset. They are generally used to hedge investment risk.</a:t>
            </a:r>
          </a:p>
          <a:p>
            <a:pPr marL="342900">
              <a:spcBef>
                <a:spcPct val="0"/>
              </a:spcBef>
              <a:buFont typeface="Arial" panose="020B0604020202020204" pitchFamily="34" charset="0"/>
              <a:buChar cha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342900">
              <a:spcBef>
                <a:spcPct val="0"/>
              </a:spcBef>
              <a:buFont typeface="Arial" panose="020B0604020202020204" pitchFamily="34" charset="0"/>
              <a:buChar cha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 common structure would be the use of a zero coupon bond with an option strategy</a:t>
            </a:r>
          </a:p>
        </p:txBody>
      </p:sp>
    </p:spTree>
    <p:extLst>
      <p:ext uri="{BB962C8B-B14F-4D97-AF65-F5344CB8AC3E}">
        <p14:creationId xmlns:p14="http://schemas.microsoft.com/office/powerpoint/2010/main" val="21197705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wipe(left)">
                                      <p:cBhvr>
                                        <p:cTn id="7" dur="500"/>
                                        <p:tgtEl>
                                          <p:spTgt spid="12">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2">
                                            <p:txEl>
                                              <p:pRg st="2" end="2"/>
                                            </p:txEl>
                                          </p:spTgt>
                                        </p:tgtEl>
                                        <p:attrNameLst>
                                          <p:attrName>style.visibility</p:attrName>
                                        </p:attrNameLst>
                                      </p:cBhvr>
                                      <p:to>
                                        <p:strVal val="visible"/>
                                      </p:to>
                                    </p:set>
                                    <p:animEffect transition="in" filter="wipe(left)">
                                      <p:cBhvr>
                                        <p:cTn id="10"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26</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60296"/>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7459863"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Advantages of a Structured Product?</a:t>
            </a:r>
          </a:p>
        </p:txBody>
      </p:sp>
      <p:sp>
        <p:nvSpPr>
          <p:cNvPr id="7" name="Content Placeholder 2">
            <a:extLst>
              <a:ext uri="{FF2B5EF4-FFF2-40B4-BE49-F238E27FC236}">
                <a16:creationId xmlns:a16="http://schemas.microsoft.com/office/drawing/2014/main" id="{18D6EDC7-C1BE-3E4B-A633-3A7D218D7A81}"/>
              </a:ext>
            </a:extLst>
          </p:cNvPr>
          <p:cNvSpPr txBox="1">
            <a:spLocks/>
          </p:cNvSpPr>
          <p:nvPr/>
        </p:nvSpPr>
        <p:spPr bwMode="auto">
          <a:xfrm>
            <a:off x="419100" y="1267532"/>
            <a:ext cx="7627620" cy="163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defTabSz="457200" rtl="0" eaLnBrk="0" fontAlgn="base" hangingPunct="0">
              <a:spcBef>
                <a:spcPct val="20000"/>
              </a:spcBef>
              <a:spcAft>
                <a:spcPct val="0"/>
              </a:spcAft>
              <a:buBlip>
                <a:blip r:embed="rId3"/>
              </a:buBlip>
              <a:defRPr kern="1200">
                <a:solidFill>
                  <a:schemeClr val="tx1"/>
                </a:solidFill>
                <a:latin typeface="Arial" pitchFamily="34" charset="0"/>
                <a:ea typeface="MS PGothic" pitchFamily="34" charset="-128"/>
                <a:cs typeface="Arial" pitchFamily="34" charset="0"/>
              </a:defRPr>
            </a:lvl1pPr>
            <a:lvl2pPr marL="361950" indent="95250" algn="l" defTabSz="457200" rtl="0" eaLnBrk="0" fontAlgn="base" hangingPunct="0">
              <a:spcBef>
                <a:spcPct val="20000"/>
              </a:spcBef>
              <a:spcAft>
                <a:spcPct val="0"/>
              </a:spcAft>
              <a:buFont typeface="Arial" pitchFamily="34" charset="0"/>
              <a:defRPr b="1" kern="1200">
                <a:solidFill>
                  <a:schemeClr val="tx1"/>
                </a:solidFill>
                <a:latin typeface="Arial" pitchFamily="34" charset="0"/>
                <a:ea typeface="MS PGothic" pitchFamily="34" charset="-128"/>
                <a:cs typeface="Arial" pitchFamily="34" charset="0"/>
              </a:defRPr>
            </a:lvl2pPr>
            <a:lvl3pPr marL="630238" indent="-268288" algn="l" defTabSz="457200" rtl="0" eaLnBrk="0" fontAlgn="base" hangingPunct="0">
              <a:spcBef>
                <a:spcPct val="20000"/>
              </a:spcBef>
              <a:spcAft>
                <a:spcPct val="0"/>
              </a:spcAft>
              <a:buClr>
                <a:schemeClr val="tx2"/>
              </a:buClr>
              <a:buFont typeface="Wingdings" pitchFamily="2" charset="2"/>
              <a:buChar char=""/>
              <a:defRPr sz="1600" kern="1200">
                <a:solidFill>
                  <a:schemeClr val="tx1"/>
                </a:solidFill>
                <a:latin typeface="Arial" pitchFamily="34" charset="0"/>
                <a:ea typeface="MS PGothic" pitchFamily="34" charset="-128"/>
                <a:cs typeface="Arial" pitchFamily="34" charset="0"/>
              </a:defRPr>
            </a:lvl3pPr>
            <a:lvl4pPr marL="630238" indent="741363" algn="l" defTabSz="457200" rtl="0" eaLnBrk="0" fontAlgn="base" hangingPunct="0">
              <a:spcBef>
                <a:spcPct val="20000"/>
              </a:spcBef>
              <a:spcAft>
                <a:spcPct val="0"/>
              </a:spcAft>
              <a:defRPr sz="1600" kern="1200">
                <a:solidFill>
                  <a:schemeClr val="tx1"/>
                </a:solidFill>
                <a:latin typeface="Arial" pitchFamily="34" charset="0"/>
                <a:ea typeface="MS PGothic" pitchFamily="34" charset="-128"/>
                <a:cs typeface="Arial" pitchFamily="34" charset="0"/>
              </a:defRPr>
            </a:lvl4pPr>
            <a:lvl5pPr marL="801688" indent="-171450" algn="l" defTabSz="457200" rtl="0" eaLnBrk="0" fontAlgn="base" hangingPunct="0">
              <a:spcBef>
                <a:spcPct val="20000"/>
              </a:spcBef>
              <a:spcAft>
                <a:spcPct val="0"/>
              </a:spcAft>
              <a:buClr>
                <a:schemeClr val="tx2"/>
              </a:buClr>
              <a:buFont typeface="Arial" pitchFamily="34" charset="0"/>
              <a:buChar char="­"/>
              <a:defRPr sz="1400" kern="1200">
                <a:solidFill>
                  <a:schemeClr val="tx1"/>
                </a:solidFill>
                <a:latin typeface="Arial" pitchFamily="34" charset="0"/>
                <a:ea typeface="MS PGothic" pitchFamily="34" charset="-128"/>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Relatively easy to understand</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Provides some downside protection</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Generally performance caps may be higher in periods    	of high volatility</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Access to a variety of different indices</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Tax-Deferral </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8" name="TextBox 7">
            <a:extLst>
              <a:ext uri="{FF2B5EF4-FFF2-40B4-BE49-F238E27FC236}">
                <a16:creationId xmlns:a16="http://schemas.microsoft.com/office/drawing/2014/main" id="{A42E409A-CCDE-CC4E-91EA-ADB93A95E652}"/>
              </a:ext>
            </a:extLst>
          </p:cNvPr>
          <p:cNvSpPr txBox="1"/>
          <p:nvPr/>
        </p:nvSpPr>
        <p:spPr>
          <a:xfrm>
            <a:off x="419100" y="5887879"/>
            <a:ext cx="8439150" cy="246221"/>
          </a:xfrm>
          <a:prstGeom prst="rect">
            <a:avLst/>
          </a:prstGeom>
          <a:noFill/>
        </p:spPr>
        <p:txBody>
          <a:bodyPr wrap="square" lIns="0" tIns="0" rIns="0" bIns="0" rtlCol="0">
            <a:spAutoFit/>
          </a:bodyPr>
          <a:lstStyle/>
          <a:p>
            <a:r>
              <a:rPr lang="en-US" sz="800" dirty="0">
                <a:solidFill>
                  <a:schemeClr val="bg1">
                    <a:lumMod val="50000"/>
                  </a:schemeClr>
                </a:solidFill>
                <a:latin typeface="+mj-lt"/>
                <a:cs typeface="Arial" pitchFamily="34" charset="0"/>
              </a:rPr>
              <a:t>Please consider the charges, risks, expenses and investment objectives carefully before purchasing a variable annuity with structured investments. For a prospectus containing this and other information, please contact a financial professional. Read it carefully before you invest or send money.</a:t>
            </a:r>
          </a:p>
        </p:txBody>
      </p:sp>
    </p:spTree>
    <p:extLst>
      <p:ext uri="{BB962C8B-B14F-4D97-AF65-F5344CB8AC3E}">
        <p14:creationId xmlns:p14="http://schemas.microsoft.com/office/powerpoint/2010/main" val="10014761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27</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60296"/>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7459863"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Disadvantages of Structured Products?</a:t>
            </a:r>
          </a:p>
        </p:txBody>
      </p:sp>
      <p:sp>
        <p:nvSpPr>
          <p:cNvPr id="8" name="TextBox 7">
            <a:extLst>
              <a:ext uri="{FF2B5EF4-FFF2-40B4-BE49-F238E27FC236}">
                <a16:creationId xmlns:a16="http://schemas.microsoft.com/office/drawing/2014/main" id="{A42E409A-CCDE-CC4E-91EA-ADB93A95E652}"/>
              </a:ext>
            </a:extLst>
          </p:cNvPr>
          <p:cNvSpPr txBox="1"/>
          <p:nvPr/>
        </p:nvSpPr>
        <p:spPr>
          <a:xfrm>
            <a:off x="419100" y="5887879"/>
            <a:ext cx="8439150" cy="246221"/>
          </a:xfrm>
          <a:prstGeom prst="rect">
            <a:avLst/>
          </a:prstGeom>
          <a:noFill/>
        </p:spPr>
        <p:txBody>
          <a:bodyPr wrap="square" lIns="0" tIns="0" rIns="0" bIns="0" rtlCol="0">
            <a:spAutoFit/>
          </a:bodyPr>
          <a:lstStyle/>
          <a:p>
            <a:r>
              <a:rPr lang="en-US" sz="800" dirty="0">
                <a:solidFill>
                  <a:schemeClr val="bg1">
                    <a:lumMod val="50000"/>
                  </a:schemeClr>
                </a:solidFill>
                <a:latin typeface="+mj-lt"/>
                <a:cs typeface="Arial" pitchFamily="34" charset="0"/>
              </a:rPr>
              <a:t>Please consider the charges, risks, expenses and investment objectives carefully before purchasing a variable annuity with structured investments. For a prospectus containing this and other information, please contact a financial professional. Read it carefully before you invest or send money.</a:t>
            </a:r>
          </a:p>
        </p:txBody>
      </p:sp>
      <p:sp>
        <p:nvSpPr>
          <p:cNvPr id="9" name="Content Placeholder 2">
            <a:extLst>
              <a:ext uri="{FF2B5EF4-FFF2-40B4-BE49-F238E27FC236}">
                <a16:creationId xmlns:a16="http://schemas.microsoft.com/office/drawing/2014/main" id="{B59B6CF6-3417-264A-9DB1-FD7322F14DF1}"/>
              </a:ext>
            </a:extLst>
          </p:cNvPr>
          <p:cNvSpPr txBox="1">
            <a:spLocks/>
          </p:cNvSpPr>
          <p:nvPr/>
        </p:nvSpPr>
        <p:spPr bwMode="auto">
          <a:xfrm>
            <a:off x="419100" y="2000129"/>
            <a:ext cx="8326867" cy="163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defTabSz="457200" rtl="0" eaLnBrk="0" fontAlgn="base" hangingPunct="0">
              <a:spcBef>
                <a:spcPct val="20000"/>
              </a:spcBef>
              <a:spcAft>
                <a:spcPct val="0"/>
              </a:spcAft>
              <a:buBlip>
                <a:blip r:embed="rId3"/>
              </a:buBlip>
              <a:defRPr kern="1200">
                <a:solidFill>
                  <a:schemeClr val="tx1"/>
                </a:solidFill>
                <a:latin typeface="Arial" pitchFamily="34" charset="0"/>
                <a:ea typeface="MS PGothic" pitchFamily="34" charset="-128"/>
                <a:cs typeface="Arial" pitchFamily="34" charset="0"/>
              </a:defRPr>
            </a:lvl1pPr>
            <a:lvl2pPr marL="361950" indent="95250" algn="l" defTabSz="457200" rtl="0" eaLnBrk="0" fontAlgn="base" hangingPunct="0">
              <a:spcBef>
                <a:spcPct val="20000"/>
              </a:spcBef>
              <a:spcAft>
                <a:spcPct val="0"/>
              </a:spcAft>
              <a:buFont typeface="Arial" pitchFamily="34" charset="0"/>
              <a:defRPr b="1" kern="1200">
                <a:solidFill>
                  <a:schemeClr val="tx1"/>
                </a:solidFill>
                <a:latin typeface="Arial" pitchFamily="34" charset="0"/>
                <a:ea typeface="MS PGothic" pitchFamily="34" charset="-128"/>
                <a:cs typeface="Arial" pitchFamily="34" charset="0"/>
              </a:defRPr>
            </a:lvl2pPr>
            <a:lvl3pPr marL="630238" indent="-268288" algn="l" defTabSz="457200" rtl="0" eaLnBrk="0" fontAlgn="base" hangingPunct="0">
              <a:spcBef>
                <a:spcPct val="20000"/>
              </a:spcBef>
              <a:spcAft>
                <a:spcPct val="0"/>
              </a:spcAft>
              <a:buClr>
                <a:schemeClr val="tx2"/>
              </a:buClr>
              <a:buFont typeface="Wingdings" pitchFamily="2" charset="2"/>
              <a:buChar char=""/>
              <a:defRPr sz="1600" kern="1200">
                <a:solidFill>
                  <a:schemeClr val="tx1"/>
                </a:solidFill>
                <a:latin typeface="Arial" pitchFamily="34" charset="0"/>
                <a:ea typeface="MS PGothic" pitchFamily="34" charset="-128"/>
                <a:cs typeface="Arial" pitchFamily="34" charset="0"/>
              </a:defRPr>
            </a:lvl3pPr>
            <a:lvl4pPr marL="630238" indent="741363" algn="l" defTabSz="457200" rtl="0" eaLnBrk="0" fontAlgn="base" hangingPunct="0">
              <a:spcBef>
                <a:spcPct val="20000"/>
              </a:spcBef>
              <a:spcAft>
                <a:spcPct val="0"/>
              </a:spcAft>
              <a:defRPr sz="1600" kern="1200">
                <a:solidFill>
                  <a:schemeClr val="tx1"/>
                </a:solidFill>
                <a:latin typeface="Arial" pitchFamily="34" charset="0"/>
                <a:ea typeface="MS PGothic" pitchFamily="34" charset="-128"/>
                <a:cs typeface="Arial" pitchFamily="34" charset="0"/>
              </a:defRPr>
            </a:lvl4pPr>
            <a:lvl5pPr marL="801688" indent="-171450" algn="l" defTabSz="457200" rtl="0" eaLnBrk="0" fontAlgn="base" hangingPunct="0">
              <a:spcBef>
                <a:spcPct val="20000"/>
              </a:spcBef>
              <a:spcAft>
                <a:spcPct val="0"/>
              </a:spcAft>
              <a:buClr>
                <a:schemeClr val="tx2"/>
              </a:buClr>
              <a:buFont typeface="Arial" pitchFamily="34" charset="0"/>
              <a:buChar char="­"/>
              <a:defRPr sz="1400" kern="1200">
                <a:solidFill>
                  <a:schemeClr val="tx1"/>
                </a:solidFill>
                <a:latin typeface="Arial" pitchFamily="34" charset="0"/>
                <a:ea typeface="MS PGothic" pitchFamily="34" charset="-128"/>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The buffer does not provide full principal protection</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Duration maybe longer than typical structured products</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ll earnings are taxed as ordinary income when withdrawn</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Contractual withdrawal charge is possible</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41842763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28</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60296"/>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7459863"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What is a Variable Annuity?</a:t>
            </a:r>
          </a:p>
        </p:txBody>
      </p:sp>
      <p:sp>
        <p:nvSpPr>
          <p:cNvPr id="10" name="Rectangle 9">
            <a:extLst>
              <a:ext uri="{FF2B5EF4-FFF2-40B4-BE49-F238E27FC236}">
                <a16:creationId xmlns:a16="http://schemas.microsoft.com/office/drawing/2014/main" id="{49D8BDE0-A360-9746-8250-E988D6D601D7}"/>
              </a:ext>
            </a:extLst>
          </p:cNvPr>
          <p:cNvSpPr/>
          <p:nvPr/>
        </p:nvSpPr>
        <p:spPr>
          <a:xfrm>
            <a:off x="383428" y="1990203"/>
            <a:ext cx="8294593" cy="3315075"/>
          </a:xfrm>
          <a:prstGeom prst="rect">
            <a:avLst/>
          </a:prstGeom>
          <a:solidFill>
            <a:schemeClr val="bg1"/>
          </a:solidFill>
        </p:spPr>
        <p:txBody>
          <a:bodyPr wrap="square">
            <a:spAutoFit/>
          </a:bodyPr>
          <a:lstStyle/>
          <a:p>
            <a:pPr eaLnBrk="1" hangingPunct="1">
              <a:lnSpc>
                <a:spcPct val="120000"/>
              </a:lnSpc>
              <a:defRPr/>
            </a:pPr>
            <a:r>
              <a:rPr lang="en-US" sz="16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 variable deferred annuity is a long-term financial product designed for retirement. Simply stated, an annuity is a contract between you and an insurance company that lets you pursue the accumulation of assets through asset allocation and customized investment portfolios, and an optional guarantee. Asset allocation helps spread your investment dollars across different asset classes, to help manage risk and enhance returns. Through customization you choose according to your risk tolerance. The goal is to select a mix of asset classes that will help you meet your long-term investment goals. Your portfolio is professional managed and closely monitored, including your portfolio’s performance and remains consistent with your investment goals. Ultimately, you pay an insurance company and in turn, the company agrees to provide lifetime income or a lump sum from your accumulated assets.</a:t>
            </a:r>
          </a:p>
        </p:txBody>
      </p:sp>
    </p:spTree>
    <p:extLst>
      <p:ext uri="{BB962C8B-B14F-4D97-AF65-F5344CB8AC3E}">
        <p14:creationId xmlns:p14="http://schemas.microsoft.com/office/powerpoint/2010/main" val="3300427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29</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60296"/>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8594700"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What you should know about Variable Annuities?</a:t>
            </a:r>
          </a:p>
        </p:txBody>
      </p:sp>
      <p:sp>
        <p:nvSpPr>
          <p:cNvPr id="10" name="Rectangle 9">
            <a:extLst>
              <a:ext uri="{FF2B5EF4-FFF2-40B4-BE49-F238E27FC236}">
                <a16:creationId xmlns:a16="http://schemas.microsoft.com/office/drawing/2014/main" id="{49D8BDE0-A360-9746-8250-E988D6D601D7}"/>
              </a:ext>
            </a:extLst>
          </p:cNvPr>
          <p:cNvSpPr/>
          <p:nvPr/>
        </p:nvSpPr>
        <p:spPr>
          <a:xfrm>
            <a:off x="263550" y="1426187"/>
            <a:ext cx="8573184" cy="2677656"/>
          </a:xfrm>
          <a:prstGeom prst="rect">
            <a:avLst/>
          </a:prstGeom>
          <a:noFill/>
        </p:spPr>
        <p:txBody>
          <a:bodyPr wrap="square">
            <a:spAutoFit/>
          </a:bodyPr>
          <a:lstStyle/>
          <a:p>
            <a:pPr>
              <a:defRPr/>
            </a:pPr>
            <a:r>
              <a:rPr 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There are fees and charges associated with variable annuities, which include mortality and expense risk charges, administrative fees, investment management fees, withdrawal charges and charges for optional benefits. In addition, annuity contracts have exclusions and limitations. </a:t>
            </a:r>
          </a:p>
          <a:p>
            <a:pPr>
              <a:defRPr/>
            </a:pPr>
            <a:r>
              <a:rPr 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Withdrawals are subject to normal income tax treatment. Distributions taken prior to annuitization are generally considered to come from the gain in the contract first.  If the contract is tax-qualified, generally all withdrawals are treated as distributions of gain.  Withdrawals of gain are taxed as ordinary income and, if taken prior to age 59½, may be subject to an additional 10% federal tax. </a:t>
            </a:r>
          </a:p>
          <a:p>
            <a:pPr>
              <a:defRPr/>
            </a:pPr>
            <a:r>
              <a:rPr 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Withdrawals will reduce the death benefit, living benefits and cash surrender value. Withdrawals will come from any gain in the contract first for federal income tax purposes. </a:t>
            </a:r>
          </a:p>
          <a:p>
            <a:pPr>
              <a:defRPr/>
            </a:pPr>
            <a:r>
              <a:rPr 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Variable annuities are subject to investment risks, including the possible loss of principal invested.</a:t>
            </a:r>
          </a:p>
          <a:p>
            <a:pPr>
              <a:defRPr/>
            </a:pPr>
            <a:r>
              <a:rPr 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Guarantees described herein are subject to the claims-paying ability of the issuing company and do not apply to the subaccount investment options. </a:t>
            </a:r>
          </a:p>
        </p:txBody>
      </p:sp>
      <p:sp>
        <p:nvSpPr>
          <p:cNvPr id="9" name="Rectangle 2">
            <a:extLst>
              <a:ext uri="{FF2B5EF4-FFF2-40B4-BE49-F238E27FC236}">
                <a16:creationId xmlns:a16="http://schemas.microsoft.com/office/drawing/2014/main" id="{9488BAA3-FC01-A140-9B5A-207CCF7E8CDD}"/>
              </a:ext>
            </a:extLst>
          </p:cNvPr>
          <p:cNvSpPr txBox="1">
            <a:spLocks/>
          </p:cNvSpPr>
          <p:nvPr/>
        </p:nvSpPr>
        <p:spPr bwMode="auto">
          <a:xfrm>
            <a:off x="347328" y="4415305"/>
            <a:ext cx="8510922" cy="1749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defTabSz="457200" rtl="0" eaLnBrk="0" fontAlgn="base" hangingPunct="0">
              <a:spcBef>
                <a:spcPct val="20000"/>
              </a:spcBef>
              <a:spcAft>
                <a:spcPct val="0"/>
              </a:spcAft>
              <a:buBlip>
                <a:blip r:embed="rId3"/>
              </a:buBlip>
              <a:defRPr kern="1200">
                <a:solidFill>
                  <a:schemeClr val="tx1"/>
                </a:solidFill>
                <a:latin typeface="Arial" pitchFamily="34" charset="0"/>
                <a:ea typeface="MS PGothic" pitchFamily="34" charset="-128"/>
                <a:cs typeface="Arial" pitchFamily="34" charset="0"/>
              </a:defRPr>
            </a:lvl1pPr>
            <a:lvl2pPr marL="361950" indent="95250" algn="l" defTabSz="457200" rtl="0" eaLnBrk="0" fontAlgn="base" hangingPunct="0">
              <a:spcBef>
                <a:spcPct val="20000"/>
              </a:spcBef>
              <a:spcAft>
                <a:spcPct val="0"/>
              </a:spcAft>
              <a:buFont typeface="Arial" pitchFamily="34" charset="0"/>
              <a:defRPr b="1" kern="1200">
                <a:solidFill>
                  <a:schemeClr val="tx1"/>
                </a:solidFill>
                <a:latin typeface="Arial" pitchFamily="34" charset="0"/>
                <a:ea typeface="MS PGothic" pitchFamily="34" charset="-128"/>
                <a:cs typeface="Arial" pitchFamily="34" charset="0"/>
              </a:defRPr>
            </a:lvl2pPr>
            <a:lvl3pPr marL="630238" indent="-268288" algn="l" defTabSz="457200" rtl="0" eaLnBrk="0" fontAlgn="base" hangingPunct="0">
              <a:spcBef>
                <a:spcPct val="20000"/>
              </a:spcBef>
              <a:spcAft>
                <a:spcPct val="0"/>
              </a:spcAft>
              <a:buClr>
                <a:schemeClr val="tx2"/>
              </a:buClr>
              <a:buFont typeface="Wingdings" pitchFamily="2" charset="2"/>
              <a:buChar char=""/>
              <a:defRPr sz="1600" kern="1200">
                <a:solidFill>
                  <a:schemeClr val="tx1"/>
                </a:solidFill>
                <a:latin typeface="Arial" pitchFamily="34" charset="0"/>
                <a:ea typeface="MS PGothic" pitchFamily="34" charset="-128"/>
                <a:cs typeface="Arial" pitchFamily="34" charset="0"/>
              </a:defRPr>
            </a:lvl3pPr>
            <a:lvl4pPr marL="630238" indent="741363" algn="l" defTabSz="457200" rtl="0" eaLnBrk="0" fontAlgn="base" hangingPunct="0">
              <a:spcBef>
                <a:spcPct val="20000"/>
              </a:spcBef>
              <a:spcAft>
                <a:spcPct val="0"/>
              </a:spcAft>
              <a:defRPr sz="1600" kern="1200">
                <a:solidFill>
                  <a:schemeClr val="tx1"/>
                </a:solidFill>
                <a:latin typeface="Arial" pitchFamily="34" charset="0"/>
                <a:ea typeface="MS PGothic" pitchFamily="34" charset="-128"/>
                <a:cs typeface="Arial" pitchFamily="34" charset="0"/>
              </a:defRPr>
            </a:lvl4pPr>
            <a:lvl5pPr marL="801688" indent="-171450" algn="l" defTabSz="457200" rtl="0" eaLnBrk="0" fontAlgn="base" hangingPunct="0">
              <a:spcBef>
                <a:spcPct val="20000"/>
              </a:spcBef>
              <a:spcAft>
                <a:spcPct val="0"/>
              </a:spcAft>
              <a:buClr>
                <a:schemeClr val="tx2"/>
              </a:buClr>
              <a:buFont typeface="Arial" pitchFamily="34" charset="0"/>
              <a:buChar char="­"/>
              <a:defRPr sz="1400" kern="1200">
                <a:solidFill>
                  <a:schemeClr val="tx1"/>
                </a:solidFill>
                <a:latin typeface="Arial" pitchFamily="34" charset="0"/>
                <a:ea typeface="MS PGothic" pitchFamily="34" charset="-128"/>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Tx/>
              <a:buNone/>
              <a:defRPr/>
            </a:pPr>
            <a:r>
              <a:rPr lang="en-US" altLang="en-US" sz="14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Clients investing in a variable annuity through a tax-advantaged retirement plan, such as an IRA, will not get any additional tax advantage from the variable annuity. Under these circumstances clients should only consider buying a variable annuity because of its other features, such as lifetime income payments and death benefits protection.</a:t>
            </a:r>
          </a:p>
          <a:p>
            <a:pPr>
              <a:defRPr/>
            </a:pPr>
            <a:endParaRPr lang="en-US" altLang="en-US" sz="14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1" name="TextBox 10">
            <a:extLst>
              <a:ext uri="{FF2B5EF4-FFF2-40B4-BE49-F238E27FC236}">
                <a16:creationId xmlns:a16="http://schemas.microsoft.com/office/drawing/2014/main" id="{F7CEA297-B53F-324C-BE7D-8650EE002BE4}"/>
              </a:ext>
            </a:extLst>
          </p:cNvPr>
          <p:cNvSpPr txBox="1"/>
          <p:nvPr/>
        </p:nvSpPr>
        <p:spPr>
          <a:xfrm>
            <a:off x="347328" y="806948"/>
            <a:ext cx="7208865" cy="307777"/>
          </a:xfrm>
          <a:prstGeom prst="rect">
            <a:avLst/>
          </a:prstGeom>
          <a:noFill/>
        </p:spPr>
        <p:txBody>
          <a:bodyPr wrap="square" rtlCol="0">
            <a:spAutoFit/>
          </a:bodyPr>
          <a:lstStyle/>
          <a:p>
            <a:r>
              <a:rPr lang="en-US" sz="1400" dirty="0">
                <a:solidFill>
                  <a:srgbClr val="3369FF"/>
                </a:solidFill>
                <a:latin typeface="Segoe UI" panose="020B0502040204020203" pitchFamily="34" charset="0"/>
                <a:ea typeface="Segoe UI" panose="020B0502040204020203" pitchFamily="34" charset="0"/>
                <a:cs typeface="Segoe UI" panose="020B0502040204020203" pitchFamily="34" charset="0"/>
              </a:rPr>
              <a:t>A few things to know…</a:t>
            </a:r>
          </a:p>
        </p:txBody>
      </p:sp>
    </p:spTree>
    <p:extLst>
      <p:ext uri="{BB962C8B-B14F-4D97-AF65-F5344CB8AC3E}">
        <p14:creationId xmlns:p14="http://schemas.microsoft.com/office/powerpoint/2010/main" val="1147267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Chart 90">
            <a:extLst>
              <a:ext uri="{FF2B5EF4-FFF2-40B4-BE49-F238E27FC236}">
                <a16:creationId xmlns:a16="http://schemas.microsoft.com/office/drawing/2014/main" id="{EBAF39F2-5F9B-4B47-BB71-D216A781B7C3}"/>
              </a:ext>
            </a:extLst>
          </p:cNvPr>
          <p:cNvGraphicFramePr/>
          <p:nvPr>
            <p:extLst>
              <p:ext uri="{D42A27DB-BD31-4B8C-83A1-F6EECF244321}">
                <p14:modId xmlns:p14="http://schemas.microsoft.com/office/powerpoint/2010/main" val="3167507510"/>
              </p:ext>
            </p:extLst>
          </p:nvPr>
        </p:nvGraphicFramePr>
        <p:xfrm>
          <a:off x="337171" y="1716831"/>
          <a:ext cx="8470928" cy="3284376"/>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718539" y="6363518"/>
            <a:ext cx="231295" cy="145566"/>
          </a:xfrm>
        </p:spPr>
        <p:txBody>
          <a:bodyPr/>
          <a:lstStyle/>
          <a:p>
            <a:fld id="{2C7AFF3D-0B71-614B-ACB6-7F45BDA6A838}" type="slidenum">
              <a:rPr lang="en-US" smtClean="0">
                <a:latin typeface="Segoe UI" panose="020B0502040204020203" pitchFamily="34" charset="0"/>
              </a:rPr>
              <a:pPr/>
              <a:t>3</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85751" y="381000"/>
            <a:ext cx="5624598"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What will happen next?</a:t>
            </a:r>
          </a:p>
        </p:txBody>
      </p:sp>
      <p:cxnSp>
        <p:nvCxnSpPr>
          <p:cNvPr id="27" name="Straight Connector 26">
            <a:extLst>
              <a:ext uri="{FF2B5EF4-FFF2-40B4-BE49-F238E27FC236}">
                <a16:creationId xmlns:a16="http://schemas.microsoft.com/office/drawing/2014/main" id="{20F1B9A8-C04B-1B46-BDBD-567944F5F387}"/>
              </a:ext>
            </a:extLst>
          </p:cNvPr>
          <p:cNvCxnSpPr>
            <a:cxnSpLocks/>
          </p:cNvCxnSpPr>
          <p:nvPr/>
        </p:nvCxnSpPr>
        <p:spPr>
          <a:xfrm>
            <a:off x="419100" y="1657737"/>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BF12C11-2E7A-6D49-BB87-758B649AA955}"/>
              </a:ext>
            </a:extLst>
          </p:cNvPr>
          <p:cNvCxnSpPr>
            <a:cxnSpLocks/>
          </p:cNvCxnSpPr>
          <p:nvPr/>
        </p:nvCxnSpPr>
        <p:spPr>
          <a:xfrm>
            <a:off x="419100" y="4989849"/>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D4E046F-3D75-F343-94A2-87EF83513F87}"/>
              </a:ext>
            </a:extLst>
          </p:cNvPr>
          <p:cNvSpPr txBox="1"/>
          <p:nvPr/>
        </p:nvSpPr>
        <p:spPr>
          <a:xfrm>
            <a:off x="419100" y="5088999"/>
            <a:ext cx="8724899" cy="615553"/>
          </a:xfrm>
          <a:prstGeom prst="rect">
            <a:avLst/>
          </a:prstGeom>
          <a:noFill/>
        </p:spPr>
        <p:txBody>
          <a:bodyPr wrap="square" lIns="0" tIns="0" rIns="0" bIns="0" rtlCol="0">
            <a:spAutoFit/>
          </a:bodyPr>
          <a:lstStyle/>
          <a:p>
            <a:r>
              <a:rPr lang="en-US" sz="800" dirty="0">
                <a:solidFill>
                  <a:srgbClr val="75787B"/>
                </a:solidFill>
              </a:rPr>
              <a:t>Source: </a:t>
            </a:r>
            <a:r>
              <a:rPr lang="en-US" sz="800" dirty="0" err="1">
                <a:solidFill>
                  <a:srgbClr val="75787B"/>
                </a:solidFill>
              </a:rPr>
              <a:t>Compustat</a:t>
            </a:r>
            <a:r>
              <a:rPr lang="en-US" sz="800" dirty="0">
                <a:solidFill>
                  <a:srgbClr val="75787B"/>
                </a:solidFill>
              </a:rPr>
              <a:t>, FactSet, Federal Reserve, Standard &amp; Poor’s, Thomson Reuters, J.P. Morgan Asset Management.</a:t>
            </a:r>
          </a:p>
          <a:p>
            <a:r>
              <a:rPr lang="en-US" sz="800" dirty="0">
                <a:solidFill>
                  <a:srgbClr val="75787B"/>
                </a:solidFill>
              </a:rPr>
              <a:t>Dividend yield is calculated as consensus estimates of dividends for the next 12 months, divided by most recent price, as provided by </a:t>
            </a:r>
            <a:r>
              <a:rPr lang="en-US" sz="800" dirty="0" err="1">
                <a:solidFill>
                  <a:srgbClr val="75787B"/>
                </a:solidFill>
              </a:rPr>
              <a:t>Compustat</a:t>
            </a:r>
            <a:r>
              <a:rPr lang="en-US" sz="800" dirty="0">
                <a:solidFill>
                  <a:srgbClr val="75787B"/>
                </a:solidFill>
              </a:rPr>
              <a:t>.</a:t>
            </a:r>
          </a:p>
          <a:p>
            <a:r>
              <a:rPr lang="en-US" sz="800" dirty="0">
                <a:solidFill>
                  <a:srgbClr val="75787B"/>
                </a:solidFill>
              </a:rPr>
              <a:t>Forward price to earnings ratio is a bottom-up calculation based on the most recent S&amp;P 500 Index price, divided by consensus estimates for earnings in the next 12 months (NTM), and is provided by FactSet Market Aggregates. Returns are cumulative and based on S&amp;P 500® Index price movement only, and do not include the reinvestment of dividends. Past performance is not indicative of future returns.   </a:t>
            </a:r>
            <a:br>
              <a:rPr lang="en-US" sz="800" dirty="0">
                <a:solidFill>
                  <a:srgbClr val="75787B"/>
                </a:solidFill>
              </a:rPr>
            </a:br>
            <a:r>
              <a:rPr lang="en-US" sz="800" i="1" dirty="0">
                <a:solidFill>
                  <a:srgbClr val="75787B"/>
                </a:solidFill>
              </a:rPr>
              <a:t>Guide to the Markets – U.S. </a:t>
            </a:r>
            <a:r>
              <a:rPr lang="en-US" sz="800" dirty="0">
                <a:solidFill>
                  <a:srgbClr val="75787B"/>
                </a:solidFill>
              </a:rPr>
              <a:t>Data are as of March 31,  2018.</a:t>
            </a:r>
            <a:endParaRPr lang="en-US" sz="800" dirty="0">
              <a:solidFill>
                <a:srgbClr val="75787B"/>
              </a:solidFill>
              <a:cs typeface="Arial" pitchFamily="34" charset="0"/>
            </a:endParaRPr>
          </a:p>
        </p:txBody>
      </p:sp>
      <p:sp>
        <p:nvSpPr>
          <p:cNvPr id="44" name="Text Placeholder 4">
            <a:extLst>
              <a:ext uri="{FF2B5EF4-FFF2-40B4-BE49-F238E27FC236}">
                <a16:creationId xmlns:a16="http://schemas.microsoft.com/office/drawing/2014/main" id="{42C019C0-B7BC-A948-964D-92097542049B}"/>
              </a:ext>
            </a:extLst>
          </p:cNvPr>
          <p:cNvSpPr txBox="1">
            <a:spLocks/>
          </p:cNvSpPr>
          <p:nvPr/>
        </p:nvSpPr>
        <p:spPr>
          <a:xfrm>
            <a:off x="341656" y="1204739"/>
            <a:ext cx="3832602"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S&amp;P 500® Price</a:t>
            </a:r>
            <a:endParaRPr lang="en-US" sz="1400" b="0" dirty="0">
              <a:solidFill>
                <a:srgbClr val="75787B"/>
              </a:solidFill>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1">
            <a:extLst>
              <a:ext uri="{FF2B5EF4-FFF2-40B4-BE49-F238E27FC236}">
                <a16:creationId xmlns:a16="http://schemas.microsoft.com/office/drawing/2014/main" id="{07F47264-D647-8743-A227-6218B7C1ADDF}"/>
              </a:ext>
            </a:extLst>
          </p:cNvPr>
          <p:cNvSpPr txBox="1"/>
          <p:nvPr/>
        </p:nvSpPr>
        <p:spPr bwMode="auto">
          <a:xfrm>
            <a:off x="1169691" y="3635724"/>
            <a:ext cx="794493"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square" lIns="0" tIns="0" rIns="0" bIns="0" rtlCol="0" anchor="b">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eaLnBrk="1" hangingPunct="1"/>
            <a:r>
              <a:rPr lang="en-US" sz="1100" b="1" dirty="0">
                <a:solidFill>
                  <a:srgbClr val="00008F"/>
                </a:solidFill>
                <a:highlight>
                  <a:srgbClr val="FFFFFF"/>
                </a:highlight>
                <a:latin typeface="+mj-lt"/>
                <a:cs typeface="Arial" pitchFamily="34" charset="0"/>
              </a:rPr>
              <a:t>+106%</a:t>
            </a:r>
          </a:p>
        </p:txBody>
      </p:sp>
      <p:sp>
        <p:nvSpPr>
          <p:cNvPr id="74" name="TextBox 2">
            <a:extLst>
              <a:ext uri="{FF2B5EF4-FFF2-40B4-BE49-F238E27FC236}">
                <a16:creationId xmlns:a16="http://schemas.microsoft.com/office/drawing/2014/main" id="{FA799CD2-8BBD-0242-A122-8FB4E66B709E}"/>
              </a:ext>
            </a:extLst>
          </p:cNvPr>
          <p:cNvSpPr txBox="1"/>
          <p:nvPr/>
        </p:nvSpPr>
        <p:spPr bwMode="auto">
          <a:xfrm>
            <a:off x="3765707" y="3420932"/>
            <a:ext cx="794493"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square" lIns="0" tIns="0" rIns="0" bIns="0" rtlCol="0" anchor="b">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eaLnBrk="1" hangingPunct="1"/>
            <a:r>
              <a:rPr lang="en-US" sz="1100" b="1" dirty="0">
                <a:solidFill>
                  <a:srgbClr val="00008F"/>
                </a:solidFill>
                <a:highlight>
                  <a:srgbClr val="FFFFFF"/>
                </a:highlight>
                <a:latin typeface="+mj-lt"/>
                <a:cs typeface="Arial" pitchFamily="34" charset="0"/>
              </a:rPr>
              <a:t>+101%</a:t>
            </a:r>
          </a:p>
        </p:txBody>
      </p:sp>
      <p:sp>
        <p:nvSpPr>
          <p:cNvPr id="75" name="TextBox 3">
            <a:extLst>
              <a:ext uri="{FF2B5EF4-FFF2-40B4-BE49-F238E27FC236}">
                <a16:creationId xmlns:a16="http://schemas.microsoft.com/office/drawing/2014/main" id="{034ED2F4-FDF2-314C-9FBE-510946F3899F}"/>
              </a:ext>
            </a:extLst>
          </p:cNvPr>
          <p:cNvSpPr txBox="1"/>
          <p:nvPr/>
        </p:nvSpPr>
        <p:spPr bwMode="auto">
          <a:xfrm>
            <a:off x="7116128" y="2537413"/>
            <a:ext cx="72793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square" lIns="0" tIns="0" rIns="0" bIns="0" rtlCol="0" anchor="b">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eaLnBrk="1" hangingPunct="1"/>
            <a:r>
              <a:rPr lang="en-US" sz="1100" b="1" dirty="0">
                <a:solidFill>
                  <a:srgbClr val="00008F"/>
                </a:solidFill>
                <a:highlight>
                  <a:srgbClr val="FFFFFF"/>
                </a:highlight>
                <a:latin typeface="+mj-lt"/>
                <a:cs typeface="Arial" pitchFamily="34" charset="0"/>
              </a:rPr>
              <a:t>+290%</a:t>
            </a:r>
          </a:p>
        </p:txBody>
      </p:sp>
      <p:sp>
        <p:nvSpPr>
          <p:cNvPr id="76" name="TextBox 1">
            <a:extLst>
              <a:ext uri="{FF2B5EF4-FFF2-40B4-BE49-F238E27FC236}">
                <a16:creationId xmlns:a16="http://schemas.microsoft.com/office/drawing/2014/main" id="{541C03E1-DCEE-1A42-9FFE-38130C55113F}"/>
              </a:ext>
            </a:extLst>
          </p:cNvPr>
          <p:cNvSpPr txBox="1"/>
          <p:nvPr/>
        </p:nvSpPr>
        <p:spPr bwMode="auto">
          <a:xfrm>
            <a:off x="2035787" y="4076161"/>
            <a:ext cx="60107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square" lIns="0" tIns="0" rIns="0" bIns="0" rtlCol="0" anchor="b">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r" eaLnBrk="1" hangingPunct="1"/>
            <a:r>
              <a:rPr lang="en-US" sz="1100" b="1" dirty="0">
                <a:solidFill>
                  <a:srgbClr val="C00000"/>
                </a:solidFill>
                <a:highlight>
                  <a:srgbClr val="FFFFFF"/>
                </a:highlight>
                <a:latin typeface="+mj-lt"/>
                <a:cs typeface="Arial" pitchFamily="34" charset="0"/>
              </a:rPr>
              <a:t>-49% </a:t>
            </a:r>
          </a:p>
        </p:txBody>
      </p:sp>
      <p:sp>
        <p:nvSpPr>
          <p:cNvPr id="77" name="TextBox 2">
            <a:extLst>
              <a:ext uri="{FF2B5EF4-FFF2-40B4-BE49-F238E27FC236}">
                <a16:creationId xmlns:a16="http://schemas.microsoft.com/office/drawing/2014/main" id="{DAA4CDAC-B0EB-4C4E-94FB-7161B90C4FE6}"/>
              </a:ext>
            </a:extLst>
          </p:cNvPr>
          <p:cNvSpPr txBox="1"/>
          <p:nvPr/>
        </p:nvSpPr>
        <p:spPr bwMode="auto">
          <a:xfrm>
            <a:off x="4289788" y="3842513"/>
            <a:ext cx="60107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square" lIns="0" tIns="0" rIns="0" bIns="0" rtlCol="0" anchor="b">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r" eaLnBrk="1" hangingPunct="1"/>
            <a:r>
              <a:rPr lang="en-US" sz="1100" b="1" dirty="0">
                <a:solidFill>
                  <a:srgbClr val="C00000"/>
                </a:solidFill>
                <a:highlight>
                  <a:srgbClr val="FFFFFF"/>
                </a:highlight>
                <a:latin typeface="+mj-lt"/>
                <a:cs typeface="Arial" pitchFamily="34" charset="0"/>
              </a:rPr>
              <a:t>-57% </a:t>
            </a:r>
          </a:p>
        </p:txBody>
      </p:sp>
      <p:sp>
        <p:nvSpPr>
          <p:cNvPr id="81" name="TextBox 2">
            <a:extLst>
              <a:ext uri="{FF2B5EF4-FFF2-40B4-BE49-F238E27FC236}">
                <a16:creationId xmlns:a16="http://schemas.microsoft.com/office/drawing/2014/main" id="{D58F6F23-544A-264F-B6DC-F73928F151E7}"/>
              </a:ext>
            </a:extLst>
          </p:cNvPr>
          <p:cNvSpPr txBox="1"/>
          <p:nvPr/>
        </p:nvSpPr>
        <p:spPr bwMode="auto">
          <a:xfrm>
            <a:off x="3185190" y="4346418"/>
            <a:ext cx="1046153"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square" lIns="0" tIns="0" rIns="0" bIns="0" rtlCol="0" anchor="b">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en-US" sz="700" dirty="0">
                <a:solidFill>
                  <a:srgbClr val="002577"/>
                </a:solidFill>
                <a:highlight>
                  <a:srgbClr val="FFFFFF"/>
                </a:highlight>
                <a:latin typeface="+mn-lt"/>
                <a:ea typeface="Segoe UI" panose="020B0502040204020203" pitchFamily="34" charset="0"/>
                <a:cs typeface="Segoe UI" panose="020B0502040204020203" pitchFamily="34" charset="0"/>
              </a:rPr>
              <a:t>Oct.9, 2002</a:t>
            </a:r>
          </a:p>
          <a:p>
            <a:pPr algn="ctr"/>
            <a:r>
              <a:rPr lang="en-US" sz="700" dirty="0">
                <a:solidFill>
                  <a:srgbClr val="002577"/>
                </a:solidFill>
                <a:highlight>
                  <a:srgbClr val="FFFFFF"/>
                </a:highlight>
                <a:latin typeface="+mn-lt"/>
                <a:cs typeface="Arial" pitchFamily="34" charset="0"/>
              </a:rPr>
              <a:t>P/E 9 (fwd.) = 14.1x</a:t>
            </a:r>
          </a:p>
          <a:p>
            <a:pPr algn="ctr"/>
            <a:r>
              <a:rPr lang="en-US" sz="700" dirty="0">
                <a:solidFill>
                  <a:srgbClr val="002577"/>
                </a:solidFill>
                <a:highlight>
                  <a:srgbClr val="FFFFFF"/>
                </a:highlight>
                <a:latin typeface="+mn-lt"/>
                <a:cs typeface="Arial" pitchFamily="34" charset="0"/>
              </a:rPr>
              <a:t>777</a:t>
            </a:r>
          </a:p>
        </p:txBody>
      </p:sp>
      <p:cxnSp>
        <p:nvCxnSpPr>
          <p:cNvPr id="82" name="Straight Connector 81">
            <a:extLst>
              <a:ext uri="{FF2B5EF4-FFF2-40B4-BE49-F238E27FC236}">
                <a16:creationId xmlns:a16="http://schemas.microsoft.com/office/drawing/2014/main" id="{A1304BFD-C48D-6342-84AD-B78BC87DDAED}"/>
              </a:ext>
            </a:extLst>
          </p:cNvPr>
          <p:cNvCxnSpPr>
            <a:cxnSpLocks/>
          </p:cNvCxnSpPr>
          <p:nvPr/>
        </p:nvCxnSpPr>
        <p:spPr>
          <a:xfrm flipV="1">
            <a:off x="769823" y="3482446"/>
            <a:ext cx="1537656" cy="982957"/>
          </a:xfrm>
          <a:prstGeom prst="line">
            <a:avLst/>
          </a:prstGeom>
          <a:ln w="19050">
            <a:solidFill>
              <a:srgbClr val="00257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D024440A-D9DA-8B44-B373-755175F165EA}"/>
              </a:ext>
            </a:extLst>
          </p:cNvPr>
          <p:cNvCxnSpPr>
            <a:cxnSpLocks/>
          </p:cNvCxnSpPr>
          <p:nvPr/>
        </p:nvCxnSpPr>
        <p:spPr>
          <a:xfrm>
            <a:off x="2301342" y="3488583"/>
            <a:ext cx="834620" cy="908263"/>
          </a:xfrm>
          <a:prstGeom prst="line">
            <a:avLst/>
          </a:prstGeom>
          <a:ln w="19050">
            <a:solidFill>
              <a:srgbClr val="002577"/>
            </a:solidFill>
            <a:tailEnd type="ova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24C99B4-9C7E-8245-8E71-C5344483CB65}"/>
              </a:ext>
            </a:extLst>
          </p:cNvPr>
          <p:cNvCxnSpPr>
            <a:cxnSpLocks/>
          </p:cNvCxnSpPr>
          <p:nvPr/>
        </p:nvCxnSpPr>
        <p:spPr>
          <a:xfrm flipV="1">
            <a:off x="3128276" y="3390392"/>
            <a:ext cx="1670790" cy="1000367"/>
          </a:xfrm>
          <a:prstGeom prst="line">
            <a:avLst/>
          </a:prstGeom>
          <a:ln w="19050">
            <a:solidFill>
              <a:srgbClr val="002577"/>
            </a:solidFill>
            <a:tailEnd type="ova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8C8EFA5A-FEEE-5241-ACCF-9697BAF0CE49}"/>
              </a:ext>
            </a:extLst>
          </p:cNvPr>
          <p:cNvCxnSpPr>
            <a:cxnSpLocks/>
          </p:cNvCxnSpPr>
          <p:nvPr/>
        </p:nvCxnSpPr>
        <p:spPr>
          <a:xfrm>
            <a:off x="4809915" y="3401650"/>
            <a:ext cx="467830" cy="1013606"/>
          </a:xfrm>
          <a:prstGeom prst="line">
            <a:avLst/>
          </a:prstGeom>
          <a:ln w="19050">
            <a:solidFill>
              <a:srgbClr val="002577"/>
            </a:solidFill>
            <a:tailEnd type="oval"/>
          </a:ln>
        </p:spPr>
        <p:style>
          <a:lnRef idx="1">
            <a:schemeClr val="accent1"/>
          </a:lnRef>
          <a:fillRef idx="0">
            <a:schemeClr val="accent1"/>
          </a:fillRef>
          <a:effectRef idx="0">
            <a:schemeClr val="accent1"/>
          </a:effectRef>
          <a:fontRef idx="minor">
            <a:schemeClr val="tx1"/>
          </a:fontRef>
        </p:style>
      </p:cxnSp>
      <p:sp>
        <p:nvSpPr>
          <p:cNvPr id="86" name="TextBox 2">
            <a:extLst>
              <a:ext uri="{FF2B5EF4-FFF2-40B4-BE49-F238E27FC236}">
                <a16:creationId xmlns:a16="http://schemas.microsoft.com/office/drawing/2014/main" id="{00D31E41-0BB8-D14C-8389-808034EB6CFC}"/>
              </a:ext>
            </a:extLst>
          </p:cNvPr>
          <p:cNvSpPr txBox="1"/>
          <p:nvPr/>
        </p:nvSpPr>
        <p:spPr bwMode="auto">
          <a:xfrm>
            <a:off x="5451552" y="4335713"/>
            <a:ext cx="1046153"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square" lIns="0" tIns="0" rIns="0" bIns="0" rtlCol="0" anchor="b">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en-US" sz="700" dirty="0">
                <a:solidFill>
                  <a:srgbClr val="002577"/>
                </a:solidFill>
                <a:highlight>
                  <a:srgbClr val="FFFFFF"/>
                </a:highlight>
                <a:latin typeface="+mn-lt"/>
                <a:ea typeface="Segoe UI" panose="020B0502040204020203" pitchFamily="34" charset="0"/>
                <a:cs typeface="Segoe UI" panose="020B0502040204020203" pitchFamily="34" charset="0"/>
              </a:rPr>
              <a:t>Mar.9, 2009</a:t>
            </a:r>
          </a:p>
          <a:p>
            <a:pPr algn="ctr"/>
            <a:r>
              <a:rPr lang="en-US" sz="700" dirty="0">
                <a:solidFill>
                  <a:srgbClr val="002577"/>
                </a:solidFill>
                <a:highlight>
                  <a:srgbClr val="FFFFFF"/>
                </a:highlight>
                <a:latin typeface="+mn-lt"/>
                <a:cs typeface="Arial" pitchFamily="34" charset="0"/>
              </a:rPr>
              <a:t>P/E 9 (fwd.) = 10.3x</a:t>
            </a:r>
          </a:p>
          <a:p>
            <a:pPr algn="ctr"/>
            <a:r>
              <a:rPr lang="en-US" sz="700" dirty="0">
                <a:solidFill>
                  <a:srgbClr val="002577"/>
                </a:solidFill>
                <a:highlight>
                  <a:srgbClr val="FFFFFF"/>
                </a:highlight>
                <a:latin typeface="+mn-lt"/>
                <a:cs typeface="Arial" pitchFamily="34" charset="0"/>
              </a:rPr>
              <a:t>677</a:t>
            </a:r>
          </a:p>
        </p:txBody>
      </p:sp>
      <p:sp>
        <p:nvSpPr>
          <p:cNvPr id="87" name="TextBox 2">
            <a:extLst>
              <a:ext uri="{FF2B5EF4-FFF2-40B4-BE49-F238E27FC236}">
                <a16:creationId xmlns:a16="http://schemas.microsoft.com/office/drawing/2014/main" id="{0E9CE76A-5875-A546-B2AF-E92165EFBA92}"/>
              </a:ext>
            </a:extLst>
          </p:cNvPr>
          <p:cNvSpPr txBox="1"/>
          <p:nvPr/>
        </p:nvSpPr>
        <p:spPr bwMode="auto">
          <a:xfrm>
            <a:off x="7296155" y="2006107"/>
            <a:ext cx="1046153"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square" lIns="0" tIns="0" rIns="0" bIns="0" rtlCol="0" anchor="b">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en-US" sz="700" dirty="0">
                <a:solidFill>
                  <a:srgbClr val="002577"/>
                </a:solidFill>
                <a:highlight>
                  <a:srgbClr val="FFFFFF"/>
                </a:highlight>
                <a:latin typeface="+mn-lt"/>
                <a:ea typeface="Segoe UI" panose="020B0502040204020203" pitchFamily="34" charset="0"/>
                <a:cs typeface="Segoe UI" panose="020B0502040204020203" pitchFamily="34" charset="0"/>
              </a:rPr>
              <a:t>Mar. 31, 2018</a:t>
            </a:r>
          </a:p>
          <a:p>
            <a:pPr algn="ctr"/>
            <a:r>
              <a:rPr lang="en-US" sz="700" dirty="0">
                <a:solidFill>
                  <a:srgbClr val="002577"/>
                </a:solidFill>
                <a:highlight>
                  <a:srgbClr val="FFFFFF"/>
                </a:highlight>
                <a:latin typeface="+mn-lt"/>
                <a:cs typeface="Arial" pitchFamily="34" charset="0"/>
              </a:rPr>
              <a:t>P/E (fwd.) = 16.4x</a:t>
            </a:r>
          </a:p>
          <a:p>
            <a:pPr algn="ctr"/>
            <a:r>
              <a:rPr lang="en-US" sz="700" dirty="0">
                <a:solidFill>
                  <a:srgbClr val="002577"/>
                </a:solidFill>
                <a:highlight>
                  <a:srgbClr val="FFFFFF"/>
                </a:highlight>
                <a:latin typeface="+mn-lt"/>
                <a:cs typeface="Arial" pitchFamily="34" charset="0"/>
              </a:rPr>
              <a:t>2,841</a:t>
            </a:r>
          </a:p>
        </p:txBody>
      </p:sp>
      <p:sp>
        <p:nvSpPr>
          <p:cNvPr id="88" name="TextBox 2">
            <a:extLst>
              <a:ext uri="{FF2B5EF4-FFF2-40B4-BE49-F238E27FC236}">
                <a16:creationId xmlns:a16="http://schemas.microsoft.com/office/drawing/2014/main" id="{A0C890A6-6EFD-574F-B6DA-199BCD774D11}"/>
              </a:ext>
            </a:extLst>
          </p:cNvPr>
          <p:cNvSpPr txBox="1"/>
          <p:nvPr/>
        </p:nvSpPr>
        <p:spPr bwMode="auto">
          <a:xfrm>
            <a:off x="4293119" y="3010723"/>
            <a:ext cx="1046153"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square" lIns="0" tIns="0" rIns="0" bIns="0" rtlCol="0" anchor="b">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en-US" sz="700" dirty="0">
                <a:solidFill>
                  <a:srgbClr val="002577"/>
                </a:solidFill>
                <a:highlight>
                  <a:srgbClr val="FFFFFF"/>
                </a:highlight>
                <a:latin typeface="+mn-lt"/>
                <a:ea typeface="Segoe UI" panose="020B0502040204020203" pitchFamily="34" charset="0"/>
                <a:cs typeface="Segoe UI" panose="020B0502040204020203" pitchFamily="34" charset="0"/>
              </a:rPr>
              <a:t>Mar.9.2007</a:t>
            </a:r>
          </a:p>
          <a:p>
            <a:pPr algn="ctr"/>
            <a:r>
              <a:rPr lang="en-US" sz="700" dirty="0">
                <a:solidFill>
                  <a:srgbClr val="002577"/>
                </a:solidFill>
                <a:highlight>
                  <a:srgbClr val="FFFFFF"/>
                </a:highlight>
                <a:latin typeface="+mn-lt"/>
                <a:cs typeface="Arial" pitchFamily="34" charset="0"/>
              </a:rPr>
              <a:t>P/E 9 (fwd.) = 15.7x</a:t>
            </a:r>
          </a:p>
          <a:p>
            <a:pPr algn="ctr"/>
            <a:r>
              <a:rPr lang="en-US" sz="700" dirty="0">
                <a:solidFill>
                  <a:srgbClr val="002577"/>
                </a:solidFill>
                <a:highlight>
                  <a:srgbClr val="FFFFFF"/>
                </a:highlight>
                <a:latin typeface="+mn-lt"/>
                <a:cs typeface="Arial" pitchFamily="34" charset="0"/>
              </a:rPr>
              <a:t>1,565</a:t>
            </a:r>
          </a:p>
        </p:txBody>
      </p:sp>
      <p:sp>
        <p:nvSpPr>
          <p:cNvPr id="89" name="TextBox 2">
            <a:extLst>
              <a:ext uri="{FF2B5EF4-FFF2-40B4-BE49-F238E27FC236}">
                <a16:creationId xmlns:a16="http://schemas.microsoft.com/office/drawing/2014/main" id="{19A0AE87-C906-0947-B447-0EAFA90EACD8}"/>
              </a:ext>
            </a:extLst>
          </p:cNvPr>
          <p:cNvSpPr txBox="1"/>
          <p:nvPr/>
        </p:nvSpPr>
        <p:spPr bwMode="auto">
          <a:xfrm>
            <a:off x="1802366" y="3072470"/>
            <a:ext cx="1046153"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square" lIns="0" tIns="0" rIns="0" bIns="0" rtlCol="0" anchor="b">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en-US" sz="700" dirty="0">
                <a:solidFill>
                  <a:srgbClr val="002577"/>
                </a:solidFill>
                <a:highlight>
                  <a:srgbClr val="FFFFFF"/>
                </a:highlight>
                <a:latin typeface="+mn-lt"/>
                <a:ea typeface="Segoe UI" panose="020B0502040204020203" pitchFamily="34" charset="0"/>
                <a:cs typeface="Segoe UI" panose="020B0502040204020203" pitchFamily="34" charset="0"/>
              </a:rPr>
              <a:t>Mar.24.2000</a:t>
            </a:r>
          </a:p>
          <a:p>
            <a:pPr algn="ctr"/>
            <a:r>
              <a:rPr lang="en-US" sz="700" dirty="0">
                <a:solidFill>
                  <a:srgbClr val="002577"/>
                </a:solidFill>
                <a:highlight>
                  <a:srgbClr val="FFFFFF"/>
                </a:highlight>
                <a:latin typeface="+mn-lt"/>
                <a:cs typeface="Arial" pitchFamily="34" charset="0"/>
              </a:rPr>
              <a:t>P/E 9 (fwd.) = 27.2x</a:t>
            </a:r>
          </a:p>
          <a:p>
            <a:pPr algn="ctr"/>
            <a:r>
              <a:rPr lang="en-US" sz="700" dirty="0">
                <a:solidFill>
                  <a:srgbClr val="002577"/>
                </a:solidFill>
                <a:highlight>
                  <a:srgbClr val="FFFFFF"/>
                </a:highlight>
                <a:latin typeface="+mn-lt"/>
                <a:cs typeface="Arial" pitchFamily="34" charset="0"/>
              </a:rPr>
              <a:t>1,527</a:t>
            </a:r>
          </a:p>
        </p:txBody>
      </p:sp>
      <p:sp>
        <p:nvSpPr>
          <p:cNvPr id="90" name="TextBox 2">
            <a:extLst>
              <a:ext uri="{FF2B5EF4-FFF2-40B4-BE49-F238E27FC236}">
                <a16:creationId xmlns:a16="http://schemas.microsoft.com/office/drawing/2014/main" id="{A67DE650-E308-5344-BB82-B87A2CC99BCB}"/>
              </a:ext>
            </a:extLst>
          </p:cNvPr>
          <p:cNvSpPr txBox="1"/>
          <p:nvPr/>
        </p:nvSpPr>
        <p:spPr bwMode="auto">
          <a:xfrm>
            <a:off x="1157143" y="4338908"/>
            <a:ext cx="95048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square" lIns="0" tIns="0" rIns="0" bIns="0" rtlCol="0" anchor="b">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en-US" sz="700" dirty="0">
                <a:solidFill>
                  <a:srgbClr val="002577"/>
                </a:solidFill>
                <a:highlight>
                  <a:srgbClr val="FFFFFF"/>
                </a:highlight>
                <a:latin typeface="+mn-lt"/>
                <a:ea typeface="Segoe UI" panose="020B0502040204020203" pitchFamily="34" charset="0"/>
                <a:cs typeface="Segoe UI" panose="020B0502040204020203" pitchFamily="34" charset="0"/>
              </a:rPr>
              <a:t>Dec. 31,1996</a:t>
            </a:r>
          </a:p>
          <a:p>
            <a:pPr algn="ctr"/>
            <a:r>
              <a:rPr lang="en-US" sz="700" dirty="0">
                <a:solidFill>
                  <a:srgbClr val="002577"/>
                </a:solidFill>
                <a:highlight>
                  <a:srgbClr val="FFFFFF"/>
                </a:highlight>
                <a:latin typeface="+mn-lt"/>
                <a:cs typeface="Arial" pitchFamily="34" charset="0"/>
              </a:rPr>
              <a:t>P/E (fwd.) = 16.0x</a:t>
            </a:r>
          </a:p>
          <a:p>
            <a:pPr algn="ctr"/>
            <a:r>
              <a:rPr lang="en-US" sz="700" dirty="0">
                <a:solidFill>
                  <a:srgbClr val="002577"/>
                </a:solidFill>
                <a:highlight>
                  <a:srgbClr val="FFFFFF"/>
                </a:highlight>
                <a:latin typeface="+mn-lt"/>
                <a:cs typeface="Arial" pitchFamily="34" charset="0"/>
              </a:rPr>
              <a:t>741</a:t>
            </a:r>
          </a:p>
        </p:txBody>
      </p:sp>
      <p:grpSp>
        <p:nvGrpSpPr>
          <p:cNvPr id="11" name="Group 10">
            <a:extLst>
              <a:ext uri="{FF2B5EF4-FFF2-40B4-BE49-F238E27FC236}">
                <a16:creationId xmlns:a16="http://schemas.microsoft.com/office/drawing/2014/main" id="{782498B9-CAEC-5743-96C4-E17AA28CA16E}"/>
              </a:ext>
            </a:extLst>
          </p:cNvPr>
          <p:cNvGrpSpPr/>
          <p:nvPr/>
        </p:nvGrpSpPr>
        <p:grpSpPr>
          <a:xfrm>
            <a:off x="1350121" y="1802546"/>
            <a:ext cx="3180603" cy="1147121"/>
            <a:chOff x="1350121" y="2278409"/>
            <a:chExt cx="2671606" cy="1147121"/>
          </a:xfrm>
        </p:grpSpPr>
        <p:graphicFrame>
          <p:nvGraphicFramePr>
            <p:cNvPr id="100" name="Table Placeholder 4">
              <a:extLst>
                <a:ext uri="{FF2B5EF4-FFF2-40B4-BE49-F238E27FC236}">
                  <a16:creationId xmlns:a16="http://schemas.microsoft.com/office/drawing/2014/main" id="{BE4BC6C9-EA87-0249-90CA-D83AB4D8EE83}"/>
                </a:ext>
              </a:extLst>
            </p:cNvPr>
            <p:cNvGraphicFramePr>
              <a:graphicFrameLocks/>
            </p:cNvGraphicFramePr>
            <p:nvPr>
              <p:extLst>
                <p:ext uri="{D42A27DB-BD31-4B8C-83A1-F6EECF244321}">
                  <p14:modId xmlns:p14="http://schemas.microsoft.com/office/powerpoint/2010/main" val="703078871"/>
                </p:ext>
              </p:extLst>
            </p:nvPr>
          </p:nvGraphicFramePr>
          <p:xfrm>
            <a:off x="1350121" y="2278409"/>
            <a:ext cx="2671606" cy="1147121"/>
          </p:xfrm>
          <a:graphic>
            <a:graphicData uri="http://schemas.openxmlformats.org/drawingml/2006/table">
              <a:tbl>
                <a:tblPr firstRow="1" bandRow="1">
                  <a:tableStyleId>{7E9639D4-E3E2-4D34-9284-5A2195B3D0D7}</a:tableStyleId>
                </a:tblPr>
                <a:tblGrid>
                  <a:gridCol w="1001924">
                    <a:extLst>
                      <a:ext uri="{9D8B030D-6E8A-4147-A177-3AD203B41FA5}">
                        <a16:colId xmlns:a16="http://schemas.microsoft.com/office/drawing/2014/main" val="696981063"/>
                      </a:ext>
                    </a:extLst>
                  </a:gridCol>
                  <a:gridCol w="739674">
                    <a:extLst>
                      <a:ext uri="{9D8B030D-6E8A-4147-A177-3AD203B41FA5}">
                        <a16:colId xmlns:a16="http://schemas.microsoft.com/office/drawing/2014/main" val="2081105043"/>
                      </a:ext>
                    </a:extLst>
                  </a:gridCol>
                  <a:gridCol w="707648">
                    <a:extLst>
                      <a:ext uri="{9D8B030D-6E8A-4147-A177-3AD203B41FA5}">
                        <a16:colId xmlns:a16="http://schemas.microsoft.com/office/drawing/2014/main" val="1864481652"/>
                      </a:ext>
                    </a:extLst>
                  </a:gridCol>
                  <a:gridCol w="731357">
                    <a:extLst>
                      <a:ext uri="{9D8B030D-6E8A-4147-A177-3AD203B41FA5}">
                        <a16:colId xmlns:a16="http://schemas.microsoft.com/office/drawing/2014/main" val="3285329744"/>
                      </a:ext>
                    </a:extLst>
                  </a:gridCol>
                </a:tblGrid>
                <a:tr h="199313">
                  <a:tc>
                    <a:txBody>
                      <a:bodyPr/>
                      <a:lstStyle/>
                      <a:p>
                        <a:pPr algn="l"/>
                        <a:r>
                          <a:rPr lang="en-US" sz="900" dirty="0">
                            <a:solidFill>
                              <a:schemeClr val="bg1"/>
                            </a:solidFill>
                          </a:rPr>
                          <a:t>Characteristic</a:t>
                        </a:r>
                        <a:endParaRPr lang="en-US" sz="900" b="1" i="0" dirty="0">
                          <a:solidFill>
                            <a:schemeClr val="bg1"/>
                          </a:solidFill>
                          <a:latin typeface="+mn-lt"/>
                          <a:cs typeface="Segoe UI" panose="020B0502040204020203" pitchFamily="34" charset="0"/>
                        </a:endParaRPr>
                      </a:p>
                    </a:txBody>
                    <a:tcPr>
                      <a:lnL w="6350" cap="flat" cmpd="sng" algn="ctr">
                        <a:noFill/>
                        <a:prstDash val="solid"/>
                        <a:miter lim="800000"/>
                      </a:lnL>
                      <a:lnR w="6350" cap="flat" cmpd="sng" algn="ctr">
                        <a:solidFill>
                          <a:srgbClr val="75787B"/>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rgbClr val="002577"/>
                      </a:solidFill>
                    </a:tcPr>
                  </a:tc>
                  <a:tc>
                    <a:txBody>
                      <a:bodyPr/>
                      <a:lstStyle/>
                      <a:p>
                        <a:pPr algn="l"/>
                        <a:r>
                          <a:rPr lang="en-US" sz="900" dirty="0">
                            <a:solidFill>
                              <a:schemeClr val="bg1"/>
                            </a:solidFill>
                          </a:rPr>
                          <a:t>Mar, 2000</a:t>
                        </a:r>
                        <a:endParaRPr lang="en-US" sz="900" b="1" i="0" dirty="0">
                          <a:solidFill>
                            <a:schemeClr val="bg1"/>
                          </a:solidFill>
                          <a:latin typeface="+mn-lt"/>
                          <a:cs typeface="Segoe UI" panose="020B0502040204020203" pitchFamily="34" charset="0"/>
                        </a:endParaRPr>
                      </a:p>
                    </a:txBody>
                    <a:tcPr>
                      <a:lnL w="6350" cap="flat" cmpd="sng" algn="ctr">
                        <a:solidFill>
                          <a:srgbClr val="75787B"/>
                        </a:solidFill>
                        <a:prstDash val="solid"/>
                        <a:round/>
                        <a:headEnd type="none" w="med" len="med"/>
                        <a:tailEnd type="none" w="med" len="med"/>
                      </a:lnL>
                      <a:lnR w="6350" cap="flat" cmpd="sng" algn="ctr">
                        <a:solidFill>
                          <a:srgbClr val="75787B"/>
                        </a:solid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rgbClr val="002577"/>
                      </a:solidFill>
                    </a:tcPr>
                  </a:tc>
                  <a:tc>
                    <a:txBody>
                      <a:bodyPr/>
                      <a:lstStyle/>
                      <a:p>
                        <a:pPr algn="l"/>
                        <a:r>
                          <a:rPr lang="en-US" sz="900" b="1" i="0" dirty="0">
                            <a:solidFill>
                              <a:schemeClr val="bg1"/>
                            </a:solidFill>
                            <a:latin typeface="+mn-lt"/>
                            <a:cs typeface="Segoe UI" panose="020B0502040204020203" pitchFamily="34" charset="0"/>
                          </a:rPr>
                          <a:t>Oct, 2007</a:t>
                        </a:r>
                      </a:p>
                    </a:txBody>
                    <a:tcPr>
                      <a:lnL w="6350" cap="flat" cmpd="sng" algn="ctr">
                        <a:solidFill>
                          <a:srgbClr val="75787B"/>
                        </a:solidFill>
                        <a:prstDash val="solid"/>
                        <a:round/>
                        <a:headEnd type="none" w="med" len="med"/>
                        <a:tailEnd type="none" w="med" len="med"/>
                      </a:lnL>
                      <a:lnR w="6350" cap="flat" cmpd="sng" algn="ctr">
                        <a:solidFill>
                          <a:srgbClr val="75787B"/>
                        </a:solid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rgbClr val="002577"/>
                      </a:solidFill>
                    </a:tcPr>
                  </a:tc>
                  <a:tc>
                    <a:txBody>
                      <a:bodyPr/>
                      <a:lstStyle/>
                      <a:p>
                        <a:pPr algn="l"/>
                        <a:r>
                          <a:rPr lang="en-US" sz="900" b="1" i="0" dirty="0">
                            <a:solidFill>
                              <a:schemeClr val="bg1"/>
                            </a:solidFill>
                            <a:latin typeface="+mn-lt"/>
                            <a:cs typeface="Segoe UI" panose="020B0502040204020203" pitchFamily="34" charset="0"/>
                          </a:rPr>
                          <a:t>Mar, 2018</a:t>
                        </a:r>
                      </a:p>
                    </a:txBody>
                    <a:tcPr>
                      <a:lnL w="6350" cap="flat" cmpd="sng" algn="ctr">
                        <a:solidFill>
                          <a:srgbClr val="75787B"/>
                        </a:solidFill>
                        <a:prstDash val="solid"/>
                        <a:round/>
                        <a:headEnd type="none" w="med" len="med"/>
                        <a:tailEnd type="none" w="med" len="med"/>
                      </a:lnL>
                      <a:lnR w="6350" cap="flat" cmpd="sng" algn="ctr">
                        <a:noFill/>
                        <a:prstDash val="solid"/>
                        <a:miter lim="800000"/>
                      </a:lnR>
                      <a:lnT w="6350" cap="flat" cmpd="sng" algn="ctr">
                        <a:solidFill>
                          <a:srgbClr val="75787B"/>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rgbClr val="002577"/>
                      </a:solidFill>
                    </a:tcPr>
                  </a:tc>
                  <a:extLst>
                    <a:ext uri="{0D108BD9-81ED-4DB2-BD59-A6C34878D82A}">
                      <a16:rowId xmlns:a16="http://schemas.microsoft.com/office/drawing/2014/main" val="178891895"/>
                    </a:ext>
                  </a:extLst>
                </a:tr>
                <a:tr h="232721">
                  <a:tc>
                    <a:txBody>
                      <a:bodyPr/>
                      <a:lstStyle/>
                      <a:p>
                        <a:pPr algn="l"/>
                        <a:r>
                          <a:rPr lang="en-US" sz="900" dirty="0">
                            <a:solidFill>
                              <a:srgbClr val="75787B"/>
                            </a:solidFill>
                          </a:rPr>
                          <a:t>Index level</a:t>
                        </a:r>
                        <a:endParaRPr lang="en-US" sz="900" b="0" i="0" dirty="0">
                          <a:solidFill>
                            <a:srgbClr val="75787B"/>
                          </a:solidFill>
                          <a:latin typeface="+mn-lt"/>
                          <a:cs typeface="Segoe UI" panose="020B0502040204020203" pitchFamily="34" charset="0"/>
                        </a:endParaRPr>
                      </a:p>
                    </a:txBody>
                    <a:tcPr>
                      <a:lnL w="6350" cap="flat" cmpd="sng" algn="ctr">
                        <a:noFill/>
                        <a:prstDash val="solid"/>
                        <a:miter lim="800000"/>
                      </a:lnL>
                      <a:lnR>
                        <a:noFill/>
                      </a:lnR>
                      <a:lnT w="6350" cap="flat" cmpd="sng" algn="ctr">
                        <a:noFill/>
                        <a:prstDash val="solid"/>
                        <a:miter lim="800000"/>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algn="l"/>
                        <a:r>
                          <a:rPr lang="en-US" sz="900" dirty="0">
                            <a:solidFill>
                              <a:srgbClr val="75787B"/>
                            </a:solidFill>
                          </a:rPr>
                          <a:t>1.527</a:t>
                        </a:r>
                        <a:endParaRPr lang="en-US" sz="900" b="0" i="0" dirty="0">
                          <a:solidFill>
                            <a:srgbClr val="75787B"/>
                          </a:solidFill>
                          <a:latin typeface="+mn-lt"/>
                          <a:cs typeface="Segoe UI" panose="020B0502040204020203" pitchFamily="34" charset="0"/>
                        </a:endParaRPr>
                      </a:p>
                    </a:txBody>
                    <a:tcPr>
                      <a:lnL>
                        <a:noFill/>
                      </a:lnL>
                      <a:lnR w="6350" cap="flat" cmpd="sng" algn="ctr">
                        <a:noFill/>
                        <a:prstDash val="solid"/>
                        <a:miter lim="800000"/>
                      </a:lnR>
                      <a:lnT w="6350" cap="flat" cmpd="sng" algn="ctr">
                        <a:noFill/>
                        <a:prstDash val="solid"/>
                        <a:miter lim="800000"/>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algn="l"/>
                        <a:r>
                          <a:rPr lang="en-US" sz="900" b="0" i="0" dirty="0">
                            <a:solidFill>
                              <a:srgbClr val="75787B"/>
                            </a:solidFill>
                            <a:latin typeface="+mn-lt"/>
                            <a:cs typeface="Segoe UI" panose="020B0502040204020203" pitchFamily="34" charset="0"/>
                          </a:rPr>
                          <a:t>1.565</a:t>
                        </a:r>
                      </a:p>
                    </a:txBody>
                    <a:tcPr>
                      <a:lnL>
                        <a:noFill/>
                      </a:lnL>
                      <a:lnR w="6350" cap="flat" cmpd="sng" algn="ctr">
                        <a:noFill/>
                        <a:prstDash val="solid"/>
                        <a:miter lim="800000"/>
                      </a:lnR>
                      <a:lnT w="6350" cap="flat" cmpd="sng" algn="ctr">
                        <a:noFill/>
                        <a:prstDash val="solid"/>
                        <a:miter lim="800000"/>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algn="l"/>
                        <a:r>
                          <a:rPr lang="en-US" sz="900" b="0" i="0" dirty="0">
                            <a:solidFill>
                              <a:srgbClr val="75787B"/>
                            </a:solidFill>
                            <a:latin typeface="+mn-lt"/>
                            <a:cs typeface="Segoe UI" panose="020B0502040204020203" pitchFamily="34" charset="0"/>
                          </a:rPr>
                          <a:t>2.641</a:t>
                        </a:r>
                      </a:p>
                    </a:txBody>
                    <a:tcPr>
                      <a:lnL>
                        <a:noFill/>
                      </a:lnL>
                      <a:lnR w="6350" cap="flat" cmpd="sng" algn="ctr">
                        <a:noFill/>
                        <a:prstDash val="solid"/>
                        <a:miter lim="800000"/>
                      </a:lnR>
                      <a:lnT w="6350" cap="flat" cmpd="sng" algn="ctr">
                        <a:noFill/>
                        <a:prstDash val="solid"/>
                        <a:miter lim="800000"/>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rgbClr val="F8F8F8"/>
                      </a:solidFill>
                    </a:tcPr>
                  </a:tc>
                  <a:extLst>
                    <a:ext uri="{0D108BD9-81ED-4DB2-BD59-A6C34878D82A}">
                      <a16:rowId xmlns:a16="http://schemas.microsoft.com/office/drawing/2014/main" val="3746211504"/>
                    </a:ext>
                  </a:extLst>
                </a:tr>
                <a:tr h="223412">
                  <a:tc>
                    <a:txBody>
                      <a:bodyPr/>
                      <a:lstStyle/>
                      <a:p>
                        <a:pPr algn="l"/>
                        <a:r>
                          <a:rPr lang="en-US" sz="900" dirty="0">
                            <a:solidFill>
                              <a:srgbClr val="75787B"/>
                            </a:solidFill>
                          </a:rPr>
                          <a:t>P/E Ratio (fwd.)</a:t>
                        </a:r>
                        <a:endParaRPr lang="en-US" sz="900" b="0" i="0" dirty="0">
                          <a:solidFill>
                            <a:srgbClr val="75787B"/>
                          </a:solidFill>
                          <a:latin typeface="+mn-lt"/>
                          <a:cs typeface="Segoe UI" panose="020B0502040204020203" pitchFamily="34" charset="0"/>
                        </a:endParaRPr>
                      </a:p>
                    </a:txBody>
                    <a:tcPr>
                      <a:lnL w="6350" cap="flat" cmpd="sng" algn="ctr">
                        <a:noFill/>
                        <a:prstDash val="solid"/>
                        <a:miter lim="800000"/>
                      </a:lnL>
                      <a:lnR>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algn="l"/>
                        <a:r>
                          <a:rPr lang="en-US" sz="900" dirty="0">
                            <a:solidFill>
                              <a:srgbClr val="75787B"/>
                            </a:solidFill>
                          </a:rPr>
                          <a:t>27.2X</a:t>
                        </a:r>
                        <a:endParaRPr lang="en-US" sz="900" b="0" i="0" dirty="0">
                          <a:solidFill>
                            <a:srgbClr val="75787B"/>
                          </a:solidFill>
                          <a:latin typeface="+mn-lt"/>
                          <a:cs typeface="Segoe UI" panose="020B0502040204020203" pitchFamily="34" charset="0"/>
                        </a:endParaRPr>
                      </a:p>
                    </a:txBody>
                    <a:tcPr>
                      <a:lnL>
                        <a:noFill/>
                      </a:lnL>
                      <a:lnR w="6350" cap="flat" cmpd="sng" algn="ctr">
                        <a:noFill/>
                        <a:prstDash val="solid"/>
                        <a:miter lim="800000"/>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algn="l"/>
                        <a:r>
                          <a:rPr lang="en-US" sz="900" b="0" i="0" dirty="0">
                            <a:solidFill>
                              <a:srgbClr val="75787B"/>
                            </a:solidFill>
                            <a:latin typeface="+mn-lt"/>
                            <a:cs typeface="Segoe UI" panose="020B0502040204020203" pitchFamily="34" charset="0"/>
                          </a:rPr>
                          <a:t>15.7X</a:t>
                        </a:r>
                      </a:p>
                    </a:txBody>
                    <a:tcPr>
                      <a:lnL>
                        <a:noFill/>
                      </a:lnL>
                      <a:lnR w="6350" cap="flat" cmpd="sng" algn="ctr">
                        <a:noFill/>
                        <a:prstDash val="solid"/>
                        <a:miter lim="800000"/>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algn="l"/>
                        <a:r>
                          <a:rPr lang="en-US" sz="900" b="0" i="0" dirty="0">
                            <a:solidFill>
                              <a:srgbClr val="75787B"/>
                            </a:solidFill>
                            <a:latin typeface="+mn-lt"/>
                            <a:cs typeface="Segoe UI" panose="020B0502040204020203" pitchFamily="34" charset="0"/>
                          </a:rPr>
                          <a:t>16.4X</a:t>
                        </a:r>
                      </a:p>
                    </a:txBody>
                    <a:tcPr>
                      <a:lnL>
                        <a:noFill/>
                      </a:lnL>
                      <a:lnR w="6350" cap="flat" cmpd="sng" algn="ctr">
                        <a:noFill/>
                        <a:prstDash val="solid"/>
                        <a:miter lim="800000"/>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rgbClr val="F8F8F8"/>
                      </a:solidFill>
                    </a:tcPr>
                  </a:tc>
                  <a:extLst>
                    <a:ext uri="{0D108BD9-81ED-4DB2-BD59-A6C34878D82A}">
                      <a16:rowId xmlns:a16="http://schemas.microsoft.com/office/drawing/2014/main" val="880358815"/>
                    </a:ext>
                  </a:extLst>
                </a:tr>
                <a:tr h="223412">
                  <a:tc>
                    <a:txBody>
                      <a:bodyPr/>
                      <a:lstStyle/>
                      <a:p>
                        <a:pPr algn="l"/>
                        <a:r>
                          <a:rPr lang="en-US" sz="900" b="0" i="0" dirty="0">
                            <a:solidFill>
                              <a:srgbClr val="75787B"/>
                            </a:solidFill>
                            <a:latin typeface="+mn-lt"/>
                            <a:cs typeface="Segoe UI" panose="020B0502040204020203" pitchFamily="34" charset="0"/>
                          </a:rPr>
                          <a:t>Dividend Yield</a:t>
                        </a:r>
                      </a:p>
                    </a:txBody>
                    <a:tcPr>
                      <a:lnL w="6350" cap="flat" cmpd="sng" algn="ctr">
                        <a:noFill/>
                        <a:prstDash val="solid"/>
                        <a:miter lim="800000"/>
                      </a:lnL>
                      <a:lnR>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algn="l"/>
                        <a:r>
                          <a:rPr lang="en-US" sz="900" b="0" i="0" dirty="0">
                            <a:solidFill>
                              <a:srgbClr val="75787B"/>
                            </a:solidFill>
                            <a:latin typeface="+mn-lt"/>
                            <a:cs typeface="Segoe UI" panose="020B0502040204020203" pitchFamily="34" charset="0"/>
                          </a:rPr>
                          <a:t>1.1%</a:t>
                        </a:r>
                      </a:p>
                    </a:txBody>
                    <a:tcPr>
                      <a:lnL>
                        <a:noFill/>
                      </a:lnL>
                      <a:lnR w="6350" cap="flat" cmpd="sng" algn="ctr">
                        <a:noFill/>
                        <a:prstDash val="solid"/>
                        <a:miter lim="800000"/>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algn="l"/>
                        <a:r>
                          <a:rPr lang="en-US" sz="900" b="0" i="0" dirty="0">
                            <a:solidFill>
                              <a:srgbClr val="75787B"/>
                            </a:solidFill>
                            <a:latin typeface="+mn-lt"/>
                            <a:cs typeface="Segoe UI" panose="020B0502040204020203" pitchFamily="34" charset="0"/>
                          </a:rPr>
                          <a:t>1.8%</a:t>
                        </a:r>
                      </a:p>
                    </a:txBody>
                    <a:tcPr>
                      <a:lnL>
                        <a:noFill/>
                      </a:lnL>
                      <a:lnR w="6350" cap="flat" cmpd="sng" algn="ctr">
                        <a:noFill/>
                        <a:prstDash val="solid"/>
                        <a:miter lim="800000"/>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algn="l"/>
                        <a:r>
                          <a:rPr lang="en-US" sz="900" b="0" i="0" dirty="0">
                            <a:solidFill>
                              <a:srgbClr val="75787B"/>
                            </a:solidFill>
                            <a:latin typeface="+mn-lt"/>
                            <a:cs typeface="Segoe UI" panose="020B0502040204020203" pitchFamily="34" charset="0"/>
                          </a:rPr>
                          <a:t>2.1%</a:t>
                        </a:r>
                      </a:p>
                    </a:txBody>
                    <a:tcPr>
                      <a:lnL>
                        <a:noFill/>
                      </a:lnL>
                      <a:lnR w="6350" cap="flat" cmpd="sng" algn="ctr">
                        <a:noFill/>
                        <a:prstDash val="solid"/>
                        <a:miter lim="800000"/>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rgbClr val="F8F8F8"/>
                      </a:solidFill>
                    </a:tcPr>
                  </a:tc>
                  <a:extLst>
                    <a:ext uri="{0D108BD9-81ED-4DB2-BD59-A6C34878D82A}">
                      <a16:rowId xmlns:a16="http://schemas.microsoft.com/office/drawing/2014/main" val="2251025438"/>
                    </a:ext>
                  </a:extLst>
                </a:tr>
                <a:tr h="223412">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900" dirty="0">
                            <a:solidFill>
                              <a:srgbClr val="75787B"/>
                            </a:solidFill>
                          </a:rPr>
                          <a:t>10-yr. Treasury</a:t>
                        </a:r>
                        <a:endParaRPr lang="en-US" sz="900" b="0" i="0" dirty="0">
                          <a:solidFill>
                            <a:srgbClr val="75787B"/>
                          </a:solidFill>
                          <a:latin typeface="+mn-lt"/>
                          <a:cs typeface="Segoe UI" panose="020B0502040204020203" pitchFamily="34" charset="0"/>
                        </a:endParaRPr>
                      </a:p>
                    </a:txBody>
                    <a:tcPr>
                      <a:lnL w="6350" cap="flat" cmpd="sng" algn="ctr">
                        <a:noFill/>
                        <a:prstDash val="solid"/>
                        <a:miter lim="800000"/>
                      </a:lnL>
                      <a:lnR>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algn="l"/>
                        <a:r>
                          <a:rPr lang="en-US" sz="900" b="0" i="0" dirty="0">
                            <a:solidFill>
                              <a:srgbClr val="75787B"/>
                            </a:solidFill>
                            <a:latin typeface="+mn-lt"/>
                            <a:cs typeface="Segoe UI" panose="020B0502040204020203" pitchFamily="34" charset="0"/>
                          </a:rPr>
                          <a:t>0.2%</a:t>
                        </a:r>
                      </a:p>
                    </a:txBody>
                    <a:tcPr>
                      <a:lnL>
                        <a:noFill/>
                      </a:lnL>
                      <a:lnR w="6350" cap="flat" cmpd="sng" algn="ctr">
                        <a:noFill/>
                        <a:prstDash val="solid"/>
                        <a:miter lim="800000"/>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algn="l"/>
                        <a:r>
                          <a:rPr lang="en-US" sz="900" b="0" i="0" dirty="0">
                            <a:solidFill>
                              <a:srgbClr val="75787B"/>
                            </a:solidFill>
                            <a:latin typeface="+mn-lt"/>
                            <a:cs typeface="Segoe UI" panose="020B0502040204020203" pitchFamily="34" charset="0"/>
                          </a:rPr>
                          <a:t>4.7%</a:t>
                        </a:r>
                      </a:p>
                    </a:txBody>
                    <a:tcPr>
                      <a:lnL>
                        <a:noFill/>
                      </a:lnL>
                      <a:lnR w="6350" cap="flat" cmpd="sng" algn="ctr">
                        <a:noFill/>
                        <a:prstDash val="solid"/>
                        <a:miter lim="800000"/>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algn="l"/>
                        <a:r>
                          <a:rPr lang="en-US" sz="900" b="0" i="0" dirty="0">
                            <a:solidFill>
                              <a:srgbClr val="75787B"/>
                            </a:solidFill>
                            <a:latin typeface="+mn-lt"/>
                            <a:cs typeface="Segoe UI" panose="020B0502040204020203" pitchFamily="34" charset="0"/>
                          </a:rPr>
                          <a:t>2.7%</a:t>
                        </a:r>
                      </a:p>
                    </a:txBody>
                    <a:tcPr>
                      <a:lnL>
                        <a:noFill/>
                      </a:lnL>
                      <a:lnR w="6350" cap="flat" cmpd="sng" algn="ctr">
                        <a:noFill/>
                        <a:prstDash val="solid"/>
                        <a:miter lim="800000"/>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rgbClr val="F8F8F8"/>
                      </a:solidFill>
                    </a:tcPr>
                  </a:tc>
                  <a:extLst>
                    <a:ext uri="{0D108BD9-81ED-4DB2-BD59-A6C34878D82A}">
                      <a16:rowId xmlns:a16="http://schemas.microsoft.com/office/drawing/2014/main" val="1094789068"/>
                    </a:ext>
                  </a:extLst>
                </a:tr>
              </a:tbl>
            </a:graphicData>
          </a:graphic>
        </p:graphicFrame>
        <p:grpSp>
          <p:nvGrpSpPr>
            <p:cNvPr id="79" name="Group 78">
              <a:extLst>
                <a:ext uri="{FF2B5EF4-FFF2-40B4-BE49-F238E27FC236}">
                  <a16:creationId xmlns:a16="http://schemas.microsoft.com/office/drawing/2014/main" id="{922768E6-6EFF-3E48-9E56-0EA80DA7FEDC}"/>
                </a:ext>
              </a:extLst>
            </p:cNvPr>
            <p:cNvGrpSpPr/>
            <p:nvPr/>
          </p:nvGrpSpPr>
          <p:grpSpPr>
            <a:xfrm>
              <a:off x="2569499" y="2626599"/>
              <a:ext cx="168899" cy="681198"/>
              <a:chOff x="3695275" y="1952171"/>
              <a:chExt cx="130178" cy="760550"/>
            </a:xfrm>
          </p:grpSpPr>
          <p:cxnSp>
            <p:nvCxnSpPr>
              <p:cNvPr id="96" name="Straight Arrow Connector 95">
                <a:extLst>
                  <a:ext uri="{FF2B5EF4-FFF2-40B4-BE49-F238E27FC236}">
                    <a16:creationId xmlns:a16="http://schemas.microsoft.com/office/drawing/2014/main" id="{1D6680FE-B581-DF4F-80B8-CADF50445A86}"/>
                  </a:ext>
                </a:extLst>
              </p:cNvPr>
              <p:cNvCxnSpPr/>
              <p:nvPr/>
            </p:nvCxnSpPr>
            <p:spPr>
              <a:xfrm>
                <a:off x="3695275" y="1952171"/>
                <a:ext cx="130175" cy="0"/>
              </a:xfrm>
              <a:prstGeom prst="straightConnector1">
                <a:avLst/>
              </a:prstGeom>
              <a:ln>
                <a:solidFill>
                  <a:srgbClr val="002577"/>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A9C1A3ED-B6A1-BA41-8C32-88A6DD38768C}"/>
                  </a:ext>
                </a:extLst>
              </p:cNvPr>
              <p:cNvCxnSpPr>
                <a:cxnSpLocks/>
              </p:cNvCxnSpPr>
              <p:nvPr/>
            </p:nvCxnSpPr>
            <p:spPr>
              <a:xfrm flipV="1">
                <a:off x="3695278" y="2221992"/>
                <a:ext cx="130175" cy="1"/>
              </a:xfrm>
              <a:prstGeom prst="straightConnector1">
                <a:avLst/>
              </a:prstGeom>
              <a:ln>
                <a:solidFill>
                  <a:srgbClr val="002577"/>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5935569E-8954-3344-B8A6-5DD5E7AFA974}"/>
                  </a:ext>
                </a:extLst>
              </p:cNvPr>
              <p:cNvCxnSpPr>
                <a:cxnSpLocks/>
              </p:cNvCxnSpPr>
              <p:nvPr/>
            </p:nvCxnSpPr>
            <p:spPr>
              <a:xfrm flipV="1">
                <a:off x="3695278" y="2488692"/>
                <a:ext cx="130175" cy="1"/>
              </a:xfrm>
              <a:prstGeom prst="straightConnector1">
                <a:avLst/>
              </a:prstGeom>
              <a:ln>
                <a:solidFill>
                  <a:srgbClr val="002577"/>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E1474B81-A42D-8141-B9E3-BFBF810B7766}"/>
                  </a:ext>
                </a:extLst>
              </p:cNvPr>
              <p:cNvCxnSpPr>
                <a:cxnSpLocks/>
              </p:cNvCxnSpPr>
              <p:nvPr/>
            </p:nvCxnSpPr>
            <p:spPr>
              <a:xfrm flipV="1">
                <a:off x="3695278" y="2712720"/>
                <a:ext cx="130175" cy="1"/>
              </a:xfrm>
              <a:prstGeom prst="straightConnector1">
                <a:avLst/>
              </a:prstGeom>
              <a:ln>
                <a:solidFill>
                  <a:srgbClr val="002577"/>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1" name="Group 100">
              <a:extLst>
                <a:ext uri="{FF2B5EF4-FFF2-40B4-BE49-F238E27FC236}">
                  <a16:creationId xmlns:a16="http://schemas.microsoft.com/office/drawing/2014/main" id="{D713A2D0-2790-6F45-8357-13615C912201}"/>
                </a:ext>
              </a:extLst>
            </p:cNvPr>
            <p:cNvGrpSpPr/>
            <p:nvPr/>
          </p:nvGrpSpPr>
          <p:grpSpPr>
            <a:xfrm>
              <a:off x="3178412" y="2625576"/>
              <a:ext cx="168899" cy="681198"/>
              <a:chOff x="3635618" y="1952171"/>
              <a:chExt cx="130178" cy="760550"/>
            </a:xfrm>
          </p:grpSpPr>
          <p:cxnSp>
            <p:nvCxnSpPr>
              <p:cNvPr id="102" name="Straight Arrow Connector 101">
                <a:extLst>
                  <a:ext uri="{FF2B5EF4-FFF2-40B4-BE49-F238E27FC236}">
                    <a16:creationId xmlns:a16="http://schemas.microsoft.com/office/drawing/2014/main" id="{DC96C38C-149F-384A-A295-E0A903D2BE4D}"/>
                  </a:ext>
                </a:extLst>
              </p:cNvPr>
              <p:cNvCxnSpPr/>
              <p:nvPr/>
            </p:nvCxnSpPr>
            <p:spPr>
              <a:xfrm>
                <a:off x="3635618" y="1952171"/>
                <a:ext cx="130175" cy="0"/>
              </a:xfrm>
              <a:prstGeom prst="straightConnector1">
                <a:avLst/>
              </a:prstGeom>
              <a:ln>
                <a:solidFill>
                  <a:srgbClr val="002577"/>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4D628E71-6395-F04E-8AA4-89151E9AF4FB}"/>
                  </a:ext>
                </a:extLst>
              </p:cNvPr>
              <p:cNvCxnSpPr>
                <a:cxnSpLocks/>
              </p:cNvCxnSpPr>
              <p:nvPr/>
            </p:nvCxnSpPr>
            <p:spPr>
              <a:xfrm flipV="1">
                <a:off x="3635621" y="2221992"/>
                <a:ext cx="130175" cy="1"/>
              </a:xfrm>
              <a:prstGeom prst="straightConnector1">
                <a:avLst/>
              </a:prstGeom>
              <a:ln>
                <a:solidFill>
                  <a:srgbClr val="002577"/>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A5783FBD-52CB-5941-8770-6336C68872D9}"/>
                  </a:ext>
                </a:extLst>
              </p:cNvPr>
              <p:cNvCxnSpPr>
                <a:cxnSpLocks/>
              </p:cNvCxnSpPr>
              <p:nvPr/>
            </p:nvCxnSpPr>
            <p:spPr>
              <a:xfrm flipV="1">
                <a:off x="3635621" y="2488692"/>
                <a:ext cx="130175" cy="1"/>
              </a:xfrm>
              <a:prstGeom prst="straightConnector1">
                <a:avLst/>
              </a:prstGeom>
              <a:ln>
                <a:solidFill>
                  <a:srgbClr val="002577"/>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FF8437CF-7CD5-0345-A58D-2C5F7F621D58}"/>
                  </a:ext>
                </a:extLst>
              </p:cNvPr>
              <p:cNvCxnSpPr>
                <a:cxnSpLocks/>
              </p:cNvCxnSpPr>
              <p:nvPr/>
            </p:nvCxnSpPr>
            <p:spPr>
              <a:xfrm flipV="1">
                <a:off x="3635621" y="2712720"/>
                <a:ext cx="130175" cy="1"/>
              </a:xfrm>
              <a:prstGeom prst="straightConnector1">
                <a:avLst/>
              </a:prstGeom>
              <a:ln>
                <a:solidFill>
                  <a:srgbClr val="002577"/>
                </a:solidFill>
                <a:tailEnd type="triangle"/>
              </a:ln>
            </p:spPr>
            <p:style>
              <a:lnRef idx="1">
                <a:schemeClr val="accent1"/>
              </a:lnRef>
              <a:fillRef idx="0">
                <a:schemeClr val="accent1"/>
              </a:fillRef>
              <a:effectRef idx="0">
                <a:schemeClr val="accent1"/>
              </a:effectRef>
              <a:fontRef idx="minor">
                <a:schemeClr val="tx1"/>
              </a:fontRef>
            </p:style>
          </p:cxnSp>
        </p:grpSp>
      </p:grpSp>
      <p:cxnSp>
        <p:nvCxnSpPr>
          <p:cNvPr id="106" name="Straight Connector 105">
            <a:extLst>
              <a:ext uri="{FF2B5EF4-FFF2-40B4-BE49-F238E27FC236}">
                <a16:creationId xmlns:a16="http://schemas.microsoft.com/office/drawing/2014/main" id="{A42FFEE3-40B7-A14A-A5D9-4E887A14AAFE}"/>
              </a:ext>
            </a:extLst>
          </p:cNvPr>
          <p:cNvCxnSpPr>
            <a:cxnSpLocks/>
          </p:cNvCxnSpPr>
          <p:nvPr/>
        </p:nvCxnSpPr>
        <p:spPr>
          <a:xfrm flipV="1">
            <a:off x="5281310" y="2261200"/>
            <a:ext cx="3353326" cy="2140811"/>
          </a:xfrm>
          <a:prstGeom prst="line">
            <a:avLst/>
          </a:prstGeom>
          <a:ln w="19050">
            <a:solidFill>
              <a:srgbClr val="002577"/>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21260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30</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60296"/>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8594700"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Variable Annuity with Structured Investments</a:t>
            </a:r>
          </a:p>
        </p:txBody>
      </p:sp>
      <p:sp>
        <p:nvSpPr>
          <p:cNvPr id="12" name="Content Placeholder 2">
            <a:extLst>
              <a:ext uri="{FF2B5EF4-FFF2-40B4-BE49-F238E27FC236}">
                <a16:creationId xmlns:a16="http://schemas.microsoft.com/office/drawing/2014/main" id="{81194451-EEA4-9F48-950F-404549FCFDFC}"/>
              </a:ext>
            </a:extLst>
          </p:cNvPr>
          <p:cNvSpPr txBox="1">
            <a:spLocks/>
          </p:cNvSpPr>
          <p:nvPr/>
        </p:nvSpPr>
        <p:spPr bwMode="auto">
          <a:xfrm>
            <a:off x="414279" y="2005647"/>
            <a:ext cx="8082280" cy="163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defTabSz="457200" rtl="0" eaLnBrk="0" fontAlgn="base" hangingPunct="0">
              <a:spcBef>
                <a:spcPct val="20000"/>
              </a:spcBef>
              <a:spcAft>
                <a:spcPct val="0"/>
              </a:spcAft>
              <a:buBlip>
                <a:blip r:embed="rId3"/>
              </a:buBlip>
              <a:defRPr kern="1200">
                <a:solidFill>
                  <a:schemeClr val="tx1"/>
                </a:solidFill>
                <a:latin typeface="Arial" pitchFamily="34" charset="0"/>
                <a:ea typeface="MS PGothic" pitchFamily="34" charset="-128"/>
                <a:cs typeface="Arial" pitchFamily="34" charset="0"/>
              </a:defRPr>
            </a:lvl1pPr>
            <a:lvl2pPr marL="361950" indent="95250" algn="l" defTabSz="457200" rtl="0" eaLnBrk="0" fontAlgn="base" hangingPunct="0">
              <a:spcBef>
                <a:spcPct val="20000"/>
              </a:spcBef>
              <a:spcAft>
                <a:spcPct val="0"/>
              </a:spcAft>
              <a:buFont typeface="Arial" pitchFamily="34" charset="0"/>
              <a:defRPr b="1" kern="1200">
                <a:solidFill>
                  <a:schemeClr val="tx1"/>
                </a:solidFill>
                <a:latin typeface="Arial" pitchFamily="34" charset="0"/>
                <a:ea typeface="MS PGothic" pitchFamily="34" charset="-128"/>
                <a:cs typeface="Arial" pitchFamily="34" charset="0"/>
              </a:defRPr>
            </a:lvl2pPr>
            <a:lvl3pPr marL="630238" indent="-268288" algn="l" defTabSz="457200" rtl="0" eaLnBrk="0" fontAlgn="base" hangingPunct="0">
              <a:spcBef>
                <a:spcPct val="20000"/>
              </a:spcBef>
              <a:spcAft>
                <a:spcPct val="0"/>
              </a:spcAft>
              <a:buClr>
                <a:schemeClr val="tx2"/>
              </a:buClr>
              <a:buFont typeface="Wingdings" pitchFamily="2" charset="2"/>
              <a:buChar char=""/>
              <a:defRPr sz="1600" kern="1200">
                <a:solidFill>
                  <a:schemeClr val="tx1"/>
                </a:solidFill>
                <a:latin typeface="Arial" pitchFamily="34" charset="0"/>
                <a:ea typeface="MS PGothic" pitchFamily="34" charset="-128"/>
                <a:cs typeface="Arial" pitchFamily="34" charset="0"/>
              </a:defRPr>
            </a:lvl3pPr>
            <a:lvl4pPr marL="630238" indent="741363" algn="l" defTabSz="457200" rtl="0" eaLnBrk="0" fontAlgn="base" hangingPunct="0">
              <a:spcBef>
                <a:spcPct val="20000"/>
              </a:spcBef>
              <a:spcAft>
                <a:spcPct val="0"/>
              </a:spcAft>
              <a:defRPr sz="1600" kern="1200">
                <a:solidFill>
                  <a:schemeClr val="tx1"/>
                </a:solidFill>
                <a:latin typeface="Arial" pitchFamily="34" charset="0"/>
                <a:ea typeface="MS PGothic" pitchFamily="34" charset="-128"/>
                <a:cs typeface="Arial" pitchFamily="34" charset="0"/>
              </a:defRPr>
            </a:lvl4pPr>
            <a:lvl5pPr marL="801688" indent="-171450" algn="l" defTabSz="457200" rtl="0" eaLnBrk="0" fontAlgn="base" hangingPunct="0">
              <a:spcBef>
                <a:spcPct val="20000"/>
              </a:spcBef>
              <a:spcAft>
                <a:spcPct val="0"/>
              </a:spcAft>
              <a:buClr>
                <a:schemeClr val="tx2"/>
              </a:buClr>
              <a:buFont typeface="Arial" pitchFamily="34" charset="0"/>
              <a:buChar char="­"/>
              <a:defRPr sz="1400" kern="1200">
                <a:solidFill>
                  <a:schemeClr val="tx1"/>
                </a:solidFill>
                <a:latin typeface="Arial" pitchFamily="34" charset="0"/>
                <a:ea typeface="MS PGothic" pitchFamily="34" charset="-128"/>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 variable annuity with both structured investment options and variable investment options.</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Structured Investment Options </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Some Downside Protection </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Performance Caps</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Duration/Time Horizon</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14031111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31</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60296"/>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294939"/>
            <a:ext cx="8594700" cy="619239"/>
          </a:xfrm>
        </p:spPr>
        <p:txBody>
          <a:bodyPr/>
          <a:lstStyle/>
          <a:p>
            <a:pPr lvl="0">
              <a:lnSpc>
                <a:spcPts val="2375"/>
              </a:lnSpc>
              <a:spcBef>
                <a:spcPts val="600"/>
              </a:spcBef>
            </a:pPr>
            <a:r>
              <a:rPr lang="en-US" sz="2400" dirty="0">
                <a:latin typeface="Segoe UI" panose="020B0502040204020203" pitchFamily="34" charset="0"/>
                <a:ea typeface="Segoe UI" panose="020B0502040204020203" pitchFamily="34" charset="0"/>
                <a:cs typeface="Segoe UI" panose="020B0502040204020203" pitchFamily="34" charset="0"/>
              </a:rPr>
              <a:t>Variable Annuity with Structured Investments- </a:t>
            </a:r>
          </a:p>
          <a:p>
            <a:pPr lvl="0">
              <a:lnSpc>
                <a:spcPts val="2375"/>
              </a:lnSpc>
              <a:spcBef>
                <a:spcPts val="600"/>
              </a:spcBef>
            </a:pPr>
            <a:r>
              <a:rPr lang="en-US" sz="2400" dirty="0">
                <a:latin typeface="Segoe UI" panose="020B0502040204020203" pitchFamily="34" charset="0"/>
                <a:ea typeface="Segoe UI" panose="020B0502040204020203" pitchFamily="34" charset="0"/>
                <a:cs typeface="Segoe UI" panose="020B0502040204020203" pitchFamily="34" charset="0"/>
              </a:rPr>
              <a:t>How it Works</a:t>
            </a:r>
          </a:p>
        </p:txBody>
      </p:sp>
      <p:sp>
        <p:nvSpPr>
          <p:cNvPr id="7" name="TextBox 6">
            <a:extLst>
              <a:ext uri="{FF2B5EF4-FFF2-40B4-BE49-F238E27FC236}">
                <a16:creationId xmlns:a16="http://schemas.microsoft.com/office/drawing/2014/main" id="{F1FC2811-9659-C24B-B689-38D9607F0096}"/>
              </a:ext>
            </a:extLst>
          </p:cNvPr>
          <p:cNvSpPr txBox="1"/>
          <p:nvPr/>
        </p:nvSpPr>
        <p:spPr>
          <a:xfrm>
            <a:off x="3116783" y="1320466"/>
            <a:ext cx="4496381" cy="338554"/>
          </a:xfrm>
          <a:prstGeom prst="rect">
            <a:avLst/>
          </a:prstGeom>
          <a:noFill/>
        </p:spPr>
        <p:txBody>
          <a:bodyPr wrap="square" rtlCol="0">
            <a:spAutoFit/>
          </a:bodyPr>
          <a:lstStyle/>
          <a:p>
            <a:r>
              <a:rPr lang="en-US" sz="1600" b="1" dirty="0">
                <a:solidFill>
                  <a:srgbClr val="75787B"/>
                </a:solidFill>
                <a:latin typeface="Segoe UI" panose="020B0502040204020203" pitchFamily="34" charset="0"/>
                <a:ea typeface="Segoe UI" panose="020B0502040204020203" pitchFamily="34" charset="0"/>
                <a:cs typeface="Segoe UI" panose="020B0502040204020203" pitchFamily="34" charset="0"/>
              </a:rPr>
              <a:t>Hypothetical Comparisons</a:t>
            </a:r>
          </a:p>
        </p:txBody>
      </p:sp>
      <p:sp>
        <p:nvSpPr>
          <p:cNvPr id="8" name="Text Box 2">
            <a:extLst>
              <a:ext uri="{FF2B5EF4-FFF2-40B4-BE49-F238E27FC236}">
                <a16:creationId xmlns:a16="http://schemas.microsoft.com/office/drawing/2014/main" id="{841499D3-DDAB-B54D-997B-2CCB51C00654}"/>
              </a:ext>
            </a:extLst>
          </p:cNvPr>
          <p:cNvSpPr txBox="1">
            <a:spLocks noChangeArrowheads="1"/>
          </p:cNvSpPr>
          <p:nvPr/>
        </p:nvSpPr>
        <p:spPr bwMode="auto">
          <a:xfrm>
            <a:off x="390525" y="6015731"/>
            <a:ext cx="6608762"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lIns="27432" tIns="27432" rIns="27432" bIns="27432">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eaLnBrk="1" fontAlgn="auto" hangingPunct="1">
              <a:lnSpc>
                <a:spcPct val="90000"/>
              </a:lnSpc>
              <a:spcBef>
                <a:spcPts val="0"/>
              </a:spcBef>
              <a:spcAft>
                <a:spcPct val="10000"/>
              </a:spcAft>
              <a:defRPr/>
            </a:pPr>
            <a:r>
              <a:rPr lang="en-US" sz="800" kern="0" dirty="0">
                <a:solidFill>
                  <a:schemeClr val="bg1">
                    <a:lumMod val="50000"/>
                  </a:schemeClr>
                </a:solidFill>
              </a:rPr>
              <a:t>This hypothetical example is for illustrative purposes only. </a:t>
            </a:r>
          </a:p>
        </p:txBody>
      </p:sp>
      <p:sp>
        <p:nvSpPr>
          <p:cNvPr id="9" name="Rectangle 8" descr="Wide downward diagonal">
            <a:extLst>
              <a:ext uri="{FF2B5EF4-FFF2-40B4-BE49-F238E27FC236}">
                <a16:creationId xmlns:a16="http://schemas.microsoft.com/office/drawing/2014/main" id="{EB17CBF8-0529-2B4D-9546-858B4A8BF780}"/>
              </a:ext>
            </a:extLst>
          </p:cNvPr>
          <p:cNvSpPr>
            <a:spLocks noChangeArrowheads="1"/>
          </p:cNvSpPr>
          <p:nvPr/>
        </p:nvSpPr>
        <p:spPr bwMode="gray">
          <a:xfrm>
            <a:off x="879475" y="4058698"/>
            <a:ext cx="6856412" cy="1060450"/>
          </a:xfrm>
          <a:prstGeom prst="rect">
            <a:avLst/>
          </a:prstGeom>
          <a:solidFill>
            <a:srgbClr val="777777">
              <a:lumMod val="60000"/>
              <a:lumOff val="40000"/>
            </a:srgbClr>
          </a:solidFill>
          <a:ln w="9525" algn="ctr">
            <a:noFill/>
            <a:miter lim="800000"/>
            <a:headEnd/>
            <a:tailEnd/>
          </a:ln>
        </p:spPr>
        <p:style>
          <a:lnRef idx="0">
            <a:scrgbClr r="0" g="0" b="0"/>
          </a:lnRef>
          <a:fillRef idx="0">
            <a:scrgbClr r="0" g="0" b="0"/>
          </a:fillRef>
          <a:effectRef idx="0">
            <a:scrgbClr r="0" g="0" b="0"/>
          </a:effectRef>
          <a:fontRef idx="major"/>
        </p:style>
        <p:txBody>
          <a:bodyPr wrap="none"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fontAlgn="auto" hangingPunct="1">
              <a:spcBef>
                <a:spcPts val="0"/>
              </a:spcBef>
              <a:spcAft>
                <a:spcPts val="0"/>
              </a:spcAft>
              <a:defRPr/>
            </a:pPr>
            <a:endParaRPr lang="en-US" kern="0">
              <a:solidFill>
                <a:srgbClr val="777777"/>
              </a:solidFill>
              <a:latin typeface="Arial" charset="0"/>
            </a:endParaRPr>
          </a:p>
        </p:txBody>
      </p:sp>
      <p:sp>
        <p:nvSpPr>
          <p:cNvPr id="10" name="Rectangle 9">
            <a:extLst>
              <a:ext uri="{FF2B5EF4-FFF2-40B4-BE49-F238E27FC236}">
                <a16:creationId xmlns:a16="http://schemas.microsoft.com/office/drawing/2014/main" id="{E8C61095-5BFE-3743-BFBF-90FB4B05AD3C}"/>
              </a:ext>
            </a:extLst>
          </p:cNvPr>
          <p:cNvSpPr>
            <a:spLocks noChangeArrowheads="1"/>
          </p:cNvSpPr>
          <p:nvPr/>
        </p:nvSpPr>
        <p:spPr bwMode="gray">
          <a:xfrm>
            <a:off x="879475" y="3074448"/>
            <a:ext cx="6856412" cy="984250"/>
          </a:xfrm>
          <a:prstGeom prst="rect">
            <a:avLst/>
          </a:prstGeom>
          <a:solidFill>
            <a:srgbClr val="73C0FF"/>
          </a:solidFill>
          <a:ln>
            <a:noFill/>
          </a:ln>
        </p:spPr>
        <p:style>
          <a:lnRef idx="0">
            <a:scrgbClr r="0" g="0" b="0"/>
          </a:lnRef>
          <a:fillRef idx="0">
            <a:scrgbClr r="0" g="0" b="0"/>
          </a:fillRef>
          <a:effectRef idx="0">
            <a:scrgbClr r="0" g="0" b="0"/>
          </a:effectRef>
          <a:fontRef idx="major"/>
        </p:style>
        <p:txBody>
          <a:bodyPr wrap="none"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hangingPunct="1">
              <a:spcBef>
                <a:spcPct val="0"/>
              </a:spcBef>
              <a:buFontTx/>
              <a:buNone/>
            </a:pPr>
            <a:endParaRPr lang="en-US" altLang="en-US">
              <a:solidFill>
                <a:srgbClr val="777777"/>
              </a:solidFill>
            </a:endParaRPr>
          </a:p>
        </p:txBody>
      </p:sp>
      <p:sp>
        <p:nvSpPr>
          <p:cNvPr id="11" name="Rectangle 10">
            <a:extLst>
              <a:ext uri="{FF2B5EF4-FFF2-40B4-BE49-F238E27FC236}">
                <a16:creationId xmlns:a16="http://schemas.microsoft.com/office/drawing/2014/main" id="{68DF9A73-02DF-8C44-BB5B-C497048F18B8}"/>
              </a:ext>
            </a:extLst>
          </p:cNvPr>
          <p:cNvSpPr>
            <a:spLocks noChangeArrowheads="1"/>
          </p:cNvSpPr>
          <p:nvPr/>
        </p:nvSpPr>
        <p:spPr bwMode="auto">
          <a:xfrm>
            <a:off x="879475" y="2479136"/>
            <a:ext cx="6856412" cy="3265882"/>
          </a:xfrm>
          <a:prstGeom prst="rect">
            <a:avLst/>
          </a:pr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style>
          <a:lnRef idx="0">
            <a:scrgbClr r="0" g="0" b="0"/>
          </a:lnRef>
          <a:fillRef idx="0">
            <a:scrgbClr r="0" g="0" b="0"/>
          </a:fillRef>
          <a:effectRef idx="0">
            <a:scrgbClr r="0" g="0" b="0"/>
          </a:effectRef>
          <a:fontRef idx="major"/>
        </p:style>
        <p:txBody>
          <a:bodyPr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fontAlgn="auto" hangingPunct="1">
              <a:spcBef>
                <a:spcPts val="0"/>
              </a:spcBef>
              <a:spcAft>
                <a:spcPts val="0"/>
              </a:spcAft>
              <a:defRPr/>
            </a:pPr>
            <a:endParaRPr lang="en-US" kern="0">
              <a:solidFill>
                <a:srgbClr val="777777"/>
              </a:solidFill>
              <a:latin typeface="Arial" charset="0"/>
            </a:endParaRPr>
          </a:p>
        </p:txBody>
      </p:sp>
      <p:sp>
        <p:nvSpPr>
          <p:cNvPr id="13" name="Text Box 12">
            <a:extLst>
              <a:ext uri="{FF2B5EF4-FFF2-40B4-BE49-F238E27FC236}">
                <a16:creationId xmlns:a16="http://schemas.microsoft.com/office/drawing/2014/main" id="{E7E3751E-2CB5-7442-BE70-785DC7F9BE27}"/>
              </a:ext>
            </a:extLst>
          </p:cNvPr>
          <p:cNvSpPr txBox="1">
            <a:spLocks noChangeArrowheads="1"/>
          </p:cNvSpPr>
          <p:nvPr/>
        </p:nvSpPr>
        <p:spPr bwMode="auto">
          <a:xfrm>
            <a:off x="238560" y="2342611"/>
            <a:ext cx="6302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r" eaLnBrk="1" hangingPunct="1">
              <a:spcBef>
                <a:spcPct val="0"/>
              </a:spcBef>
              <a:buFontTx/>
              <a:buNone/>
            </a:pPr>
            <a:r>
              <a:rPr lang="en-US" altLang="en-US" sz="1200" dirty="0">
                <a:solidFill>
                  <a:srgbClr val="000000"/>
                </a:solidFill>
              </a:rPr>
              <a:t>45%</a:t>
            </a:r>
          </a:p>
        </p:txBody>
      </p:sp>
      <p:sp>
        <p:nvSpPr>
          <p:cNvPr id="14" name="Rectangle 13">
            <a:extLst>
              <a:ext uri="{FF2B5EF4-FFF2-40B4-BE49-F238E27FC236}">
                <a16:creationId xmlns:a16="http://schemas.microsoft.com/office/drawing/2014/main" id="{92746EB9-8D86-144A-8A59-3F9BAB3DC190}"/>
              </a:ext>
            </a:extLst>
          </p:cNvPr>
          <p:cNvSpPr>
            <a:spLocks noChangeArrowheads="1"/>
          </p:cNvSpPr>
          <p:nvPr/>
        </p:nvSpPr>
        <p:spPr bwMode="auto">
          <a:xfrm>
            <a:off x="419100" y="2215611"/>
            <a:ext cx="8455959" cy="378936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tyle>
          <a:lnRef idx="0">
            <a:scrgbClr r="0" g="0" b="0"/>
          </a:lnRef>
          <a:fillRef idx="0">
            <a:scrgbClr r="0" g="0" b="0"/>
          </a:fillRef>
          <a:effectRef idx="0">
            <a:scrgbClr r="0" g="0" b="0"/>
          </a:effectRef>
          <a:fontRef idx="major"/>
        </p:style>
        <p:txBody>
          <a:bodyPr wrap="none"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fontAlgn="auto" hangingPunct="1">
              <a:spcBef>
                <a:spcPts val="0"/>
              </a:spcBef>
              <a:spcAft>
                <a:spcPts val="0"/>
              </a:spcAft>
              <a:defRPr/>
            </a:pPr>
            <a:endParaRPr lang="en-US" kern="0">
              <a:solidFill>
                <a:srgbClr val="777777"/>
              </a:solidFill>
              <a:latin typeface="Arial" charset="0"/>
            </a:endParaRPr>
          </a:p>
        </p:txBody>
      </p:sp>
      <p:grpSp>
        <p:nvGrpSpPr>
          <p:cNvPr id="15" name="Group 14">
            <a:extLst>
              <a:ext uri="{FF2B5EF4-FFF2-40B4-BE49-F238E27FC236}">
                <a16:creationId xmlns:a16="http://schemas.microsoft.com/office/drawing/2014/main" id="{E3F7E62B-EB3D-AD41-9772-9BC1F0060F1C}"/>
              </a:ext>
            </a:extLst>
          </p:cNvPr>
          <p:cNvGrpSpPr>
            <a:grpSpLocks/>
          </p:cNvGrpSpPr>
          <p:nvPr/>
        </p:nvGrpSpPr>
        <p:grpSpPr bwMode="auto">
          <a:xfrm>
            <a:off x="2601657" y="2223548"/>
            <a:ext cx="3427050" cy="3781425"/>
            <a:chOff x="2410262" y="1834867"/>
            <a:chExt cx="3427050" cy="3780570"/>
          </a:xfrm>
        </p:grpSpPr>
        <p:sp>
          <p:nvSpPr>
            <p:cNvPr id="55" name="Line 24">
              <a:extLst>
                <a:ext uri="{FF2B5EF4-FFF2-40B4-BE49-F238E27FC236}">
                  <a16:creationId xmlns:a16="http://schemas.microsoft.com/office/drawing/2014/main" id="{4AEBFAA1-0CA9-7544-9F8A-5471348C2723}"/>
                </a:ext>
              </a:extLst>
            </p:cNvPr>
            <p:cNvSpPr>
              <a:spLocks noChangeShapeType="1"/>
            </p:cNvSpPr>
            <p:nvPr/>
          </p:nvSpPr>
          <p:spPr bwMode="auto">
            <a:xfrm>
              <a:off x="5837312" y="1834867"/>
              <a:ext cx="0" cy="378057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nchor="ctr"/>
            <a:lstStyle/>
            <a:p>
              <a:pPr algn="ctr" eaLnBrk="1" fontAlgn="auto" hangingPunct="1">
                <a:spcBef>
                  <a:spcPts val="0"/>
                </a:spcBef>
                <a:spcAft>
                  <a:spcPts val="0"/>
                </a:spcAft>
                <a:defRPr/>
              </a:pPr>
              <a:endParaRPr lang="en-US" kern="0">
                <a:solidFill>
                  <a:srgbClr val="777777"/>
                </a:solidFill>
                <a:latin typeface="Arial" charset="0"/>
              </a:endParaRPr>
            </a:p>
          </p:txBody>
        </p:sp>
        <p:sp>
          <p:nvSpPr>
            <p:cNvPr id="56" name="Line 25">
              <a:extLst>
                <a:ext uri="{FF2B5EF4-FFF2-40B4-BE49-F238E27FC236}">
                  <a16:creationId xmlns:a16="http://schemas.microsoft.com/office/drawing/2014/main" id="{4CF61AA9-FA3D-B548-B781-FC5410C9BFBC}"/>
                </a:ext>
              </a:extLst>
            </p:cNvPr>
            <p:cNvSpPr>
              <a:spLocks noChangeShapeType="1"/>
            </p:cNvSpPr>
            <p:nvPr/>
          </p:nvSpPr>
          <p:spPr bwMode="auto">
            <a:xfrm>
              <a:off x="4124580" y="1834867"/>
              <a:ext cx="0" cy="378057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nchor="ctr"/>
            <a:lstStyle/>
            <a:p>
              <a:pPr algn="ctr" eaLnBrk="1" fontAlgn="auto" hangingPunct="1">
                <a:spcBef>
                  <a:spcPts val="0"/>
                </a:spcBef>
                <a:spcAft>
                  <a:spcPts val="0"/>
                </a:spcAft>
                <a:defRPr/>
              </a:pPr>
              <a:endParaRPr lang="en-US" kern="0">
                <a:solidFill>
                  <a:srgbClr val="777777"/>
                </a:solidFill>
                <a:latin typeface="Arial" charset="0"/>
              </a:endParaRPr>
            </a:p>
          </p:txBody>
        </p:sp>
        <p:sp>
          <p:nvSpPr>
            <p:cNvPr id="57" name="Line 26">
              <a:extLst>
                <a:ext uri="{FF2B5EF4-FFF2-40B4-BE49-F238E27FC236}">
                  <a16:creationId xmlns:a16="http://schemas.microsoft.com/office/drawing/2014/main" id="{C3A99B71-6F80-D443-8BAA-497D85FE2986}"/>
                </a:ext>
              </a:extLst>
            </p:cNvPr>
            <p:cNvSpPr>
              <a:spLocks noChangeShapeType="1"/>
            </p:cNvSpPr>
            <p:nvPr/>
          </p:nvSpPr>
          <p:spPr bwMode="auto">
            <a:xfrm>
              <a:off x="2410262" y="1834867"/>
              <a:ext cx="0" cy="378057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nchor="ctr"/>
            <a:lstStyle/>
            <a:p>
              <a:pPr algn="ctr" eaLnBrk="1" fontAlgn="auto" hangingPunct="1">
                <a:spcBef>
                  <a:spcPts val="0"/>
                </a:spcBef>
                <a:spcAft>
                  <a:spcPts val="0"/>
                </a:spcAft>
                <a:defRPr/>
              </a:pPr>
              <a:endParaRPr lang="en-US" kern="0">
                <a:solidFill>
                  <a:srgbClr val="777777"/>
                </a:solidFill>
                <a:latin typeface="Arial" charset="0"/>
              </a:endParaRPr>
            </a:p>
          </p:txBody>
        </p:sp>
      </p:grpSp>
      <p:sp>
        <p:nvSpPr>
          <p:cNvPr id="16" name="Text Box 29">
            <a:extLst>
              <a:ext uri="{FF2B5EF4-FFF2-40B4-BE49-F238E27FC236}">
                <a16:creationId xmlns:a16="http://schemas.microsoft.com/office/drawing/2014/main" id="{8F3427CE-2C03-AD4E-9723-D693E1963674}"/>
              </a:ext>
            </a:extLst>
          </p:cNvPr>
          <p:cNvSpPr txBox="1">
            <a:spLocks noChangeArrowheads="1"/>
          </p:cNvSpPr>
          <p:nvPr/>
        </p:nvSpPr>
        <p:spPr bwMode="auto">
          <a:xfrm>
            <a:off x="217923" y="2936336"/>
            <a:ext cx="6508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r" eaLnBrk="1" hangingPunct="1">
              <a:spcBef>
                <a:spcPct val="0"/>
              </a:spcBef>
              <a:buFontTx/>
              <a:buNone/>
            </a:pPr>
            <a:r>
              <a:rPr lang="en-US" altLang="en-US" sz="1200">
                <a:solidFill>
                  <a:srgbClr val="000000"/>
                </a:solidFill>
              </a:rPr>
              <a:t>30%</a:t>
            </a:r>
          </a:p>
        </p:txBody>
      </p:sp>
      <p:sp>
        <p:nvSpPr>
          <p:cNvPr id="18" name="Text Box 31">
            <a:extLst>
              <a:ext uri="{FF2B5EF4-FFF2-40B4-BE49-F238E27FC236}">
                <a16:creationId xmlns:a16="http://schemas.microsoft.com/office/drawing/2014/main" id="{547AC190-8E05-0A4A-8B32-7366173FA6CB}"/>
              </a:ext>
            </a:extLst>
          </p:cNvPr>
          <p:cNvSpPr txBox="1">
            <a:spLocks noChangeArrowheads="1"/>
          </p:cNvSpPr>
          <p:nvPr/>
        </p:nvSpPr>
        <p:spPr bwMode="auto">
          <a:xfrm>
            <a:off x="330635" y="3930111"/>
            <a:ext cx="53816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r" eaLnBrk="1" hangingPunct="1">
              <a:spcBef>
                <a:spcPct val="0"/>
              </a:spcBef>
              <a:buFontTx/>
              <a:buNone/>
            </a:pPr>
            <a:r>
              <a:rPr lang="en-US" altLang="en-US" sz="1200">
                <a:solidFill>
                  <a:srgbClr val="000000"/>
                </a:solidFill>
              </a:rPr>
              <a:t>0%</a:t>
            </a:r>
          </a:p>
        </p:txBody>
      </p:sp>
      <p:sp>
        <p:nvSpPr>
          <p:cNvPr id="19" name="Text Box 32">
            <a:extLst>
              <a:ext uri="{FF2B5EF4-FFF2-40B4-BE49-F238E27FC236}">
                <a16:creationId xmlns:a16="http://schemas.microsoft.com/office/drawing/2014/main" id="{9EBF28B5-4013-B540-BB37-74F8B671B10B}"/>
              </a:ext>
            </a:extLst>
          </p:cNvPr>
          <p:cNvSpPr txBox="1">
            <a:spLocks noChangeArrowheads="1"/>
          </p:cNvSpPr>
          <p:nvPr/>
        </p:nvSpPr>
        <p:spPr bwMode="auto">
          <a:xfrm>
            <a:off x="149660" y="4460336"/>
            <a:ext cx="7191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r" eaLnBrk="1" hangingPunct="1">
              <a:spcBef>
                <a:spcPct val="0"/>
              </a:spcBef>
              <a:buFontTx/>
              <a:buNone/>
            </a:pPr>
            <a:r>
              <a:rPr lang="en-US" altLang="en-US" sz="1200">
                <a:solidFill>
                  <a:srgbClr val="000000"/>
                </a:solidFill>
              </a:rPr>
              <a:t>-15%</a:t>
            </a:r>
          </a:p>
        </p:txBody>
      </p:sp>
      <p:sp>
        <p:nvSpPr>
          <p:cNvPr id="20" name="Text Box 33">
            <a:extLst>
              <a:ext uri="{FF2B5EF4-FFF2-40B4-BE49-F238E27FC236}">
                <a16:creationId xmlns:a16="http://schemas.microsoft.com/office/drawing/2014/main" id="{69D4A318-8627-D349-BD4B-3BBE6A7E7F62}"/>
              </a:ext>
            </a:extLst>
          </p:cNvPr>
          <p:cNvSpPr txBox="1">
            <a:spLocks noChangeArrowheads="1"/>
          </p:cNvSpPr>
          <p:nvPr/>
        </p:nvSpPr>
        <p:spPr bwMode="auto">
          <a:xfrm>
            <a:off x="149660" y="4990561"/>
            <a:ext cx="7191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r" eaLnBrk="1" hangingPunct="1">
              <a:spcBef>
                <a:spcPct val="0"/>
              </a:spcBef>
              <a:buFontTx/>
              <a:buNone/>
            </a:pPr>
            <a:r>
              <a:rPr lang="en-US" altLang="en-US" sz="1200">
                <a:solidFill>
                  <a:srgbClr val="000000"/>
                </a:solidFill>
              </a:rPr>
              <a:t>-30%</a:t>
            </a:r>
          </a:p>
        </p:txBody>
      </p:sp>
      <p:sp>
        <p:nvSpPr>
          <p:cNvPr id="21" name="Text Box 34">
            <a:extLst>
              <a:ext uri="{FF2B5EF4-FFF2-40B4-BE49-F238E27FC236}">
                <a16:creationId xmlns:a16="http://schemas.microsoft.com/office/drawing/2014/main" id="{0FBD1281-9D6B-5646-80B5-0CF5CE451866}"/>
              </a:ext>
            </a:extLst>
          </p:cNvPr>
          <p:cNvSpPr txBox="1">
            <a:spLocks noChangeArrowheads="1"/>
          </p:cNvSpPr>
          <p:nvPr/>
        </p:nvSpPr>
        <p:spPr bwMode="auto">
          <a:xfrm>
            <a:off x="149660" y="5520786"/>
            <a:ext cx="7191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r" eaLnBrk="1" hangingPunct="1">
              <a:spcBef>
                <a:spcPct val="0"/>
              </a:spcBef>
              <a:buFontTx/>
              <a:buNone/>
            </a:pPr>
            <a:r>
              <a:rPr lang="en-US" altLang="en-US" sz="1200">
                <a:solidFill>
                  <a:srgbClr val="000000"/>
                </a:solidFill>
              </a:rPr>
              <a:t>-45%</a:t>
            </a:r>
          </a:p>
        </p:txBody>
      </p:sp>
      <p:sp>
        <p:nvSpPr>
          <p:cNvPr id="22" name="Text Box 51">
            <a:extLst>
              <a:ext uri="{FF2B5EF4-FFF2-40B4-BE49-F238E27FC236}">
                <a16:creationId xmlns:a16="http://schemas.microsoft.com/office/drawing/2014/main" id="{0DBDB2FF-DCEA-3940-B85A-7D3A0838DC67}"/>
              </a:ext>
            </a:extLst>
          </p:cNvPr>
          <p:cNvSpPr txBox="1">
            <a:spLocks noChangeArrowheads="1"/>
          </p:cNvSpPr>
          <p:nvPr/>
        </p:nvSpPr>
        <p:spPr bwMode="auto">
          <a:xfrm>
            <a:off x="4462174" y="1708727"/>
            <a:ext cx="1438275" cy="430213"/>
          </a:xfrm>
          <a:prstGeom prst="rect">
            <a:avLst/>
          </a:prstGeom>
          <a:noFill/>
          <a:ln w="9525">
            <a:noFill/>
            <a:miter lim="800000"/>
            <a:headEnd/>
            <a:tailEnd/>
          </a:ln>
        </p:spPr>
        <p:style>
          <a:lnRef idx="0">
            <a:scrgbClr r="0" g="0" b="0"/>
          </a:lnRef>
          <a:fillRef idx="0">
            <a:scrgbClr r="0" g="0" b="0"/>
          </a:fillRef>
          <a:effectRef idx="0">
            <a:scrgbClr r="0" g="0" b="0"/>
          </a:effectRef>
          <a:fontRef idx="major"/>
        </p:style>
        <p:txBody>
          <a:bodyPr lIns="27432" tIns="27432" rIns="27432" bIns="2743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fontAlgn="auto" hangingPunct="1">
              <a:lnSpc>
                <a:spcPct val="90000"/>
              </a:lnSpc>
              <a:spcBef>
                <a:spcPts val="0"/>
              </a:spcBef>
              <a:spcAft>
                <a:spcPts val="0"/>
              </a:spcAft>
              <a:defRPr/>
            </a:pPr>
            <a:r>
              <a:rPr lang="en-US" sz="1200" kern="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Hypothetical Index</a:t>
            </a:r>
          </a:p>
        </p:txBody>
      </p:sp>
      <p:sp>
        <p:nvSpPr>
          <p:cNvPr id="23" name="Text Box 52">
            <a:extLst>
              <a:ext uri="{FF2B5EF4-FFF2-40B4-BE49-F238E27FC236}">
                <a16:creationId xmlns:a16="http://schemas.microsoft.com/office/drawing/2014/main" id="{90A92973-3613-6449-9F99-286E6BD7E92C}"/>
              </a:ext>
            </a:extLst>
          </p:cNvPr>
          <p:cNvSpPr txBox="1">
            <a:spLocks noChangeArrowheads="1"/>
          </p:cNvSpPr>
          <p:nvPr/>
        </p:nvSpPr>
        <p:spPr bwMode="auto">
          <a:xfrm>
            <a:off x="6171912" y="1708727"/>
            <a:ext cx="1441450" cy="430213"/>
          </a:xfrm>
          <a:prstGeom prst="rect">
            <a:avLst/>
          </a:prstGeom>
          <a:noFill/>
          <a:ln w="9525">
            <a:noFill/>
            <a:miter lim="800000"/>
            <a:headEnd/>
            <a:tailEnd/>
          </a:ln>
        </p:spPr>
        <p:style>
          <a:lnRef idx="0">
            <a:scrgbClr r="0" g="0" b="0"/>
          </a:lnRef>
          <a:fillRef idx="0">
            <a:scrgbClr r="0" g="0" b="0"/>
          </a:fillRef>
          <a:effectRef idx="0">
            <a:scrgbClr r="0" g="0" b="0"/>
          </a:effectRef>
          <a:fontRef idx="major"/>
        </p:style>
        <p:txBody>
          <a:bodyPr wrap="none"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eaLnBrk="1" fontAlgn="auto" hangingPunct="1">
              <a:spcBef>
                <a:spcPts val="0"/>
              </a:spcBef>
              <a:spcAft>
                <a:spcPts val="0"/>
              </a:spcAft>
              <a:defRPr/>
            </a:pPr>
            <a:r>
              <a:rPr lang="en-US" sz="1200" kern="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Segment</a:t>
            </a:r>
          </a:p>
        </p:txBody>
      </p:sp>
      <p:sp>
        <p:nvSpPr>
          <p:cNvPr id="24" name="Text Box 39">
            <a:extLst>
              <a:ext uri="{FF2B5EF4-FFF2-40B4-BE49-F238E27FC236}">
                <a16:creationId xmlns:a16="http://schemas.microsoft.com/office/drawing/2014/main" id="{CA739365-491A-CD41-93BD-89837D5AC112}"/>
              </a:ext>
            </a:extLst>
          </p:cNvPr>
          <p:cNvSpPr txBox="1">
            <a:spLocks noChangeArrowheads="1"/>
          </p:cNvSpPr>
          <p:nvPr/>
        </p:nvSpPr>
        <p:spPr bwMode="gray">
          <a:xfrm>
            <a:off x="3043237" y="2363248"/>
            <a:ext cx="839788" cy="239713"/>
          </a:xfrm>
          <a:prstGeom prst="rect">
            <a:avLst/>
          </a:prstGeom>
          <a:solidFill>
            <a:srgbClr val="75787B"/>
          </a:solidFill>
          <a:ln w="9525">
            <a:noFill/>
            <a:miter lim="800000"/>
            <a:headEnd/>
            <a:tailEnd/>
          </a:ln>
        </p:spPr>
        <p:style>
          <a:lnRef idx="0">
            <a:scrgbClr r="0" g="0" b="0"/>
          </a:lnRef>
          <a:fillRef idx="0">
            <a:scrgbClr r="0" g="0" b="0"/>
          </a:fillRef>
          <a:effectRef idx="0">
            <a:scrgbClr r="0" g="0" b="0"/>
          </a:effectRef>
          <a:fontRef idx="major"/>
        </p:style>
        <p:txBody>
          <a:bodyPr lIns="27432" tIns="27432" rIns="27432" bIns="27432"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fontAlgn="auto" hangingPunct="1">
              <a:spcBef>
                <a:spcPct val="50000"/>
              </a:spcBef>
              <a:spcAft>
                <a:spcPts val="0"/>
              </a:spcAft>
              <a:defRPr/>
            </a:pPr>
            <a:r>
              <a:rPr lang="en-US" sz="1200" kern="0">
                <a:solidFill>
                  <a:srgbClr val="FFFFFF"/>
                </a:solidFill>
              </a:rPr>
              <a:t>Scenario 2</a:t>
            </a:r>
          </a:p>
        </p:txBody>
      </p:sp>
      <p:sp>
        <p:nvSpPr>
          <p:cNvPr id="25" name="Rectangle 24">
            <a:extLst>
              <a:ext uri="{FF2B5EF4-FFF2-40B4-BE49-F238E27FC236}">
                <a16:creationId xmlns:a16="http://schemas.microsoft.com/office/drawing/2014/main" id="{FA5152DF-ECAA-7448-9BF6-563D708557B5}"/>
              </a:ext>
            </a:extLst>
          </p:cNvPr>
          <p:cNvSpPr>
            <a:spLocks noChangeArrowheads="1"/>
          </p:cNvSpPr>
          <p:nvPr/>
        </p:nvSpPr>
        <p:spPr bwMode="auto">
          <a:xfrm>
            <a:off x="5145087" y="3077623"/>
            <a:ext cx="579438" cy="981075"/>
          </a:xfrm>
          <a:prstGeom prst="rect">
            <a:avLst/>
          </a:prstGeom>
          <a:solidFill>
            <a:srgbClr val="4B91CD"/>
          </a:solidFill>
          <a:ln>
            <a:noFill/>
          </a:ln>
          <a:extLs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none"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hangingPunct="1">
              <a:spcBef>
                <a:spcPct val="0"/>
              </a:spcBef>
              <a:buFontTx/>
              <a:buNone/>
            </a:pPr>
            <a:endParaRPr lang="en-US" altLang="en-US">
              <a:solidFill>
                <a:srgbClr val="FFFFFF"/>
              </a:solidFill>
            </a:endParaRPr>
          </a:p>
        </p:txBody>
      </p:sp>
      <p:sp>
        <p:nvSpPr>
          <p:cNvPr id="26" name="Text Box 17">
            <a:extLst>
              <a:ext uri="{FF2B5EF4-FFF2-40B4-BE49-F238E27FC236}">
                <a16:creationId xmlns:a16="http://schemas.microsoft.com/office/drawing/2014/main" id="{069EFFE5-F552-4D4C-B649-89F3E974AD7D}"/>
              </a:ext>
            </a:extLst>
          </p:cNvPr>
          <p:cNvSpPr txBox="1">
            <a:spLocks noChangeArrowheads="1"/>
          </p:cNvSpPr>
          <p:nvPr/>
        </p:nvSpPr>
        <p:spPr bwMode="gray">
          <a:xfrm>
            <a:off x="5267325" y="3455448"/>
            <a:ext cx="39211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none" lIns="0" tIns="0" rIns="0" bIns="0"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hangingPunct="1">
              <a:spcBef>
                <a:spcPct val="0"/>
              </a:spcBef>
              <a:buFontTx/>
              <a:buNone/>
            </a:pPr>
            <a:r>
              <a:rPr lang="en-US" altLang="en-US" sz="1200">
                <a:solidFill>
                  <a:srgbClr val="FFFFFF"/>
                </a:solidFill>
              </a:rPr>
              <a:t>  30%</a:t>
            </a:r>
          </a:p>
        </p:txBody>
      </p:sp>
      <p:sp>
        <p:nvSpPr>
          <p:cNvPr id="27" name="Text Box 40">
            <a:extLst>
              <a:ext uri="{FF2B5EF4-FFF2-40B4-BE49-F238E27FC236}">
                <a16:creationId xmlns:a16="http://schemas.microsoft.com/office/drawing/2014/main" id="{D588E654-126B-EB48-A703-4F0E9CFD1E23}"/>
              </a:ext>
            </a:extLst>
          </p:cNvPr>
          <p:cNvSpPr txBox="1">
            <a:spLocks noChangeArrowheads="1"/>
          </p:cNvSpPr>
          <p:nvPr/>
        </p:nvSpPr>
        <p:spPr bwMode="gray">
          <a:xfrm>
            <a:off x="4757737" y="2363248"/>
            <a:ext cx="839788" cy="239713"/>
          </a:xfrm>
          <a:prstGeom prst="rect">
            <a:avLst/>
          </a:prstGeom>
          <a:solidFill>
            <a:srgbClr val="75787B"/>
          </a:solidFill>
          <a:ln w="9525">
            <a:noFill/>
            <a:miter lim="800000"/>
            <a:headEnd/>
            <a:tailEnd/>
          </a:ln>
        </p:spPr>
        <p:style>
          <a:lnRef idx="0">
            <a:scrgbClr r="0" g="0" b="0"/>
          </a:lnRef>
          <a:fillRef idx="0">
            <a:scrgbClr r="0" g="0" b="0"/>
          </a:fillRef>
          <a:effectRef idx="0">
            <a:scrgbClr r="0" g="0" b="0"/>
          </a:effectRef>
          <a:fontRef idx="major"/>
        </p:style>
        <p:txBody>
          <a:bodyPr lIns="27432" tIns="27432" rIns="27432" bIns="27432"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fontAlgn="auto" hangingPunct="1">
              <a:spcBef>
                <a:spcPct val="50000"/>
              </a:spcBef>
              <a:spcAft>
                <a:spcPts val="0"/>
              </a:spcAft>
              <a:defRPr/>
            </a:pPr>
            <a:r>
              <a:rPr lang="en-US" sz="1200" kern="0">
                <a:solidFill>
                  <a:srgbClr val="FFFFFF"/>
                </a:solidFill>
              </a:rPr>
              <a:t>Scenario 3</a:t>
            </a:r>
          </a:p>
        </p:txBody>
      </p:sp>
      <p:sp>
        <p:nvSpPr>
          <p:cNvPr id="28" name="Rectangle 27">
            <a:extLst>
              <a:ext uri="{FF2B5EF4-FFF2-40B4-BE49-F238E27FC236}">
                <a16:creationId xmlns:a16="http://schemas.microsoft.com/office/drawing/2014/main" id="{A0EFE1A5-33A1-D448-9BCE-D4DAC2D35F75}"/>
              </a:ext>
            </a:extLst>
          </p:cNvPr>
          <p:cNvSpPr>
            <a:spLocks noChangeArrowheads="1"/>
          </p:cNvSpPr>
          <p:nvPr/>
        </p:nvSpPr>
        <p:spPr bwMode="auto">
          <a:xfrm>
            <a:off x="4533900" y="2807748"/>
            <a:ext cx="611187" cy="1250950"/>
          </a:xfrm>
          <a:prstGeom prst="rect">
            <a:avLst/>
          </a:prstGeom>
          <a:solidFill>
            <a:srgbClr val="00006C"/>
          </a:solidFill>
          <a:ln w="9525">
            <a:noFill/>
            <a:miter lim="800000"/>
            <a:headEnd/>
            <a:tailEnd/>
          </a:ln>
        </p:spPr>
        <p:style>
          <a:lnRef idx="0">
            <a:scrgbClr r="0" g="0" b="0"/>
          </a:lnRef>
          <a:fillRef idx="0">
            <a:scrgbClr r="0" g="0" b="0"/>
          </a:fillRef>
          <a:effectRef idx="0">
            <a:scrgbClr r="0" g="0" b="0"/>
          </a:effectRef>
          <a:fontRef idx="major"/>
        </p:style>
        <p:txBody>
          <a:bodyPr wrap="none"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fontAlgn="auto" hangingPunct="1">
              <a:spcBef>
                <a:spcPts val="0"/>
              </a:spcBef>
              <a:spcAft>
                <a:spcPts val="0"/>
              </a:spcAft>
              <a:defRPr/>
            </a:pPr>
            <a:endParaRPr lang="en-US" kern="0">
              <a:solidFill>
                <a:srgbClr val="777777"/>
              </a:solidFill>
              <a:latin typeface="Arial" charset="0"/>
            </a:endParaRPr>
          </a:p>
        </p:txBody>
      </p:sp>
      <p:sp>
        <p:nvSpPr>
          <p:cNvPr id="29" name="Text Box 42">
            <a:extLst>
              <a:ext uri="{FF2B5EF4-FFF2-40B4-BE49-F238E27FC236}">
                <a16:creationId xmlns:a16="http://schemas.microsoft.com/office/drawing/2014/main" id="{FF4C6BC1-C11C-DD48-9B61-5A269A24DBDF}"/>
              </a:ext>
            </a:extLst>
          </p:cNvPr>
          <p:cNvSpPr txBox="1">
            <a:spLocks noChangeArrowheads="1"/>
          </p:cNvSpPr>
          <p:nvPr/>
        </p:nvSpPr>
        <p:spPr bwMode="gray">
          <a:xfrm>
            <a:off x="4608512" y="3455448"/>
            <a:ext cx="392113"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none" lIns="0" tIns="0" rIns="0" bIns="0"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hangingPunct="1">
              <a:spcBef>
                <a:spcPct val="0"/>
              </a:spcBef>
              <a:buFontTx/>
              <a:buNone/>
            </a:pPr>
            <a:r>
              <a:rPr lang="en-US" altLang="en-US" sz="1200">
                <a:solidFill>
                  <a:srgbClr val="FFFFFF"/>
                </a:solidFill>
              </a:rPr>
              <a:t>  40%</a:t>
            </a:r>
          </a:p>
        </p:txBody>
      </p:sp>
      <p:sp>
        <p:nvSpPr>
          <p:cNvPr id="30" name="Text Box 41">
            <a:extLst>
              <a:ext uri="{FF2B5EF4-FFF2-40B4-BE49-F238E27FC236}">
                <a16:creationId xmlns:a16="http://schemas.microsoft.com/office/drawing/2014/main" id="{2A0BB519-4E4D-564E-B25C-FED835E55B20}"/>
              </a:ext>
            </a:extLst>
          </p:cNvPr>
          <p:cNvSpPr txBox="1">
            <a:spLocks noChangeArrowheads="1"/>
          </p:cNvSpPr>
          <p:nvPr/>
        </p:nvSpPr>
        <p:spPr bwMode="gray">
          <a:xfrm>
            <a:off x="6462712" y="2363248"/>
            <a:ext cx="839788" cy="239713"/>
          </a:xfrm>
          <a:prstGeom prst="rect">
            <a:avLst/>
          </a:prstGeom>
          <a:solidFill>
            <a:srgbClr val="75787B"/>
          </a:solidFill>
          <a:ln w="9525">
            <a:noFill/>
            <a:miter lim="800000"/>
            <a:headEnd/>
            <a:tailEnd/>
          </a:ln>
        </p:spPr>
        <p:style>
          <a:lnRef idx="0">
            <a:scrgbClr r="0" g="0" b="0"/>
          </a:lnRef>
          <a:fillRef idx="0">
            <a:scrgbClr r="0" g="0" b="0"/>
          </a:fillRef>
          <a:effectRef idx="0">
            <a:scrgbClr r="0" g="0" b="0"/>
          </a:effectRef>
          <a:fontRef idx="major"/>
        </p:style>
        <p:txBody>
          <a:bodyPr lIns="27432" tIns="27432" rIns="27432" bIns="27432"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fontAlgn="auto" hangingPunct="1">
              <a:spcBef>
                <a:spcPct val="50000"/>
              </a:spcBef>
              <a:spcAft>
                <a:spcPts val="0"/>
              </a:spcAft>
              <a:defRPr/>
            </a:pPr>
            <a:r>
              <a:rPr lang="en-US" sz="1200" kern="0">
                <a:solidFill>
                  <a:srgbClr val="FFFFFF"/>
                </a:solidFill>
              </a:rPr>
              <a:t>Scenario 4</a:t>
            </a:r>
          </a:p>
        </p:txBody>
      </p:sp>
      <p:sp>
        <p:nvSpPr>
          <p:cNvPr id="31" name="Text Box 38">
            <a:extLst>
              <a:ext uri="{FF2B5EF4-FFF2-40B4-BE49-F238E27FC236}">
                <a16:creationId xmlns:a16="http://schemas.microsoft.com/office/drawing/2014/main" id="{9CA8D6A9-E3B0-024D-9C99-FE9DCE4E3ADF}"/>
              </a:ext>
            </a:extLst>
          </p:cNvPr>
          <p:cNvSpPr txBox="1">
            <a:spLocks noChangeArrowheads="1"/>
          </p:cNvSpPr>
          <p:nvPr/>
        </p:nvSpPr>
        <p:spPr bwMode="gray">
          <a:xfrm>
            <a:off x="1320800" y="2363248"/>
            <a:ext cx="839787" cy="239713"/>
          </a:xfrm>
          <a:prstGeom prst="rect">
            <a:avLst/>
          </a:prstGeom>
          <a:solidFill>
            <a:srgbClr val="75787B"/>
          </a:solidFill>
          <a:ln w="9525">
            <a:noFill/>
            <a:miter lim="800000"/>
            <a:headEnd/>
            <a:tailEnd/>
          </a:ln>
        </p:spPr>
        <p:style>
          <a:lnRef idx="0">
            <a:scrgbClr r="0" g="0" b="0"/>
          </a:lnRef>
          <a:fillRef idx="0">
            <a:scrgbClr r="0" g="0" b="0"/>
          </a:fillRef>
          <a:effectRef idx="0">
            <a:scrgbClr r="0" g="0" b="0"/>
          </a:effectRef>
          <a:fontRef idx="major"/>
        </p:style>
        <p:txBody>
          <a:bodyPr lIns="27432" tIns="27432" rIns="27432" bIns="27432"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fontAlgn="auto" hangingPunct="1">
              <a:spcBef>
                <a:spcPct val="50000"/>
              </a:spcBef>
              <a:spcAft>
                <a:spcPts val="0"/>
              </a:spcAft>
              <a:defRPr/>
            </a:pPr>
            <a:r>
              <a:rPr lang="en-US" sz="1200" kern="0" dirty="0">
                <a:solidFill>
                  <a:srgbClr val="FFFFFF"/>
                </a:solidFill>
              </a:rPr>
              <a:t>Scenario 1</a:t>
            </a:r>
          </a:p>
        </p:txBody>
      </p:sp>
      <p:sp>
        <p:nvSpPr>
          <p:cNvPr id="32" name="Text Box 48">
            <a:extLst>
              <a:ext uri="{FF2B5EF4-FFF2-40B4-BE49-F238E27FC236}">
                <a16:creationId xmlns:a16="http://schemas.microsoft.com/office/drawing/2014/main" id="{924B3D32-63B3-D24B-BB63-87C33EEC1E83}"/>
              </a:ext>
            </a:extLst>
          </p:cNvPr>
          <p:cNvSpPr txBox="1">
            <a:spLocks noChangeArrowheads="1"/>
          </p:cNvSpPr>
          <p:nvPr/>
        </p:nvSpPr>
        <p:spPr bwMode="gray">
          <a:xfrm>
            <a:off x="2687781" y="1711468"/>
            <a:ext cx="1560945" cy="424732"/>
          </a:xfrm>
          <a:prstGeom prst="rect">
            <a:avLst/>
          </a:prstGeom>
          <a:noFill/>
          <a:ln w="25400" cap="rnd">
            <a:solidFill>
              <a:srgbClr val="C00000"/>
            </a:solidFill>
            <a:prstDash val="sysDot"/>
            <a:bevel/>
            <a:headEnd/>
            <a:tailEnd/>
          </a:ln>
        </p:spPr>
        <p:style>
          <a:lnRef idx="0">
            <a:scrgbClr r="0" g="0" b="0"/>
          </a:lnRef>
          <a:fillRef idx="0">
            <a:scrgbClr r="0" g="0" b="0"/>
          </a:fillRef>
          <a:effectRef idx="0">
            <a:scrgbClr r="0" g="0" b="0"/>
          </a:effectRef>
          <a:fontRef idx="major"/>
        </p:style>
        <p:txBody>
          <a:bodyPr wrap="square" lIns="274320" tIns="27432" rIns="27432" bIns="27432"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fontAlgn="auto">
              <a:spcAft>
                <a:spcPts val="0"/>
              </a:spcAft>
              <a:defRPr/>
            </a:pPr>
            <a:r>
              <a:rPr lang="en-US" sz="1200" kern="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Segment Buffer: </a:t>
            </a:r>
            <a:br>
              <a:rPr lang="en-US" sz="1200" kern="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br>
            <a:r>
              <a:rPr lang="en-US" sz="1200" kern="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30%</a:t>
            </a:r>
          </a:p>
        </p:txBody>
      </p:sp>
      <p:sp>
        <p:nvSpPr>
          <p:cNvPr id="33" name="AutoShape 27">
            <a:extLst>
              <a:ext uri="{FF2B5EF4-FFF2-40B4-BE49-F238E27FC236}">
                <a16:creationId xmlns:a16="http://schemas.microsoft.com/office/drawing/2014/main" id="{4A129761-565C-2741-8979-C2501BBE03E1}"/>
              </a:ext>
            </a:extLst>
          </p:cNvPr>
          <p:cNvSpPr>
            <a:spLocks noChangeArrowheads="1"/>
          </p:cNvSpPr>
          <p:nvPr/>
        </p:nvSpPr>
        <p:spPr bwMode="gray">
          <a:xfrm rot="10800000" flipV="1">
            <a:off x="7613650" y="3079750"/>
            <a:ext cx="1266825" cy="773113"/>
          </a:xfrm>
          <a:prstGeom prst="homePlate">
            <a:avLst>
              <a:gd name="adj" fmla="val 40400"/>
            </a:avLst>
          </a:prstGeom>
          <a:solidFill>
            <a:srgbClr val="73C0FF"/>
          </a:solidFill>
          <a:ln w="9525">
            <a:solidFill>
              <a:srgbClr val="FFFFFF"/>
            </a:solidFill>
            <a:miter lim="800000"/>
            <a:headEnd/>
            <a:tailEnd/>
          </a:ln>
        </p:spPr>
        <p:style>
          <a:lnRef idx="0">
            <a:scrgbClr r="0" g="0" b="0"/>
          </a:lnRef>
          <a:fillRef idx="0">
            <a:scrgbClr r="0" g="0" b="0"/>
          </a:fillRef>
          <a:effectRef idx="0">
            <a:scrgbClr r="0" g="0" b="0"/>
          </a:effectRef>
          <a:fontRef idx="major"/>
        </p:style>
        <p:txBody>
          <a:bodyPr lIns="182880"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eaLnBrk="1" fontAlgn="auto" hangingPunct="1">
              <a:spcBef>
                <a:spcPts val="0"/>
              </a:spcBef>
              <a:spcAft>
                <a:spcPts val="0"/>
              </a:spcAft>
              <a:defRPr/>
            </a:pPr>
            <a:r>
              <a:rPr lang="en-US" sz="1200" kern="0" dirty="0">
                <a:solidFill>
                  <a:srgbClr val="000000"/>
                </a:solidFill>
                <a:latin typeface="Arial" charset="0"/>
              </a:rPr>
              <a:t>Upside Potential</a:t>
            </a:r>
          </a:p>
        </p:txBody>
      </p:sp>
      <p:sp>
        <p:nvSpPr>
          <p:cNvPr id="34" name="AutoShape 28">
            <a:extLst>
              <a:ext uri="{FF2B5EF4-FFF2-40B4-BE49-F238E27FC236}">
                <a16:creationId xmlns:a16="http://schemas.microsoft.com/office/drawing/2014/main" id="{D551435B-A25C-B147-BB49-1408D644C8C1}"/>
              </a:ext>
            </a:extLst>
          </p:cNvPr>
          <p:cNvSpPr>
            <a:spLocks noChangeArrowheads="1"/>
          </p:cNvSpPr>
          <p:nvPr/>
        </p:nvSpPr>
        <p:spPr bwMode="gray">
          <a:xfrm rot="10800000" flipV="1">
            <a:off x="7634287" y="4110018"/>
            <a:ext cx="1257300" cy="1028700"/>
          </a:xfrm>
          <a:prstGeom prst="homePlate">
            <a:avLst>
              <a:gd name="adj" fmla="val 35143"/>
            </a:avLst>
          </a:prstGeom>
          <a:solidFill>
            <a:srgbClr val="777777">
              <a:lumMod val="60000"/>
              <a:lumOff val="40000"/>
            </a:srgbClr>
          </a:solidFill>
          <a:ln w="9525" algn="ctr">
            <a:solidFill>
              <a:srgbClr val="FFFFFF"/>
            </a:solidFill>
            <a:miter lim="800000"/>
            <a:headEnd/>
            <a:tailEnd/>
          </a:ln>
        </p:spPr>
        <p:style>
          <a:lnRef idx="0">
            <a:scrgbClr r="0" g="0" b="0"/>
          </a:lnRef>
          <a:fillRef idx="0">
            <a:scrgbClr r="0" g="0" b="0"/>
          </a:fillRef>
          <a:effectRef idx="0">
            <a:scrgbClr r="0" g="0" b="0"/>
          </a:effectRef>
          <a:fontRef idx="major"/>
        </p:style>
        <p:txBody>
          <a:bodyPr wrap="none" lIns="182880"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eaLnBrk="1" fontAlgn="auto" hangingPunct="1">
              <a:spcBef>
                <a:spcPts val="0"/>
              </a:spcBef>
              <a:spcAft>
                <a:spcPts val="0"/>
              </a:spcAft>
              <a:defRPr/>
            </a:pPr>
            <a:r>
              <a:rPr lang="en-US" sz="1200" kern="0" dirty="0">
                <a:solidFill>
                  <a:srgbClr val="000000"/>
                </a:solidFill>
                <a:latin typeface="Arial" charset="0"/>
              </a:rPr>
              <a:t>Downside</a:t>
            </a:r>
            <a:br>
              <a:rPr lang="en-US" sz="1200" kern="0" dirty="0">
                <a:solidFill>
                  <a:srgbClr val="000000"/>
                </a:solidFill>
                <a:latin typeface="Arial" charset="0"/>
              </a:rPr>
            </a:br>
            <a:r>
              <a:rPr lang="en-US" sz="1200" kern="0" dirty="0">
                <a:solidFill>
                  <a:srgbClr val="000000"/>
                </a:solidFill>
                <a:latin typeface="Arial" charset="0"/>
              </a:rPr>
              <a:t>Protection</a:t>
            </a:r>
            <a:br>
              <a:rPr lang="en-US" sz="1200" kern="0" dirty="0">
                <a:solidFill>
                  <a:srgbClr val="000000"/>
                </a:solidFill>
                <a:latin typeface="Arial" charset="0"/>
              </a:rPr>
            </a:br>
            <a:r>
              <a:rPr lang="en-US" sz="1200" kern="0" dirty="0">
                <a:solidFill>
                  <a:srgbClr val="000000"/>
                </a:solidFill>
                <a:latin typeface="Arial" charset="0"/>
              </a:rPr>
              <a:t>Absorbed by </a:t>
            </a:r>
            <a:br>
              <a:rPr lang="en-US" sz="1200" kern="0" dirty="0">
                <a:solidFill>
                  <a:srgbClr val="000000"/>
                </a:solidFill>
                <a:latin typeface="Arial" charset="0"/>
              </a:rPr>
            </a:br>
            <a:r>
              <a:rPr lang="en-US" sz="1200" kern="0" dirty="0">
                <a:solidFill>
                  <a:srgbClr val="000000"/>
                </a:solidFill>
                <a:latin typeface="Arial" charset="0"/>
              </a:rPr>
              <a:t>Insurance</a:t>
            </a:r>
          </a:p>
          <a:p>
            <a:pPr eaLnBrk="1" fontAlgn="auto" hangingPunct="1">
              <a:spcBef>
                <a:spcPts val="0"/>
              </a:spcBef>
              <a:spcAft>
                <a:spcPts val="0"/>
              </a:spcAft>
              <a:defRPr/>
            </a:pPr>
            <a:r>
              <a:rPr lang="en-US" sz="1200" kern="0" dirty="0">
                <a:solidFill>
                  <a:srgbClr val="000000"/>
                </a:solidFill>
                <a:latin typeface="Arial" charset="0"/>
              </a:rPr>
              <a:t>Company</a:t>
            </a:r>
          </a:p>
        </p:txBody>
      </p:sp>
      <p:sp>
        <p:nvSpPr>
          <p:cNvPr id="35" name="Text Box 49">
            <a:extLst>
              <a:ext uri="{FF2B5EF4-FFF2-40B4-BE49-F238E27FC236}">
                <a16:creationId xmlns:a16="http://schemas.microsoft.com/office/drawing/2014/main" id="{C0B1AD2B-243D-FD46-9367-64712F15AB8A}"/>
              </a:ext>
            </a:extLst>
          </p:cNvPr>
          <p:cNvSpPr txBox="1">
            <a:spLocks noChangeArrowheads="1"/>
          </p:cNvSpPr>
          <p:nvPr/>
        </p:nvSpPr>
        <p:spPr bwMode="gray">
          <a:xfrm>
            <a:off x="858982" y="1711468"/>
            <a:ext cx="1681017" cy="424732"/>
          </a:xfrm>
          <a:prstGeom prst="rect">
            <a:avLst/>
          </a:prstGeom>
          <a:noFill/>
          <a:ln w="25400" cap="rnd">
            <a:solidFill>
              <a:srgbClr val="008000"/>
            </a:solidFill>
            <a:prstDash val="sysDot"/>
            <a:bevel/>
            <a:headEnd/>
            <a:tailEnd/>
          </a:ln>
        </p:spPr>
        <p:style>
          <a:lnRef idx="0">
            <a:scrgbClr r="0" g="0" b="0"/>
          </a:lnRef>
          <a:fillRef idx="0">
            <a:scrgbClr r="0" g="0" b="0"/>
          </a:fillRef>
          <a:effectRef idx="0">
            <a:scrgbClr r="0" g="0" b="0"/>
          </a:effectRef>
          <a:fontRef idx="major"/>
        </p:style>
        <p:txBody>
          <a:bodyPr wrap="square" lIns="274320" tIns="27432" rIns="27432" bIns="27432"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fontAlgn="auto">
              <a:spcAft>
                <a:spcPts val="0"/>
              </a:spcAft>
              <a:defRPr/>
            </a:pPr>
            <a:r>
              <a:rPr lang="en-US" sz="1200" kern="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Performance Cap </a:t>
            </a:r>
            <a:br>
              <a:rPr lang="en-US" sz="1200" kern="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br>
            <a:r>
              <a:rPr lang="en-US" sz="1200" kern="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Rate: 30%</a:t>
            </a:r>
          </a:p>
        </p:txBody>
      </p:sp>
      <p:sp>
        <p:nvSpPr>
          <p:cNvPr id="36" name="Rectangle 35">
            <a:extLst>
              <a:ext uri="{FF2B5EF4-FFF2-40B4-BE49-F238E27FC236}">
                <a16:creationId xmlns:a16="http://schemas.microsoft.com/office/drawing/2014/main" id="{D07F1CFA-D314-7D44-A089-5F588A173A7B}"/>
              </a:ext>
            </a:extLst>
          </p:cNvPr>
          <p:cNvSpPr>
            <a:spLocks noChangeArrowheads="1"/>
          </p:cNvSpPr>
          <p:nvPr/>
        </p:nvSpPr>
        <p:spPr bwMode="auto">
          <a:xfrm>
            <a:off x="6850062" y="4077748"/>
            <a:ext cx="579438" cy="322263"/>
          </a:xfrm>
          <a:prstGeom prst="rect">
            <a:avLst/>
          </a:prstGeom>
          <a:solidFill>
            <a:srgbClr val="4B91CD"/>
          </a:solidFill>
          <a:ln>
            <a:noFill/>
          </a:ln>
          <a:extLs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none"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hangingPunct="1">
              <a:spcBef>
                <a:spcPct val="0"/>
              </a:spcBef>
              <a:buFontTx/>
              <a:buNone/>
            </a:pPr>
            <a:endParaRPr lang="en-US" altLang="en-US">
              <a:solidFill>
                <a:srgbClr val="FFFFFF"/>
              </a:solidFill>
            </a:endParaRPr>
          </a:p>
        </p:txBody>
      </p:sp>
      <p:sp>
        <p:nvSpPr>
          <p:cNvPr id="37" name="Text Box 17">
            <a:extLst>
              <a:ext uri="{FF2B5EF4-FFF2-40B4-BE49-F238E27FC236}">
                <a16:creationId xmlns:a16="http://schemas.microsoft.com/office/drawing/2014/main" id="{9A982386-3183-2A4C-BD7D-1FD749DD26BD}"/>
              </a:ext>
            </a:extLst>
          </p:cNvPr>
          <p:cNvSpPr txBox="1">
            <a:spLocks noChangeArrowheads="1"/>
          </p:cNvSpPr>
          <p:nvPr/>
        </p:nvSpPr>
        <p:spPr bwMode="gray">
          <a:xfrm>
            <a:off x="6961187" y="4149186"/>
            <a:ext cx="357188"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none" lIns="0" tIns="0" rIns="0" bIns="0"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hangingPunct="1">
              <a:spcBef>
                <a:spcPct val="0"/>
              </a:spcBef>
              <a:buFontTx/>
              <a:buNone/>
            </a:pPr>
            <a:r>
              <a:rPr lang="en-US" altLang="en-US" sz="1200">
                <a:solidFill>
                  <a:srgbClr val="FFFFFF"/>
                </a:solidFill>
              </a:rPr>
              <a:t>-10%</a:t>
            </a:r>
          </a:p>
        </p:txBody>
      </p:sp>
      <p:sp>
        <p:nvSpPr>
          <p:cNvPr id="38" name="Rectangle 37">
            <a:extLst>
              <a:ext uri="{FF2B5EF4-FFF2-40B4-BE49-F238E27FC236}">
                <a16:creationId xmlns:a16="http://schemas.microsoft.com/office/drawing/2014/main" id="{18A83641-5C4B-2D46-9693-948E730EAB73}"/>
              </a:ext>
            </a:extLst>
          </p:cNvPr>
          <p:cNvSpPr>
            <a:spLocks noChangeArrowheads="1"/>
          </p:cNvSpPr>
          <p:nvPr/>
        </p:nvSpPr>
        <p:spPr bwMode="auto">
          <a:xfrm>
            <a:off x="6232525" y="4068223"/>
            <a:ext cx="609600" cy="1395413"/>
          </a:xfrm>
          <a:prstGeom prst="rect">
            <a:avLst/>
          </a:prstGeom>
          <a:solidFill>
            <a:srgbClr val="00006C"/>
          </a:solidFill>
          <a:ln w="9525">
            <a:noFill/>
            <a:miter lim="800000"/>
            <a:headEnd/>
            <a:tailEnd/>
          </a:ln>
        </p:spPr>
        <p:style>
          <a:lnRef idx="0">
            <a:scrgbClr r="0" g="0" b="0"/>
          </a:lnRef>
          <a:fillRef idx="0">
            <a:scrgbClr r="0" g="0" b="0"/>
          </a:fillRef>
          <a:effectRef idx="0">
            <a:scrgbClr r="0" g="0" b="0"/>
          </a:effectRef>
          <a:fontRef idx="major"/>
        </p:style>
        <p:txBody>
          <a:bodyPr wrap="none"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fontAlgn="auto" hangingPunct="1">
              <a:spcBef>
                <a:spcPts val="0"/>
              </a:spcBef>
              <a:spcAft>
                <a:spcPts val="0"/>
              </a:spcAft>
              <a:defRPr/>
            </a:pPr>
            <a:endParaRPr lang="en-US" kern="0">
              <a:solidFill>
                <a:srgbClr val="777777"/>
              </a:solidFill>
              <a:latin typeface="Arial" charset="0"/>
            </a:endParaRPr>
          </a:p>
        </p:txBody>
      </p:sp>
      <p:sp>
        <p:nvSpPr>
          <p:cNvPr id="39" name="Text Box 42">
            <a:extLst>
              <a:ext uri="{FF2B5EF4-FFF2-40B4-BE49-F238E27FC236}">
                <a16:creationId xmlns:a16="http://schemas.microsoft.com/office/drawing/2014/main" id="{6C9C5AFE-3738-C14F-81BF-19C587455DA7}"/>
              </a:ext>
            </a:extLst>
          </p:cNvPr>
          <p:cNvSpPr txBox="1">
            <a:spLocks noChangeArrowheads="1"/>
          </p:cNvSpPr>
          <p:nvPr/>
        </p:nvSpPr>
        <p:spPr bwMode="gray">
          <a:xfrm>
            <a:off x="6261967" y="5182070"/>
            <a:ext cx="4953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lIns="0" tIns="0" rIns="0" bIns="0"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hangingPunct="1">
              <a:spcBef>
                <a:spcPct val="0"/>
              </a:spcBef>
              <a:buFontTx/>
              <a:buNone/>
            </a:pPr>
            <a:r>
              <a:rPr lang="en-US" altLang="en-US" sz="1200" dirty="0">
                <a:solidFill>
                  <a:srgbClr val="FFFFFF"/>
                </a:solidFill>
              </a:rPr>
              <a:t>  -40%</a:t>
            </a:r>
          </a:p>
        </p:txBody>
      </p:sp>
      <p:sp>
        <p:nvSpPr>
          <p:cNvPr id="40" name="Rectangle 39">
            <a:extLst>
              <a:ext uri="{FF2B5EF4-FFF2-40B4-BE49-F238E27FC236}">
                <a16:creationId xmlns:a16="http://schemas.microsoft.com/office/drawing/2014/main" id="{7ADDCCF2-048A-2E4A-9151-D178EAEC9B29}"/>
              </a:ext>
            </a:extLst>
          </p:cNvPr>
          <p:cNvSpPr>
            <a:spLocks noChangeArrowheads="1"/>
          </p:cNvSpPr>
          <p:nvPr/>
        </p:nvSpPr>
        <p:spPr bwMode="auto">
          <a:xfrm>
            <a:off x="1668462" y="3077623"/>
            <a:ext cx="579438" cy="977900"/>
          </a:xfrm>
          <a:prstGeom prst="rect">
            <a:avLst/>
          </a:prstGeom>
          <a:solidFill>
            <a:srgbClr val="4B91CD"/>
          </a:solidFill>
          <a:ln>
            <a:noFill/>
          </a:ln>
          <a:extLs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none"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hangingPunct="1">
              <a:spcBef>
                <a:spcPct val="0"/>
              </a:spcBef>
              <a:buFontTx/>
              <a:buNone/>
            </a:pPr>
            <a:endParaRPr lang="en-US" altLang="en-US">
              <a:solidFill>
                <a:srgbClr val="FFFFFF"/>
              </a:solidFill>
            </a:endParaRPr>
          </a:p>
        </p:txBody>
      </p:sp>
      <p:sp>
        <p:nvSpPr>
          <p:cNvPr id="41" name="Text Box 17">
            <a:extLst>
              <a:ext uri="{FF2B5EF4-FFF2-40B4-BE49-F238E27FC236}">
                <a16:creationId xmlns:a16="http://schemas.microsoft.com/office/drawing/2014/main" id="{8BF5DF10-A94B-5E4A-9DFD-C88B5AF42412}"/>
              </a:ext>
            </a:extLst>
          </p:cNvPr>
          <p:cNvSpPr txBox="1">
            <a:spLocks noChangeArrowheads="1"/>
          </p:cNvSpPr>
          <p:nvPr/>
        </p:nvSpPr>
        <p:spPr bwMode="gray">
          <a:xfrm>
            <a:off x="1762125" y="3455448"/>
            <a:ext cx="39211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none" lIns="0" tIns="0" rIns="0" bIns="0"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hangingPunct="1">
              <a:spcBef>
                <a:spcPct val="0"/>
              </a:spcBef>
              <a:buFontTx/>
              <a:buNone/>
            </a:pPr>
            <a:r>
              <a:rPr lang="en-US" altLang="en-US" sz="1200">
                <a:solidFill>
                  <a:srgbClr val="FFFFFF"/>
                </a:solidFill>
              </a:rPr>
              <a:t>  30%</a:t>
            </a:r>
          </a:p>
        </p:txBody>
      </p:sp>
      <p:sp>
        <p:nvSpPr>
          <p:cNvPr id="42" name="Rectangle 41">
            <a:extLst>
              <a:ext uri="{FF2B5EF4-FFF2-40B4-BE49-F238E27FC236}">
                <a16:creationId xmlns:a16="http://schemas.microsoft.com/office/drawing/2014/main" id="{A6917D59-8FD3-1B43-9FC2-CD9E653EB88E}"/>
              </a:ext>
            </a:extLst>
          </p:cNvPr>
          <p:cNvSpPr>
            <a:spLocks noChangeArrowheads="1"/>
          </p:cNvSpPr>
          <p:nvPr/>
        </p:nvSpPr>
        <p:spPr bwMode="auto">
          <a:xfrm>
            <a:off x="2873375" y="4071398"/>
            <a:ext cx="609600" cy="1047750"/>
          </a:xfrm>
          <a:prstGeom prst="rect">
            <a:avLst/>
          </a:prstGeom>
          <a:solidFill>
            <a:srgbClr val="00006C"/>
          </a:solidFill>
          <a:ln w="9525">
            <a:noFill/>
            <a:miter lim="800000"/>
            <a:headEnd/>
            <a:tailEnd/>
          </a:ln>
        </p:spPr>
        <p:style>
          <a:lnRef idx="0">
            <a:scrgbClr r="0" g="0" b="0"/>
          </a:lnRef>
          <a:fillRef idx="0">
            <a:scrgbClr r="0" g="0" b="0"/>
          </a:fillRef>
          <a:effectRef idx="0">
            <a:scrgbClr r="0" g="0" b="0"/>
          </a:effectRef>
          <a:fontRef idx="major"/>
        </p:style>
        <p:txBody>
          <a:bodyPr wrap="none"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fontAlgn="auto" hangingPunct="1">
              <a:spcBef>
                <a:spcPts val="0"/>
              </a:spcBef>
              <a:spcAft>
                <a:spcPts val="0"/>
              </a:spcAft>
              <a:defRPr/>
            </a:pPr>
            <a:endParaRPr lang="en-US" kern="0">
              <a:solidFill>
                <a:srgbClr val="777777"/>
              </a:solidFill>
              <a:latin typeface="Arial" charset="0"/>
            </a:endParaRPr>
          </a:p>
        </p:txBody>
      </p:sp>
      <p:sp>
        <p:nvSpPr>
          <p:cNvPr id="43" name="Text Box 42">
            <a:extLst>
              <a:ext uri="{FF2B5EF4-FFF2-40B4-BE49-F238E27FC236}">
                <a16:creationId xmlns:a16="http://schemas.microsoft.com/office/drawing/2014/main" id="{65B1F1E5-521E-394A-A571-B6D4A164C8EC}"/>
              </a:ext>
            </a:extLst>
          </p:cNvPr>
          <p:cNvSpPr txBox="1">
            <a:spLocks noChangeArrowheads="1"/>
          </p:cNvSpPr>
          <p:nvPr/>
        </p:nvSpPr>
        <p:spPr bwMode="gray">
          <a:xfrm>
            <a:off x="2925762" y="4873086"/>
            <a:ext cx="506413"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lIns="0" tIns="0" rIns="0" bIns="0"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hangingPunct="1">
              <a:spcBef>
                <a:spcPct val="0"/>
              </a:spcBef>
              <a:buFontTx/>
              <a:buNone/>
            </a:pPr>
            <a:r>
              <a:rPr lang="en-US" altLang="en-US" sz="1200">
                <a:solidFill>
                  <a:srgbClr val="FFFFFF"/>
                </a:solidFill>
              </a:rPr>
              <a:t>  -30%</a:t>
            </a:r>
          </a:p>
        </p:txBody>
      </p:sp>
      <p:sp>
        <p:nvSpPr>
          <p:cNvPr id="44" name="Line 35">
            <a:extLst>
              <a:ext uri="{FF2B5EF4-FFF2-40B4-BE49-F238E27FC236}">
                <a16:creationId xmlns:a16="http://schemas.microsoft.com/office/drawing/2014/main" id="{ED0632B8-36CC-CE4C-9163-7D1A40C2DD3E}"/>
              </a:ext>
            </a:extLst>
          </p:cNvPr>
          <p:cNvSpPr>
            <a:spLocks noChangeShapeType="1"/>
          </p:cNvSpPr>
          <p:nvPr/>
        </p:nvSpPr>
        <p:spPr bwMode="gray">
          <a:xfrm>
            <a:off x="879475" y="5128673"/>
            <a:ext cx="6840537" cy="0"/>
          </a:xfrm>
          <a:prstGeom prst="line">
            <a:avLst/>
          </a:prstGeom>
          <a:noFill/>
          <a:ln w="25400" cap="rnd">
            <a:solidFill>
              <a:srgbClr val="C00000"/>
            </a:solidFill>
            <a:prstDash val="sysDot"/>
            <a:round/>
            <a:headEnd/>
            <a:tailEnd/>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ajor"/>
        </p:style>
        <p:txBody>
          <a:bodyPr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eaLnBrk="1" fontAlgn="auto" hangingPunct="1">
              <a:spcBef>
                <a:spcPts val="0"/>
              </a:spcBef>
              <a:spcAft>
                <a:spcPts val="0"/>
              </a:spcAft>
              <a:defRPr/>
            </a:pPr>
            <a:endParaRPr lang="en-US" kern="0">
              <a:solidFill>
                <a:sysClr val="windowText" lastClr="000000"/>
              </a:solidFill>
            </a:endParaRPr>
          </a:p>
        </p:txBody>
      </p:sp>
      <p:sp>
        <p:nvSpPr>
          <p:cNvPr id="45" name="Text Box 48">
            <a:extLst>
              <a:ext uri="{FF2B5EF4-FFF2-40B4-BE49-F238E27FC236}">
                <a16:creationId xmlns:a16="http://schemas.microsoft.com/office/drawing/2014/main" id="{2DD45725-B612-2E4C-B132-D551881F1DFD}"/>
              </a:ext>
            </a:extLst>
          </p:cNvPr>
          <p:cNvSpPr txBox="1">
            <a:spLocks noChangeArrowheads="1"/>
          </p:cNvSpPr>
          <p:nvPr/>
        </p:nvSpPr>
        <p:spPr bwMode="gray">
          <a:xfrm>
            <a:off x="3738416" y="4930017"/>
            <a:ext cx="1637147" cy="424732"/>
          </a:xfrm>
          <a:prstGeom prst="rect">
            <a:avLst/>
          </a:prstGeom>
          <a:solidFill>
            <a:schemeClr val="bg1"/>
          </a:solidFill>
          <a:ln w="25400" cap="rnd">
            <a:solidFill>
              <a:srgbClr val="C00000"/>
            </a:solidFill>
            <a:prstDash val="sysDot"/>
            <a:bevel/>
            <a:headEnd/>
            <a:tailEnd/>
          </a:ln>
        </p:spPr>
        <p:style>
          <a:lnRef idx="0">
            <a:scrgbClr r="0" g="0" b="0"/>
          </a:lnRef>
          <a:fillRef idx="0">
            <a:scrgbClr r="0" g="0" b="0"/>
          </a:fillRef>
          <a:effectRef idx="0">
            <a:scrgbClr r="0" g="0" b="0"/>
          </a:effectRef>
          <a:fontRef idx="major"/>
        </p:style>
        <p:txBody>
          <a:bodyPr wrap="square" lIns="274320" tIns="27432" rIns="27432" bIns="27432"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eaLnBrk="1" fontAlgn="auto" hangingPunct="1">
              <a:spcBef>
                <a:spcPct val="50000"/>
              </a:spcBef>
              <a:spcAft>
                <a:spcPts val="0"/>
              </a:spcAft>
              <a:defRPr/>
            </a:pPr>
            <a:r>
              <a:rPr lang="en-US" sz="1200" kern="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Segment Buffer: </a:t>
            </a:r>
            <a:br>
              <a:rPr lang="en-US" sz="1200" kern="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br>
            <a:r>
              <a:rPr lang="en-US" sz="1200" kern="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30%</a:t>
            </a:r>
          </a:p>
        </p:txBody>
      </p:sp>
      <p:sp>
        <p:nvSpPr>
          <p:cNvPr id="46" name="Rectangle 45">
            <a:extLst>
              <a:ext uri="{FF2B5EF4-FFF2-40B4-BE49-F238E27FC236}">
                <a16:creationId xmlns:a16="http://schemas.microsoft.com/office/drawing/2014/main" id="{33697925-C357-4843-BDE5-6897CD0D1E57}"/>
              </a:ext>
            </a:extLst>
          </p:cNvPr>
          <p:cNvSpPr>
            <a:spLocks noChangeArrowheads="1"/>
          </p:cNvSpPr>
          <p:nvPr/>
        </p:nvSpPr>
        <p:spPr bwMode="auto">
          <a:xfrm>
            <a:off x="1057275" y="3077623"/>
            <a:ext cx="609600" cy="976313"/>
          </a:xfrm>
          <a:prstGeom prst="rect">
            <a:avLst/>
          </a:prstGeom>
          <a:solidFill>
            <a:srgbClr val="00006C"/>
          </a:solidFill>
          <a:ln w="9525">
            <a:noFill/>
            <a:miter lim="800000"/>
            <a:headEnd/>
            <a:tailEnd/>
          </a:ln>
        </p:spPr>
        <p:style>
          <a:lnRef idx="0">
            <a:scrgbClr r="0" g="0" b="0"/>
          </a:lnRef>
          <a:fillRef idx="0">
            <a:scrgbClr r="0" g="0" b="0"/>
          </a:fillRef>
          <a:effectRef idx="0">
            <a:scrgbClr r="0" g="0" b="0"/>
          </a:effectRef>
          <a:fontRef idx="major"/>
        </p:style>
        <p:txBody>
          <a:bodyPr wrap="none"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fontAlgn="auto" hangingPunct="1">
              <a:spcBef>
                <a:spcPts val="0"/>
              </a:spcBef>
              <a:spcAft>
                <a:spcPts val="0"/>
              </a:spcAft>
              <a:defRPr/>
            </a:pPr>
            <a:endParaRPr lang="en-US" kern="0">
              <a:solidFill>
                <a:srgbClr val="FFFFFF"/>
              </a:solidFill>
              <a:latin typeface="Arial" charset="0"/>
            </a:endParaRPr>
          </a:p>
        </p:txBody>
      </p:sp>
      <p:sp>
        <p:nvSpPr>
          <p:cNvPr id="47" name="Text Box 42">
            <a:extLst>
              <a:ext uri="{FF2B5EF4-FFF2-40B4-BE49-F238E27FC236}">
                <a16:creationId xmlns:a16="http://schemas.microsoft.com/office/drawing/2014/main" id="{ADFF1A5A-06FE-1849-846E-BA10AD133B5A}"/>
              </a:ext>
            </a:extLst>
          </p:cNvPr>
          <p:cNvSpPr txBox="1">
            <a:spLocks noChangeArrowheads="1"/>
          </p:cNvSpPr>
          <p:nvPr/>
        </p:nvSpPr>
        <p:spPr bwMode="gray">
          <a:xfrm>
            <a:off x="1149350" y="3455448"/>
            <a:ext cx="42386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lIns="0" tIns="0" rIns="0" bIns="0"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hangingPunct="1">
              <a:spcBef>
                <a:spcPct val="0"/>
              </a:spcBef>
              <a:buFontTx/>
              <a:buNone/>
            </a:pPr>
            <a:r>
              <a:rPr lang="en-US" altLang="en-US" sz="1200">
                <a:solidFill>
                  <a:srgbClr val="FFFFFF"/>
                </a:solidFill>
              </a:rPr>
              <a:t>30%</a:t>
            </a:r>
          </a:p>
        </p:txBody>
      </p:sp>
      <p:sp>
        <p:nvSpPr>
          <p:cNvPr id="48" name="Line 21">
            <a:extLst>
              <a:ext uri="{FF2B5EF4-FFF2-40B4-BE49-F238E27FC236}">
                <a16:creationId xmlns:a16="http://schemas.microsoft.com/office/drawing/2014/main" id="{29151B94-E0B7-D543-9802-B616C3FB36DF}"/>
              </a:ext>
            </a:extLst>
          </p:cNvPr>
          <p:cNvSpPr>
            <a:spLocks noChangeShapeType="1"/>
          </p:cNvSpPr>
          <p:nvPr/>
        </p:nvSpPr>
        <p:spPr bwMode="gray">
          <a:xfrm>
            <a:off x="879475" y="4061873"/>
            <a:ext cx="6856412" cy="0"/>
          </a:xfrm>
          <a:prstGeom prst="line">
            <a:avLst/>
          </a:prstGeom>
          <a:noFill/>
          <a:ln w="25400">
            <a:solidFill>
              <a:srgbClr val="000000"/>
            </a:solidFill>
            <a:round/>
            <a:headEnd/>
            <a:tailEnd type="triangle"/>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ajor"/>
        </p:style>
        <p:txBody>
          <a:bodyPr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fontAlgn="auto" hangingPunct="1">
              <a:spcBef>
                <a:spcPts val="0"/>
              </a:spcBef>
              <a:spcAft>
                <a:spcPts val="0"/>
              </a:spcAft>
              <a:defRPr/>
            </a:pPr>
            <a:endParaRPr lang="en-US" kern="0">
              <a:solidFill>
                <a:srgbClr val="777777"/>
              </a:solidFill>
              <a:latin typeface="Arial" charset="0"/>
            </a:endParaRPr>
          </a:p>
        </p:txBody>
      </p:sp>
      <p:sp>
        <p:nvSpPr>
          <p:cNvPr id="49" name="Text Box 43">
            <a:extLst>
              <a:ext uri="{FF2B5EF4-FFF2-40B4-BE49-F238E27FC236}">
                <a16:creationId xmlns:a16="http://schemas.microsoft.com/office/drawing/2014/main" id="{BAB17449-2AFA-884F-A74B-B934EDEB5507}"/>
              </a:ext>
            </a:extLst>
          </p:cNvPr>
          <p:cNvSpPr txBox="1">
            <a:spLocks noChangeArrowheads="1"/>
          </p:cNvSpPr>
          <p:nvPr/>
        </p:nvSpPr>
        <p:spPr bwMode="gray">
          <a:xfrm>
            <a:off x="3627437" y="3818986"/>
            <a:ext cx="30797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none" lIns="0" tIns="0" rIns="0" bIns="0"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hangingPunct="1">
              <a:spcBef>
                <a:spcPct val="0"/>
              </a:spcBef>
              <a:buFontTx/>
              <a:buNone/>
            </a:pPr>
            <a:r>
              <a:rPr lang="en-US" altLang="en-US" sz="1200">
                <a:solidFill>
                  <a:srgbClr val="000000"/>
                </a:solidFill>
              </a:rPr>
              <a:t>  0%</a:t>
            </a:r>
          </a:p>
        </p:txBody>
      </p:sp>
      <p:sp>
        <p:nvSpPr>
          <p:cNvPr id="50" name="Line 21">
            <a:extLst>
              <a:ext uri="{FF2B5EF4-FFF2-40B4-BE49-F238E27FC236}">
                <a16:creationId xmlns:a16="http://schemas.microsoft.com/office/drawing/2014/main" id="{1A3652B5-6FD1-7948-A67A-4C966C9CE7BA}"/>
              </a:ext>
            </a:extLst>
          </p:cNvPr>
          <p:cNvSpPr>
            <a:spLocks noChangeShapeType="1"/>
          </p:cNvSpPr>
          <p:nvPr/>
        </p:nvSpPr>
        <p:spPr bwMode="gray">
          <a:xfrm rot="16200000">
            <a:off x="-767321" y="4125931"/>
            <a:ext cx="3293591" cy="0"/>
          </a:xfrm>
          <a:prstGeom prst="line">
            <a:avLst/>
          </a:prstGeom>
          <a:noFill/>
          <a:ln w="25400">
            <a:solidFill>
              <a:srgbClr val="000000"/>
            </a:solidFill>
            <a:round/>
            <a:headEnd type="triangle"/>
            <a:tailEnd type="triangle"/>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ajor"/>
        </p:style>
        <p:txBody>
          <a:bodyPr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fontAlgn="auto" hangingPunct="1">
              <a:spcBef>
                <a:spcPts val="0"/>
              </a:spcBef>
              <a:spcAft>
                <a:spcPts val="0"/>
              </a:spcAft>
              <a:defRPr/>
            </a:pPr>
            <a:endParaRPr lang="en-US" kern="0">
              <a:solidFill>
                <a:srgbClr val="777777"/>
              </a:solidFill>
              <a:latin typeface="Arial" charset="0"/>
            </a:endParaRPr>
          </a:p>
        </p:txBody>
      </p:sp>
      <p:sp>
        <p:nvSpPr>
          <p:cNvPr id="51" name="Line 22">
            <a:extLst>
              <a:ext uri="{FF2B5EF4-FFF2-40B4-BE49-F238E27FC236}">
                <a16:creationId xmlns:a16="http://schemas.microsoft.com/office/drawing/2014/main" id="{7DB3AA10-D8A0-D14D-A105-C58DA478F456}"/>
              </a:ext>
            </a:extLst>
          </p:cNvPr>
          <p:cNvSpPr>
            <a:spLocks noChangeShapeType="1"/>
          </p:cNvSpPr>
          <p:nvPr/>
        </p:nvSpPr>
        <p:spPr bwMode="gray">
          <a:xfrm>
            <a:off x="3497262" y="4042823"/>
            <a:ext cx="627063" cy="0"/>
          </a:xfrm>
          <a:prstGeom prst="line">
            <a:avLst/>
          </a:prstGeom>
          <a:noFill/>
          <a:ln w="76200">
            <a:solidFill>
              <a:srgbClr val="4B91CD"/>
            </a:solidFill>
            <a:round/>
            <a:headEnd/>
            <a:tailEnd/>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ajor"/>
        </p:style>
        <p:txBody>
          <a:bodyPr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eaLnBrk="1" fontAlgn="auto" hangingPunct="1">
              <a:spcBef>
                <a:spcPts val="0"/>
              </a:spcBef>
              <a:spcAft>
                <a:spcPts val="0"/>
              </a:spcAft>
              <a:defRPr/>
            </a:pPr>
            <a:endParaRPr lang="en-US" kern="0">
              <a:solidFill>
                <a:srgbClr val="FFFFFF"/>
              </a:solidFill>
              <a:latin typeface="Arial" charset="0"/>
            </a:endParaRPr>
          </a:p>
        </p:txBody>
      </p:sp>
      <p:sp>
        <p:nvSpPr>
          <p:cNvPr id="52" name="Text Box 32">
            <a:extLst>
              <a:ext uri="{FF2B5EF4-FFF2-40B4-BE49-F238E27FC236}">
                <a16:creationId xmlns:a16="http://schemas.microsoft.com/office/drawing/2014/main" id="{42CCF0AB-8ECC-C949-BDB3-B71DC5608A8E}"/>
              </a:ext>
            </a:extLst>
          </p:cNvPr>
          <p:cNvSpPr txBox="1">
            <a:spLocks noChangeArrowheads="1"/>
          </p:cNvSpPr>
          <p:nvPr/>
        </p:nvSpPr>
        <p:spPr bwMode="auto">
          <a:xfrm>
            <a:off x="152835" y="3431636"/>
            <a:ext cx="7191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r" eaLnBrk="1" hangingPunct="1">
              <a:spcBef>
                <a:spcPct val="0"/>
              </a:spcBef>
              <a:buFontTx/>
              <a:buNone/>
            </a:pPr>
            <a:r>
              <a:rPr lang="en-US" altLang="en-US" sz="1200">
                <a:solidFill>
                  <a:srgbClr val="000000"/>
                </a:solidFill>
              </a:rPr>
              <a:t>15%</a:t>
            </a:r>
          </a:p>
        </p:txBody>
      </p:sp>
      <p:sp>
        <p:nvSpPr>
          <p:cNvPr id="53" name="Line 47">
            <a:extLst>
              <a:ext uri="{FF2B5EF4-FFF2-40B4-BE49-F238E27FC236}">
                <a16:creationId xmlns:a16="http://schemas.microsoft.com/office/drawing/2014/main" id="{1A76F40E-9B2B-0B41-AC68-78D0F6945CDD}"/>
              </a:ext>
            </a:extLst>
          </p:cNvPr>
          <p:cNvSpPr>
            <a:spLocks noChangeShapeType="1"/>
          </p:cNvSpPr>
          <p:nvPr/>
        </p:nvSpPr>
        <p:spPr bwMode="gray">
          <a:xfrm>
            <a:off x="879475" y="3059151"/>
            <a:ext cx="6840537" cy="0"/>
          </a:xfrm>
          <a:prstGeom prst="line">
            <a:avLst/>
          </a:prstGeom>
          <a:noFill/>
          <a:ln w="25400" cap="rnd">
            <a:solidFill>
              <a:srgbClr val="008000"/>
            </a:solidFill>
            <a:prstDash val="sysDot"/>
            <a:round/>
            <a:headEnd/>
            <a:tailEnd/>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ajor"/>
        </p:style>
        <p:txBody>
          <a:bodyPr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eaLnBrk="1" fontAlgn="auto" hangingPunct="1">
              <a:spcBef>
                <a:spcPts val="0"/>
              </a:spcBef>
              <a:spcAft>
                <a:spcPts val="0"/>
              </a:spcAft>
              <a:defRPr/>
            </a:pPr>
            <a:endParaRPr lang="en-US" kern="0">
              <a:solidFill>
                <a:sysClr val="windowText" lastClr="000000"/>
              </a:solidFill>
            </a:endParaRPr>
          </a:p>
        </p:txBody>
      </p:sp>
      <p:sp>
        <p:nvSpPr>
          <p:cNvPr id="54" name="Text Box 49">
            <a:extLst>
              <a:ext uri="{FF2B5EF4-FFF2-40B4-BE49-F238E27FC236}">
                <a16:creationId xmlns:a16="http://schemas.microsoft.com/office/drawing/2014/main" id="{0B9F2F2D-D090-E34B-A0F0-0EF86CD8B3CB}"/>
              </a:ext>
            </a:extLst>
          </p:cNvPr>
          <p:cNvSpPr txBox="1">
            <a:spLocks noChangeArrowheads="1"/>
          </p:cNvSpPr>
          <p:nvPr/>
        </p:nvSpPr>
        <p:spPr bwMode="gray">
          <a:xfrm>
            <a:off x="2595418" y="2943045"/>
            <a:ext cx="1588655" cy="424732"/>
          </a:xfrm>
          <a:prstGeom prst="rect">
            <a:avLst/>
          </a:prstGeom>
          <a:solidFill>
            <a:schemeClr val="bg1"/>
          </a:solidFill>
          <a:ln w="25400" cap="rnd">
            <a:solidFill>
              <a:srgbClr val="008000"/>
            </a:solidFill>
            <a:prstDash val="sysDot"/>
            <a:bevel/>
            <a:headEnd/>
            <a:tailEnd/>
          </a:ln>
        </p:spPr>
        <p:style>
          <a:lnRef idx="0">
            <a:scrgbClr r="0" g="0" b="0"/>
          </a:lnRef>
          <a:fillRef idx="0">
            <a:scrgbClr r="0" g="0" b="0"/>
          </a:fillRef>
          <a:effectRef idx="0">
            <a:scrgbClr r="0" g="0" b="0"/>
          </a:effectRef>
          <a:fontRef idx="major"/>
        </p:style>
        <p:txBody>
          <a:bodyPr wrap="square" lIns="182880" tIns="27432" rIns="27432" bIns="27432" anchor="ctr">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fontAlgn="auto">
              <a:spcAft>
                <a:spcPts val="0"/>
              </a:spcAft>
              <a:defRPr/>
            </a:pPr>
            <a:r>
              <a:rPr lang="en-US" sz="1200" kern="0" dirty="0">
                <a:solidFill>
                  <a:srgbClr val="002577"/>
                </a:solidFill>
                <a:latin typeface="Arial" charset="0"/>
              </a:rPr>
              <a:t>Performance Cap Rate: 30%</a:t>
            </a:r>
          </a:p>
        </p:txBody>
      </p:sp>
    </p:spTree>
    <p:extLst>
      <p:ext uri="{BB962C8B-B14F-4D97-AF65-F5344CB8AC3E}">
        <p14:creationId xmlns:p14="http://schemas.microsoft.com/office/powerpoint/2010/main" val="4346935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32</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60296"/>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294939"/>
            <a:ext cx="7587359" cy="619239"/>
          </a:xfrm>
        </p:spPr>
        <p:txBody>
          <a:bodyPr/>
          <a:lstStyle/>
          <a:p>
            <a:pPr lvl="0">
              <a:lnSpc>
                <a:spcPts val="2375"/>
              </a:lnSpc>
              <a:spcBef>
                <a:spcPts val="600"/>
              </a:spcBef>
            </a:pPr>
            <a:r>
              <a:rPr lang="en-US" sz="2400" dirty="0">
                <a:latin typeface="Segoe UI" panose="020B0502040204020203" pitchFamily="34" charset="0"/>
                <a:ea typeface="Segoe UI" panose="020B0502040204020203" pitchFamily="34" charset="0"/>
                <a:cs typeface="Segoe UI" panose="020B0502040204020203" pitchFamily="34" charset="0"/>
              </a:rPr>
              <a:t>One, Three &amp; Five Year Rolling Returns Frequency</a:t>
            </a:r>
          </a:p>
          <a:p>
            <a:pPr lvl="0">
              <a:lnSpc>
                <a:spcPts val="2375"/>
              </a:lnSpc>
              <a:spcBef>
                <a:spcPts val="600"/>
              </a:spcBef>
            </a:pPr>
            <a:r>
              <a:rPr lang="en-US" sz="2400" dirty="0">
                <a:latin typeface="Segoe UI" panose="020B0502040204020203" pitchFamily="34" charset="0"/>
                <a:ea typeface="Segoe UI" panose="020B0502040204020203" pitchFamily="34" charset="0"/>
                <a:cs typeface="Segoe UI" panose="020B0502040204020203" pitchFamily="34" charset="0"/>
              </a:rPr>
              <a:t>of Losses Per Index</a:t>
            </a:r>
          </a:p>
        </p:txBody>
      </p:sp>
      <p:sp>
        <p:nvSpPr>
          <p:cNvPr id="7" name="TextBox 6">
            <a:extLst>
              <a:ext uri="{FF2B5EF4-FFF2-40B4-BE49-F238E27FC236}">
                <a16:creationId xmlns:a16="http://schemas.microsoft.com/office/drawing/2014/main" id="{F1FC2811-9659-C24B-B689-38D9607F0096}"/>
              </a:ext>
            </a:extLst>
          </p:cNvPr>
          <p:cNvSpPr txBox="1"/>
          <p:nvPr/>
        </p:nvSpPr>
        <p:spPr>
          <a:xfrm>
            <a:off x="359669" y="1180386"/>
            <a:ext cx="7142109" cy="276999"/>
          </a:xfrm>
          <a:prstGeom prst="rect">
            <a:avLst/>
          </a:prstGeom>
          <a:noFill/>
        </p:spPr>
        <p:txBody>
          <a:bodyPr wrap="square" rtlCol="0">
            <a:spAutoFit/>
          </a:bodyPr>
          <a:lstStyle/>
          <a:p>
            <a:r>
              <a:rPr lang="en-US" sz="1200" dirty="0">
                <a:solidFill>
                  <a:srgbClr val="75787B"/>
                </a:solidFill>
                <a:latin typeface="Segoe UI" panose="020B0502040204020203" pitchFamily="34" charset="0"/>
                <a:ea typeface="Segoe UI" panose="020B0502040204020203" pitchFamily="34" charset="0"/>
                <a:cs typeface="Segoe UI" panose="020B0502040204020203" pitchFamily="34" charset="0"/>
              </a:rPr>
              <a:t>Historical Index Returns – January 1980-December 2017</a:t>
            </a:r>
          </a:p>
        </p:txBody>
      </p:sp>
      <p:sp>
        <p:nvSpPr>
          <p:cNvPr id="58" name="Rectangle 57">
            <a:extLst>
              <a:ext uri="{FF2B5EF4-FFF2-40B4-BE49-F238E27FC236}">
                <a16:creationId xmlns:a16="http://schemas.microsoft.com/office/drawing/2014/main" id="{189AEF8D-6EB9-B249-AA9B-89AC62EC4A24}"/>
              </a:ext>
            </a:extLst>
          </p:cNvPr>
          <p:cNvSpPr>
            <a:spLocks noChangeArrowheads="1"/>
          </p:cNvSpPr>
          <p:nvPr/>
        </p:nvSpPr>
        <p:spPr bwMode="auto">
          <a:xfrm>
            <a:off x="334749" y="5140497"/>
            <a:ext cx="8482149"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squar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eaLnBrk="1" hangingPunct="1">
              <a:spcBef>
                <a:spcPct val="0"/>
              </a:spcBef>
              <a:buFontTx/>
              <a:buNone/>
              <a:defRPr/>
            </a:pPr>
            <a:r>
              <a:rPr lang="en-US" altLang="en-US" sz="800" dirty="0">
                <a:solidFill>
                  <a:schemeClr val="bg1">
                    <a:lumMod val="50000"/>
                  </a:schemeClr>
                </a:solidFill>
                <a:latin typeface="+mn-lt"/>
              </a:rPr>
              <a:t>1 MSCI Emerging Markets — Data available from January 1988–December 2017.</a:t>
            </a:r>
          </a:p>
          <a:p>
            <a:pPr eaLnBrk="1" hangingPunct="1">
              <a:spcBef>
                <a:spcPct val="0"/>
              </a:spcBef>
              <a:buFontTx/>
              <a:buNone/>
              <a:defRPr/>
            </a:pPr>
            <a:r>
              <a:rPr lang="en-US" altLang="en-US" sz="800" dirty="0">
                <a:solidFill>
                  <a:schemeClr val="bg1">
                    <a:lumMod val="50000"/>
                  </a:schemeClr>
                </a:solidFill>
                <a:latin typeface="+mn-lt"/>
              </a:rPr>
              <a:t>2 NASDAQ 100 — Data available from March 1985–December 2017.</a:t>
            </a:r>
          </a:p>
          <a:p>
            <a:pPr eaLnBrk="1" hangingPunct="1">
              <a:spcBef>
                <a:spcPct val="0"/>
              </a:spcBef>
              <a:buFontTx/>
              <a:buNone/>
              <a:defRPr/>
            </a:pPr>
            <a:r>
              <a:rPr lang="en-US" altLang="en-US" sz="800" dirty="0">
                <a:solidFill>
                  <a:schemeClr val="bg1">
                    <a:lumMod val="50000"/>
                  </a:schemeClr>
                </a:solidFill>
                <a:latin typeface="+mn-lt"/>
              </a:rPr>
              <a:t>3 Oil Index — Returns available only from its inception in April 1983–2017. </a:t>
            </a:r>
          </a:p>
          <a:p>
            <a:pPr eaLnBrk="1" hangingPunct="1">
              <a:spcBef>
                <a:spcPct val="0"/>
              </a:spcBef>
              <a:buFontTx/>
              <a:buNone/>
              <a:defRPr/>
            </a:pPr>
            <a:r>
              <a:rPr lang="en-US" altLang="en-US" sz="800" dirty="0">
                <a:solidFill>
                  <a:schemeClr val="bg1">
                    <a:lumMod val="50000"/>
                  </a:schemeClr>
                </a:solidFill>
                <a:latin typeface="+mn-lt"/>
              </a:rPr>
              <a:t>4 DJ US Real Estate — Data available from July 2000–December 2017. </a:t>
            </a:r>
          </a:p>
          <a:p>
            <a:pPr eaLnBrk="1" hangingPunct="1">
              <a:spcBef>
                <a:spcPct val="0"/>
              </a:spcBef>
              <a:buFontTx/>
              <a:buNone/>
              <a:defRPr/>
            </a:pPr>
            <a:r>
              <a:rPr lang="en-US" altLang="en-US" sz="800" dirty="0">
                <a:solidFill>
                  <a:schemeClr val="bg1">
                    <a:lumMod val="50000"/>
                  </a:schemeClr>
                </a:solidFill>
                <a:latin typeface="+mn-lt"/>
              </a:rPr>
              <a:t>5 % of Times Returns Occurred Above -10%, -20%, or -30% — This row shows the percentage of times a rolling monthly index return occurred above -10% in the 1-Year index columns, -20% in the 3-Year index columns, and -30% in the 5-Year index columns. Please note that the MSCI EAFE, Gold, Oil, MSCI Emerging Markets and NASDAQ 100 indices are limited to the percent of times returns occurred above -10%. </a:t>
            </a:r>
          </a:p>
          <a:p>
            <a:pPr>
              <a:spcBef>
                <a:spcPct val="0"/>
              </a:spcBef>
              <a:defRPr/>
            </a:pPr>
            <a:r>
              <a:rPr lang="en-US" altLang="en-US" sz="800" dirty="0">
                <a:solidFill>
                  <a:schemeClr val="bg1">
                    <a:lumMod val="50000"/>
                  </a:schemeClr>
                </a:solidFill>
                <a:latin typeface="+mn-lt"/>
              </a:rPr>
              <a:t>Past performance is no guarantee of future results. Individuals cannot invest directly in an index. This data does not represent the performance of any specific investment and is provided for illustrative purposes only. </a:t>
            </a:r>
          </a:p>
          <a:p>
            <a:pPr eaLnBrk="1" hangingPunct="1">
              <a:spcBef>
                <a:spcPct val="0"/>
              </a:spcBef>
              <a:buFontTx/>
              <a:buNone/>
              <a:defRPr/>
            </a:pPr>
            <a:endParaRPr lang="en-US" altLang="en-US" sz="800" dirty="0">
              <a:solidFill>
                <a:schemeClr val="bg1">
                  <a:lumMod val="50000"/>
                </a:schemeClr>
              </a:solidFill>
              <a:latin typeface="+mn-lt"/>
            </a:endParaRPr>
          </a:p>
        </p:txBody>
      </p:sp>
      <p:graphicFrame>
        <p:nvGraphicFramePr>
          <p:cNvPr id="60" name="Table 59">
            <a:extLst>
              <a:ext uri="{FF2B5EF4-FFF2-40B4-BE49-F238E27FC236}">
                <a16:creationId xmlns:a16="http://schemas.microsoft.com/office/drawing/2014/main" id="{1FBB924C-722D-DF4D-9CBB-9498694A3F38}"/>
              </a:ext>
            </a:extLst>
          </p:cNvPr>
          <p:cNvGraphicFramePr>
            <a:graphicFrameLocks noGrp="1"/>
          </p:cNvGraphicFramePr>
          <p:nvPr>
            <p:extLst>
              <p:ext uri="{D42A27DB-BD31-4B8C-83A1-F6EECF244321}">
                <p14:modId xmlns:p14="http://schemas.microsoft.com/office/powerpoint/2010/main" val="922745718"/>
              </p:ext>
            </p:extLst>
          </p:nvPr>
        </p:nvGraphicFramePr>
        <p:xfrm>
          <a:off x="446049" y="1448499"/>
          <a:ext cx="8421345" cy="3678441"/>
        </p:xfrm>
        <a:graphic>
          <a:graphicData uri="http://schemas.openxmlformats.org/drawingml/2006/table">
            <a:tbl>
              <a:tblPr bandRow="1">
                <a:tableStyleId>{5C22544A-7EE6-4342-B048-85BDC9FD1C3A}</a:tableStyleId>
              </a:tblPr>
              <a:tblGrid>
                <a:gridCol w="1122556">
                  <a:extLst>
                    <a:ext uri="{9D8B030D-6E8A-4147-A177-3AD203B41FA5}">
                      <a16:colId xmlns:a16="http://schemas.microsoft.com/office/drawing/2014/main" val="3107662515"/>
                    </a:ext>
                  </a:extLst>
                </a:gridCol>
                <a:gridCol w="1286107">
                  <a:extLst>
                    <a:ext uri="{9D8B030D-6E8A-4147-A177-3AD203B41FA5}">
                      <a16:colId xmlns:a16="http://schemas.microsoft.com/office/drawing/2014/main" val="3126446710"/>
                    </a:ext>
                  </a:extLst>
                </a:gridCol>
                <a:gridCol w="1241503">
                  <a:extLst>
                    <a:ext uri="{9D8B030D-6E8A-4147-A177-3AD203B41FA5}">
                      <a16:colId xmlns:a16="http://schemas.microsoft.com/office/drawing/2014/main" val="3142131442"/>
                    </a:ext>
                  </a:extLst>
                </a:gridCol>
                <a:gridCol w="1268265">
                  <a:extLst>
                    <a:ext uri="{9D8B030D-6E8A-4147-A177-3AD203B41FA5}">
                      <a16:colId xmlns:a16="http://schemas.microsoft.com/office/drawing/2014/main" val="1453765434"/>
                    </a:ext>
                  </a:extLst>
                </a:gridCol>
                <a:gridCol w="653143">
                  <a:extLst>
                    <a:ext uri="{9D8B030D-6E8A-4147-A177-3AD203B41FA5}">
                      <a16:colId xmlns:a16="http://schemas.microsoft.com/office/drawing/2014/main" val="1700464542"/>
                    </a:ext>
                  </a:extLst>
                </a:gridCol>
                <a:gridCol w="657497">
                  <a:extLst>
                    <a:ext uri="{9D8B030D-6E8A-4147-A177-3AD203B41FA5}">
                      <a16:colId xmlns:a16="http://schemas.microsoft.com/office/drawing/2014/main" val="651960660"/>
                    </a:ext>
                  </a:extLst>
                </a:gridCol>
                <a:gridCol w="544286">
                  <a:extLst>
                    <a:ext uri="{9D8B030D-6E8A-4147-A177-3AD203B41FA5}">
                      <a16:colId xmlns:a16="http://schemas.microsoft.com/office/drawing/2014/main" val="3842334515"/>
                    </a:ext>
                  </a:extLst>
                </a:gridCol>
                <a:gridCol w="600891">
                  <a:extLst>
                    <a:ext uri="{9D8B030D-6E8A-4147-A177-3AD203B41FA5}">
                      <a16:colId xmlns:a16="http://schemas.microsoft.com/office/drawing/2014/main" val="1057873893"/>
                    </a:ext>
                  </a:extLst>
                </a:gridCol>
                <a:gridCol w="513806">
                  <a:extLst>
                    <a:ext uri="{9D8B030D-6E8A-4147-A177-3AD203B41FA5}">
                      <a16:colId xmlns:a16="http://schemas.microsoft.com/office/drawing/2014/main" val="3662071745"/>
                    </a:ext>
                  </a:extLst>
                </a:gridCol>
                <a:gridCol w="533291">
                  <a:extLst>
                    <a:ext uri="{9D8B030D-6E8A-4147-A177-3AD203B41FA5}">
                      <a16:colId xmlns:a16="http://schemas.microsoft.com/office/drawing/2014/main" val="1500793212"/>
                    </a:ext>
                  </a:extLst>
                </a:gridCol>
              </a:tblGrid>
              <a:tr h="449706">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900" b="0" baseline="0" dirty="0">
                        <a:solidFill>
                          <a:schemeClr val="bg1"/>
                        </a:solidFill>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r>
                        <a:rPr lang="en-US" sz="900" b="1" baseline="0" dirty="0">
                          <a:solidFill>
                            <a:schemeClr val="bg1"/>
                          </a:solidFill>
                        </a:rPr>
                        <a:t>S&amp;P 500®</a:t>
                      </a:r>
                    </a:p>
                  </a:txBody>
                  <a:tcPr marT="18288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3C0FF"/>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900" b="0" baseline="0" dirty="0">
                          <a:solidFill>
                            <a:schemeClr val="bg1"/>
                          </a:solidFill>
                        </a:rPr>
                        <a:t>Russel 2000®</a:t>
                      </a:r>
                    </a:p>
                  </a:txBody>
                  <a:tcPr marT="182880">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75787B"/>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0070C0"/>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900" b="0" baseline="0" dirty="0">
                          <a:solidFill>
                            <a:schemeClr val="bg1"/>
                          </a:solidFill>
                        </a:rPr>
                        <a:t>MSCI EAFE </a:t>
                      </a:r>
                    </a:p>
                  </a:txBody>
                  <a:tcPr marT="18288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75787B"/>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900" b="0" baseline="0" dirty="0">
                          <a:solidFill>
                            <a:schemeClr val="bg1"/>
                          </a:solidFill>
                        </a:rPr>
                        <a:t>NASDAQ </a:t>
                      </a:r>
                      <a:br>
                        <a:rPr lang="en-US" sz="900" b="0" baseline="0" dirty="0">
                          <a:solidFill>
                            <a:schemeClr val="bg1"/>
                          </a:solidFill>
                        </a:rPr>
                      </a:br>
                      <a:r>
                        <a:rPr lang="en-US" sz="900" b="0" baseline="0" dirty="0">
                          <a:solidFill>
                            <a:schemeClr val="bg1"/>
                          </a:solidFill>
                        </a:rPr>
                        <a:t>100®</a:t>
                      </a:r>
                      <a:r>
                        <a:rPr lang="en-US" sz="900" b="0" baseline="30000" dirty="0">
                          <a:solidFill>
                            <a:schemeClr val="bg1"/>
                          </a:solidFill>
                        </a:rPr>
                        <a:t>2</a:t>
                      </a:r>
                    </a:p>
                  </a:txBody>
                  <a:tcPr marT="9144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75787B"/>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7030A0"/>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900" b="0" baseline="0" dirty="0">
                          <a:solidFill>
                            <a:schemeClr val="bg1"/>
                          </a:solidFill>
                        </a:rPr>
                        <a:t>MCI </a:t>
                      </a:r>
                      <a:br>
                        <a:rPr lang="en-US" sz="900" b="0" baseline="0" dirty="0">
                          <a:solidFill>
                            <a:schemeClr val="bg1"/>
                          </a:solidFill>
                        </a:rPr>
                      </a:br>
                      <a:r>
                        <a:rPr lang="en-US" sz="900" b="0" baseline="0" dirty="0">
                          <a:solidFill>
                            <a:schemeClr val="bg1"/>
                          </a:solidFill>
                        </a:rPr>
                        <a:t>Emerging </a:t>
                      </a:r>
                      <a:br>
                        <a:rPr lang="en-US" sz="900" b="0" baseline="0" dirty="0">
                          <a:solidFill>
                            <a:schemeClr val="bg1"/>
                          </a:solidFill>
                        </a:rPr>
                      </a:br>
                      <a:r>
                        <a:rPr lang="en-US" sz="900" b="0" baseline="0" dirty="0">
                          <a:solidFill>
                            <a:schemeClr val="bg1"/>
                          </a:solidFill>
                        </a:rPr>
                        <a:t>Markets</a:t>
                      </a:r>
                      <a:r>
                        <a:rPr lang="en-US" sz="900" b="0" baseline="30000" dirty="0">
                          <a:solidFill>
                            <a:schemeClr val="bg1"/>
                          </a:solidFill>
                        </a:rPr>
                        <a:t>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75787B"/>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3369FF"/>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900" b="0" baseline="0" dirty="0">
                          <a:solidFill>
                            <a:schemeClr val="bg1"/>
                          </a:solidFill>
                        </a:rPr>
                        <a:t>DJ U.S. </a:t>
                      </a:r>
                    </a:p>
                    <a:p>
                      <a:pPr marL="0" marR="0" lvl="0" indent="0" algn="l" defTabSz="1097198" rtl="0" eaLnBrk="1" fontAlgn="auto" latinLnBrk="0" hangingPunct="1">
                        <a:lnSpc>
                          <a:spcPct val="100000"/>
                        </a:lnSpc>
                        <a:spcBef>
                          <a:spcPts val="0"/>
                        </a:spcBef>
                        <a:spcAft>
                          <a:spcPts val="0"/>
                        </a:spcAft>
                        <a:buClrTx/>
                        <a:buSzTx/>
                        <a:buFontTx/>
                        <a:buNone/>
                        <a:tabLst/>
                        <a:defRPr/>
                      </a:pPr>
                      <a:r>
                        <a:rPr lang="en-US" sz="900" b="0" baseline="0" dirty="0">
                          <a:solidFill>
                            <a:schemeClr val="bg1"/>
                          </a:solidFill>
                        </a:rPr>
                        <a:t>REIT</a:t>
                      </a:r>
                      <a:r>
                        <a:rPr lang="en-US" sz="900" b="0" baseline="30000" dirty="0">
                          <a:solidFill>
                            <a:schemeClr val="bg1"/>
                          </a:solidFill>
                        </a:rPr>
                        <a:t>4</a:t>
                      </a:r>
                    </a:p>
                  </a:txBody>
                  <a:tcPr marT="9144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75787B"/>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7153FB"/>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900" b="0" baseline="0" dirty="0">
                          <a:solidFill>
                            <a:schemeClr val="bg1"/>
                          </a:solidFill>
                        </a:rPr>
                        <a:t>Financial</a:t>
                      </a:r>
                    </a:p>
                    <a:p>
                      <a:pPr marL="0" marR="0" lvl="0" indent="0" algn="l" defTabSz="1097198" rtl="0" eaLnBrk="1" fontAlgn="auto" latinLnBrk="0" hangingPunct="1">
                        <a:lnSpc>
                          <a:spcPct val="100000"/>
                        </a:lnSpc>
                        <a:spcBef>
                          <a:spcPts val="0"/>
                        </a:spcBef>
                        <a:spcAft>
                          <a:spcPts val="0"/>
                        </a:spcAft>
                        <a:buClrTx/>
                        <a:buSzTx/>
                        <a:buFontTx/>
                        <a:buNone/>
                        <a:tabLst/>
                        <a:defRPr/>
                      </a:pPr>
                      <a:r>
                        <a:rPr lang="en-US" sz="900" b="0" baseline="0" dirty="0">
                          <a:solidFill>
                            <a:schemeClr val="bg1"/>
                          </a:solidFill>
                        </a:rPr>
                        <a:t>SPDR</a:t>
                      </a:r>
                      <a:r>
                        <a:rPr lang="en-US" sz="900" b="0" baseline="30000" dirty="0">
                          <a:solidFill>
                            <a:schemeClr val="bg1"/>
                          </a:solidFill>
                        </a:rPr>
                        <a:t>6</a:t>
                      </a:r>
                    </a:p>
                    <a:p>
                      <a:pPr marL="0" marR="0" lvl="0" indent="0" algn="l" defTabSz="1097198" rtl="0" eaLnBrk="1" fontAlgn="auto" latinLnBrk="0" hangingPunct="1">
                        <a:lnSpc>
                          <a:spcPct val="100000"/>
                        </a:lnSpc>
                        <a:spcBef>
                          <a:spcPts val="0"/>
                        </a:spcBef>
                        <a:spcAft>
                          <a:spcPts val="0"/>
                        </a:spcAft>
                        <a:buClrTx/>
                        <a:buSzTx/>
                        <a:buFontTx/>
                        <a:buNone/>
                        <a:tabLst/>
                        <a:defRPr/>
                      </a:pPr>
                      <a:endParaRPr lang="en-US" sz="900" b="0" baseline="30000" dirty="0">
                        <a:solidFill>
                          <a:schemeClr val="bg1"/>
                        </a:solidFill>
                      </a:endParaRPr>
                    </a:p>
                  </a:txBody>
                  <a:tcPr marT="9144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75787B"/>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6">
                        <a:lumMod val="50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900" b="0" baseline="0" dirty="0">
                          <a:solidFill>
                            <a:schemeClr val="bg1"/>
                          </a:solidFill>
                        </a:rPr>
                        <a:t>Energy</a:t>
                      </a:r>
                    </a:p>
                    <a:p>
                      <a:pPr marL="0" marR="0" lvl="0" indent="0" algn="l" defTabSz="1097198" rtl="0" eaLnBrk="1" fontAlgn="auto" latinLnBrk="0" hangingPunct="1">
                        <a:lnSpc>
                          <a:spcPct val="100000"/>
                        </a:lnSpc>
                        <a:spcBef>
                          <a:spcPts val="0"/>
                        </a:spcBef>
                        <a:spcAft>
                          <a:spcPts val="0"/>
                        </a:spcAft>
                        <a:buClrTx/>
                        <a:buSzTx/>
                        <a:buFontTx/>
                        <a:buNone/>
                        <a:tabLst/>
                        <a:defRPr/>
                      </a:pPr>
                      <a:r>
                        <a:rPr lang="en-US" sz="900" b="0" baseline="0" dirty="0">
                          <a:solidFill>
                            <a:schemeClr val="bg1"/>
                          </a:solidFill>
                        </a:rPr>
                        <a:t>SPDR</a:t>
                      </a:r>
                      <a:r>
                        <a:rPr lang="en-US" sz="900" b="0" baseline="30000" dirty="0">
                          <a:solidFill>
                            <a:schemeClr val="bg1"/>
                          </a:solidFill>
                        </a:rPr>
                        <a:t>6</a:t>
                      </a:r>
                    </a:p>
                  </a:txBody>
                  <a:tcPr marT="91440">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75787B"/>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2">
                        <a:lumMod val="50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900" b="0" baseline="0" dirty="0">
                          <a:solidFill>
                            <a:schemeClr val="bg1"/>
                          </a:solidFill>
                        </a:rPr>
                        <a:t>Gold</a:t>
                      </a:r>
                      <a:br>
                        <a:rPr lang="en-US" sz="900" b="0" baseline="0" dirty="0">
                          <a:solidFill>
                            <a:schemeClr val="bg1"/>
                          </a:solidFill>
                        </a:rPr>
                      </a:br>
                      <a:r>
                        <a:rPr lang="en-US" sz="900" b="0" baseline="0" dirty="0">
                          <a:solidFill>
                            <a:schemeClr val="bg1"/>
                          </a:solidFill>
                        </a:rPr>
                        <a:t>SPDR</a:t>
                      </a:r>
                      <a:r>
                        <a:rPr lang="en-US" sz="900" b="0" baseline="30000" dirty="0">
                          <a:solidFill>
                            <a:schemeClr val="bg1"/>
                          </a:solidFill>
                        </a:rPr>
                        <a:t>7</a:t>
                      </a:r>
                    </a:p>
                  </a:txBody>
                  <a:tcPr marT="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3CD30"/>
                    </a:solidFill>
                  </a:tcPr>
                </a:tc>
                <a:extLst>
                  <a:ext uri="{0D108BD9-81ED-4DB2-BD59-A6C34878D82A}">
                    <a16:rowId xmlns:a16="http://schemas.microsoft.com/office/drawing/2014/main" val="3144960856"/>
                  </a:ext>
                </a:extLst>
              </a:tr>
              <a:tr h="0">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900" b="0" baseline="0" dirty="0">
                        <a:solidFill>
                          <a:schemeClr val="bg1"/>
                        </a:solidFill>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Year   3-Year   5-Year</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Year   3-Year   5-Year</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Year   3-Year   5-Year</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900" b="0" baseline="0" dirty="0">
                          <a:solidFill>
                            <a:srgbClr val="002577"/>
                          </a:solidFill>
                        </a:rPr>
                        <a:t>1-Year </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900" b="0" baseline="0" dirty="0">
                          <a:solidFill>
                            <a:srgbClr val="002577"/>
                          </a:solidFill>
                        </a:rPr>
                        <a:t>1-Year </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900" b="0" baseline="0" dirty="0">
                          <a:solidFill>
                            <a:srgbClr val="002577"/>
                          </a:solidFill>
                        </a:rPr>
                        <a:t>1-Year </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900" b="0" baseline="0" dirty="0">
                          <a:solidFill>
                            <a:srgbClr val="002577"/>
                          </a:solidFill>
                        </a:rPr>
                        <a:t>1-Year </a:t>
                      </a:r>
                      <a:endParaRPr lang="en-US" sz="900" b="1" baseline="0" dirty="0">
                        <a:solidFill>
                          <a:srgbClr val="002577"/>
                        </a:solidFill>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900" b="0" baseline="0" dirty="0">
                          <a:solidFill>
                            <a:srgbClr val="002577"/>
                          </a:solidFill>
                        </a:rPr>
                        <a:t>1-Year </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900" b="0" baseline="0" dirty="0">
                          <a:solidFill>
                            <a:srgbClr val="002577"/>
                          </a:solidFill>
                        </a:rPr>
                        <a:t>1-Year </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46600453"/>
                  </a:ext>
                </a:extLst>
              </a:tr>
              <a:tr h="219140">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Average Return</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9.9%    32.8%    60.0%</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0.7%.   31.6%.   55.3%     </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0.7%.   31.6%.   55.3%     </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rPr>
                        <a:t>16.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rPr>
                        <a:t>11.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rPr>
                        <a:t>7.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rPr>
                        <a:t>4.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rPr>
                        <a:t>8.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rPr>
                        <a:t>10.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95232744"/>
                  </a:ext>
                </a:extLst>
              </a:tr>
              <a:tr h="227901">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Total Gains &amp; Losses</a:t>
                      </a:r>
                      <a:endParaRPr lang="en-US" sz="800" b="0" baseline="0" dirty="0">
                        <a:solidFill>
                          <a:srgbClr val="002577"/>
                        </a:solidFill>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444        420       396  </a:t>
                      </a:r>
                      <a:endParaRPr lang="en-US" sz="800" b="0" baseline="0" dirty="0">
                        <a:solidFill>
                          <a:srgbClr val="002577"/>
                        </a:solidFill>
                      </a:endParaRP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444        420       396  </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444        420       396  </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38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34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9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21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21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45</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6416727"/>
                  </a:ext>
                </a:extLst>
              </a:tr>
              <a:tr h="219140">
                <a:tc>
                  <a:txBody>
                    <a:bodyPr/>
                    <a:lstStyle/>
                    <a:p>
                      <a:r>
                        <a:rPr lang="en-US" sz="800" b="0" baseline="0" dirty="0">
                          <a:solidFill>
                            <a:srgbClr val="002577"/>
                          </a:solidFill>
                        </a:rPr>
                        <a:t>Number of Gain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344        349       313  </a:t>
                      </a:r>
                      <a:endParaRPr lang="en-US" sz="800" b="0" baseline="0" dirty="0">
                        <a:solidFill>
                          <a:srgbClr val="002577"/>
                        </a:solidFill>
                      </a:endParaRP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317        370       360  </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293        299       282  </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31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22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39</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3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4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96</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96637364"/>
                  </a:ext>
                </a:extLst>
              </a:tr>
              <a:tr h="219140">
                <a:tc>
                  <a:txBody>
                    <a:bodyPr/>
                    <a:lstStyle/>
                    <a:p>
                      <a:r>
                        <a:rPr lang="en-US" sz="800" b="0" baseline="0" dirty="0">
                          <a:solidFill>
                            <a:srgbClr val="002577"/>
                          </a:solidFill>
                        </a:rPr>
                        <a:t>Number of Losse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01        71         83  </a:t>
                      </a:r>
                      <a:endParaRPr lang="en-US" sz="800" b="0" baseline="0" dirty="0">
                        <a:solidFill>
                          <a:srgbClr val="002577"/>
                        </a:solidFill>
                      </a:endParaRP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27        50         36 </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51        121       114  </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69</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2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59</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81</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7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49</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94474216"/>
                  </a:ext>
                </a:extLst>
              </a:tr>
              <a:tr h="219140">
                <a:tc>
                  <a:txBody>
                    <a:bodyPr/>
                    <a:lstStyle/>
                    <a:p>
                      <a:r>
                        <a:rPr lang="en-US" sz="800" b="0" baseline="0" dirty="0">
                          <a:solidFill>
                            <a:srgbClr val="002577"/>
                          </a:solidFill>
                        </a:rPr>
                        <a:t>Loss ≤ 1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46          17         38  </a:t>
                      </a:r>
                      <a:endParaRPr lang="en-US" sz="800" b="0" baseline="0" dirty="0">
                        <a:solidFill>
                          <a:srgbClr val="002577"/>
                        </a:solidFill>
                      </a:endParaRP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57          13         19  </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67          37         61  </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21</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4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3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37</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9</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29</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009795343"/>
                  </a:ext>
                </a:extLst>
              </a:tr>
              <a:tr h="219140">
                <a:tc>
                  <a:txBody>
                    <a:bodyPr/>
                    <a:lstStyle/>
                    <a:p>
                      <a:r>
                        <a:rPr lang="en-US" sz="800" b="0" baseline="0" dirty="0">
                          <a:solidFill>
                            <a:srgbClr val="002577"/>
                          </a:solidFill>
                        </a:rPr>
                        <a:t>Loss &gt; 10-15%</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9          6           19  </a:t>
                      </a:r>
                      <a:endParaRPr lang="en-US" sz="800" b="0" baseline="0" dirty="0">
                        <a:solidFill>
                          <a:srgbClr val="002577"/>
                        </a:solidFill>
                      </a:endParaRP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24          5           10 </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36          14         15  </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7</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056201988"/>
                  </a:ext>
                </a:extLst>
              </a:tr>
              <a:tr h="219140">
                <a:tc>
                  <a:txBody>
                    <a:bodyPr/>
                    <a:lstStyle/>
                    <a:p>
                      <a:r>
                        <a:rPr lang="en-US" sz="800" b="0" baseline="0" dirty="0">
                          <a:solidFill>
                            <a:srgbClr val="002577"/>
                          </a:solidFill>
                        </a:rPr>
                        <a:t>Loss &gt; 15-2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3          8           19  </a:t>
                      </a:r>
                      <a:endParaRPr lang="en-US" sz="800" b="0" baseline="0" dirty="0">
                        <a:solidFill>
                          <a:srgbClr val="002577"/>
                        </a:solidFill>
                      </a:endParaRP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9          8            1  </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22          17          9</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4</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661135030"/>
                  </a:ext>
                </a:extLst>
              </a:tr>
              <a:tr h="219140">
                <a:tc>
                  <a:txBody>
                    <a:bodyPr/>
                    <a:lstStyle/>
                    <a:p>
                      <a:r>
                        <a:rPr lang="en-US" sz="800" b="0" baseline="0" dirty="0">
                          <a:solidFill>
                            <a:srgbClr val="002577"/>
                          </a:solidFill>
                        </a:rPr>
                        <a:t>Loss &gt; 20-25%</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t>46          17         38  </a:t>
                      </a:r>
                      <a:endParaRPr kumimoji="0" lang="en-US" sz="800" b="0" i="0" u="none" strike="noStrike" kern="1200" cap="none" spc="0" normalizeH="0" baseline="0" noProof="0" dirty="0">
                        <a:ln>
                          <a:noFill/>
                        </a:ln>
                        <a:solidFill>
                          <a:srgbClr val="002577"/>
                        </a:solidFill>
                        <a:effectLst/>
                        <a:uLnTx/>
                        <a:uFillTx/>
                        <a:latin typeface="Calibri" panose="020F0502020204030204"/>
                        <a:ea typeface="+mn-ea"/>
                        <a:cs typeface="+mn-cs"/>
                      </a:endParaRP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t>15          9           4 </a:t>
                      </a:r>
                      <a:endParaRPr kumimoji="0" lang="en-US" sz="800" b="0" i="0" u="none" strike="noStrike" kern="1200" cap="none" spc="0" normalizeH="0" baseline="0" noProof="0" dirty="0">
                        <a:ln>
                          <a:noFill/>
                        </a:ln>
                        <a:solidFill>
                          <a:srgbClr val="002577"/>
                        </a:solidFill>
                        <a:effectLst/>
                        <a:uLnTx/>
                        <a:uFillTx/>
                        <a:latin typeface="Calibri" panose="020F0502020204030204"/>
                        <a:ea typeface="+mn-ea"/>
                        <a:cs typeface="+mn-cs"/>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9            14         6  </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2</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882915187"/>
                  </a:ext>
                </a:extLst>
              </a:tr>
              <a:tr h="219140">
                <a:tc>
                  <a:txBody>
                    <a:bodyPr/>
                    <a:lstStyle/>
                    <a:p>
                      <a:r>
                        <a:rPr lang="en-US" sz="800" b="0" baseline="0" dirty="0">
                          <a:solidFill>
                            <a:srgbClr val="002577"/>
                          </a:solidFill>
                        </a:rPr>
                        <a:t>Loss &gt; 25-3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5            10         2  </a:t>
                      </a:r>
                      <a:endParaRPr lang="en-US" sz="800" b="0" baseline="0" dirty="0">
                        <a:solidFill>
                          <a:srgbClr val="002577"/>
                        </a:solidFill>
                      </a:endParaRP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4            7           1  </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7            13         10 </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4</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917779508"/>
                  </a:ext>
                </a:extLst>
              </a:tr>
              <a:tr h="219140">
                <a:tc>
                  <a:txBody>
                    <a:bodyPr/>
                    <a:lstStyle/>
                    <a:p>
                      <a:r>
                        <a:rPr lang="en-US" sz="800" b="0" baseline="0" dirty="0">
                          <a:solidFill>
                            <a:srgbClr val="002577"/>
                          </a:solidFill>
                        </a:rPr>
                        <a:t>Loss &gt; 3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8            20         1  </a:t>
                      </a:r>
                      <a:endParaRPr lang="en-US" sz="800" b="0" baseline="0" dirty="0">
                        <a:solidFill>
                          <a:srgbClr val="002577"/>
                        </a:solidFill>
                      </a:endParaRP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8            8           1 </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0          26         13  </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27</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7</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7</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7</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216134707"/>
                  </a:ext>
                </a:extLst>
              </a:tr>
              <a:tr h="219140">
                <a:tc>
                  <a:txBody>
                    <a:bodyPr/>
                    <a:lstStyle/>
                    <a:p>
                      <a:r>
                        <a:rPr lang="en-US" sz="700" b="0" baseline="0" dirty="0">
                          <a:solidFill>
                            <a:srgbClr val="002577"/>
                          </a:solidFill>
                        </a:rPr>
                        <a:t>% of Times Returns Occurred Above the Highest Buffer Protectio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87.6%    90.5%    99.7%</a:t>
                      </a:r>
                      <a:endParaRPr lang="en-US" sz="800" b="0" baseline="0" dirty="0">
                        <a:solidFill>
                          <a:srgbClr val="002577"/>
                        </a:solidFill>
                      </a:endParaRP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84.2%    94.3%    99.7%</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81.1%    80.0%    86.6%</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87.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77.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87.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79.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75.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86.2%</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35605754"/>
                  </a:ext>
                </a:extLst>
              </a:tr>
              <a:tr h="219140">
                <a:tc>
                  <a:txBody>
                    <a:bodyPr/>
                    <a:lstStyle/>
                    <a:p>
                      <a:r>
                        <a:rPr lang="en-US" sz="800" b="0" baseline="0" dirty="0">
                          <a:solidFill>
                            <a:srgbClr val="002577"/>
                          </a:solidFill>
                        </a:rPr>
                        <a:t>% of Times Any Loss Occurr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22.7%    16.9%    21.0%</a:t>
                      </a:r>
                      <a:endParaRPr lang="en-US" sz="800" b="0" baseline="0" dirty="0">
                        <a:solidFill>
                          <a:srgbClr val="002577"/>
                        </a:solidFill>
                      </a:endParaRP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28.6%    11.9%    9.1%</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8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34.0%    28.8%    28.8%</a:t>
                      </a:r>
                      <a:endParaRPr lang="en-US" sz="8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18.1%</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35.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29.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37.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33.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800" b="0" baseline="0" dirty="0">
                          <a:solidFill>
                            <a:srgbClr val="002577"/>
                          </a:solidFill>
                        </a:rPr>
                        <a:t>33.8%</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866769639"/>
                  </a:ext>
                </a:extLst>
              </a:tr>
            </a:tbl>
          </a:graphicData>
        </a:graphic>
      </p:graphicFrame>
    </p:spTree>
    <p:extLst>
      <p:ext uri="{BB962C8B-B14F-4D97-AF65-F5344CB8AC3E}">
        <p14:creationId xmlns:p14="http://schemas.microsoft.com/office/powerpoint/2010/main" val="20326577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33</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60296"/>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8594700"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Potential Target Clients</a:t>
            </a:r>
          </a:p>
        </p:txBody>
      </p:sp>
      <p:sp>
        <p:nvSpPr>
          <p:cNvPr id="7" name="Content Placeholder 2">
            <a:extLst>
              <a:ext uri="{FF2B5EF4-FFF2-40B4-BE49-F238E27FC236}">
                <a16:creationId xmlns:a16="http://schemas.microsoft.com/office/drawing/2014/main" id="{DFE721D2-7FC1-EB40-9533-F8988DBF3077}"/>
              </a:ext>
            </a:extLst>
          </p:cNvPr>
          <p:cNvSpPr txBox="1">
            <a:spLocks/>
          </p:cNvSpPr>
          <p:nvPr/>
        </p:nvSpPr>
        <p:spPr bwMode="auto">
          <a:xfrm>
            <a:off x="406400" y="2010002"/>
            <a:ext cx="8439150" cy="163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defTabSz="457200" rtl="0" eaLnBrk="0" fontAlgn="base" hangingPunct="0">
              <a:spcBef>
                <a:spcPct val="20000"/>
              </a:spcBef>
              <a:spcAft>
                <a:spcPct val="0"/>
              </a:spcAft>
              <a:buBlip>
                <a:blip r:embed="rId3"/>
              </a:buBlip>
              <a:defRPr kern="1200">
                <a:solidFill>
                  <a:schemeClr val="tx1"/>
                </a:solidFill>
                <a:latin typeface="Arial" pitchFamily="34" charset="0"/>
                <a:ea typeface="MS PGothic" pitchFamily="34" charset="-128"/>
                <a:cs typeface="Arial" pitchFamily="34" charset="0"/>
              </a:defRPr>
            </a:lvl1pPr>
            <a:lvl2pPr marL="361950" indent="95250" algn="l" defTabSz="457200" rtl="0" eaLnBrk="0" fontAlgn="base" hangingPunct="0">
              <a:spcBef>
                <a:spcPct val="20000"/>
              </a:spcBef>
              <a:spcAft>
                <a:spcPct val="0"/>
              </a:spcAft>
              <a:buFont typeface="Arial" pitchFamily="34" charset="0"/>
              <a:defRPr b="1" kern="1200">
                <a:solidFill>
                  <a:schemeClr val="tx1"/>
                </a:solidFill>
                <a:latin typeface="Arial" pitchFamily="34" charset="0"/>
                <a:ea typeface="MS PGothic" pitchFamily="34" charset="-128"/>
                <a:cs typeface="Arial" pitchFamily="34" charset="0"/>
              </a:defRPr>
            </a:lvl2pPr>
            <a:lvl3pPr marL="630238" indent="-268288" algn="l" defTabSz="457200" rtl="0" eaLnBrk="0" fontAlgn="base" hangingPunct="0">
              <a:spcBef>
                <a:spcPct val="20000"/>
              </a:spcBef>
              <a:spcAft>
                <a:spcPct val="0"/>
              </a:spcAft>
              <a:buClr>
                <a:schemeClr val="tx2"/>
              </a:buClr>
              <a:buFont typeface="Wingdings" pitchFamily="2" charset="2"/>
              <a:buChar char=""/>
              <a:defRPr sz="1600" kern="1200">
                <a:solidFill>
                  <a:schemeClr val="tx1"/>
                </a:solidFill>
                <a:latin typeface="Arial" pitchFamily="34" charset="0"/>
                <a:ea typeface="MS PGothic" pitchFamily="34" charset="-128"/>
                <a:cs typeface="Arial" pitchFamily="34" charset="0"/>
              </a:defRPr>
            </a:lvl3pPr>
            <a:lvl4pPr marL="630238" indent="741363" algn="l" defTabSz="457200" rtl="0" eaLnBrk="0" fontAlgn="base" hangingPunct="0">
              <a:spcBef>
                <a:spcPct val="20000"/>
              </a:spcBef>
              <a:spcAft>
                <a:spcPct val="0"/>
              </a:spcAft>
              <a:defRPr sz="1600" kern="1200">
                <a:solidFill>
                  <a:schemeClr val="tx1"/>
                </a:solidFill>
                <a:latin typeface="Arial" pitchFamily="34" charset="0"/>
                <a:ea typeface="MS PGothic" pitchFamily="34" charset="-128"/>
                <a:cs typeface="Arial" pitchFamily="34" charset="0"/>
              </a:defRPr>
            </a:lvl4pPr>
            <a:lvl5pPr marL="801688" indent="-171450" algn="l" defTabSz="457200" rtl="0" eaLnBrk="0" fontAlgn="base" hangingPunct="0">
              <a:spcBef>
                <a:spcPct val="20000"/>
              </a:spcBef>
              <a:spcAft>
                <a:spcPct val="0"/>
              </a:spcAft>
              <a:buClr>
                <a:schemeClr val="tx2"/>
              </a:buClr>
              <a:buFont typeface="Arial" pitchFamily="34" charset="0"/>
              <a:buChar char="­"/>
              <a:defRPr sz="1400" kern="1200">
                <a:solidFill>
                  <a:schemeClr val="tx1"/>
                </a:solidFill>
                <a:latin typeface="Arial" pitchFamily="34" charset="0"/>
                <a:ea typeface="MS PGothic" pitchFamily="34" charset="-128"/>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Sitting in Cash</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Maturing Bonds or CD’s</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Fixed Annuities No Longer Suitable for the Client</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Younger Clients Pre-Income Investment Protection</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Defined Benefit Plan</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28437875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0268CAC9-389C-F44A-90CE-1842A011DA3C}"/>
              </a:ext>
            </a:extLst>
          </p:cNvPr>
          <p:cNvSpPr txBox="1">
            <a:spLocks/>
          </p:cNvSpPr>
          <p:nvPr/>
        </p:nvSpPr>
        <p:spPr bwMode="auto">
          <a:xfrm>
            <a:off x="419100" y="2002971"/>
            <a:ext cx="8542020" cy="163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lgn="l" defTabSz="457200" rtl="0" eaLnBrk="0" fontAlgn="base" hangingPunct="0">
              <a:spcBef>
                <a:spcPct val="20000"/>
              </a:spcBef>
              <a:spcAft>
                <a:spcPct val="0"/>
              </a:spcAft>
              <a:buBlip>
                <a:blip r:embed="rId3"/>
              </a:buBlip>
              <a:defRPr kern="1200">
                <a:solidFill>
                  <a:schemeClr val="tx1"/>
                </a:solidFill>
                <a:latin typeface="Arial" pitchFamily="34" charset="0"/>
                <a:ea typeface="MS PGothic" pitchFamily="34" charset="-128"/>
                <a:cs typeface="Arial" pitchFamily="34" charset="0"/>
              </a:defRPr>
            </a:lvl1pPr>
            <a:lvl2pPr marL="361950" indent="95250" algn="l" defTabSz="457200" rtl="0" eaLnBrk="0" fontAlgn="base" hangingPunct="0">
              <a:spcBef>
                <a:spcPct val="20000"/>
              </a:spcBef>
              <a:spcAft>
                <a:spcPct val="0"/>
              </a:spcAft>
              <a:buFont typeface="Arial" pitchFamily="34" charset="0"/>
              <a:defRPr b="1" kern="1200">
                <a:solidFill>
                  <a:schemeClr val="tx1"/>
                </a:solidFill>
                <a:latin typeface="Arial" pitchFamily="34" charset="0"/>
                <a:ea typeface="MS PGothic" pitchFamily="34" charset="-128"/>
                <a:cs typeface="Arial" pitchFamily="34" charset="0"/>
              </a:defRPr>
            </a:lvl2pPr>
            <a:lvl3pPr marL="630238" indent="-268288" algn="l" defTabSz="457200" rtl="0" eaLnBrk="0" fontAlgn="base" hangingPunct="0">
              <a:spcBef>
                <a:spcPct val="20000"/>
              </a:spcBef>
              <a:spcAft>
                <a:spcPct val="0"/>
              </a:spcAft>
              <a:buClr>
                <a:schemeClr val="tx2"/>
              </a:buClr>
              <a:buFont typeface="Wingdings" pitchFamily="2" charset="2"/>
              <a:buChar char=""/>
              <a:defRPr sz="1600" kern="1200">
                <a:solidFill>
                  <a:schemeClr val="tx1"/>
                </a:solidFill>
                <a:latin typeface="Arial" pitchFamily="34" charset="0"/>
                <a:ea typeface="MS PGothic" pitchFamily="34" charset="-128"/>
                <a:cs typeface="Arial" pitchFamily="34" charset="0"/>
              </a:defRPr>
            </a:lvl3pPr>
            <a:lvl4pPr marL="630238" indent="741363" algn="l" defTabSz="457200" rtl="0" eaLnBrk="0" fontAlgn="base" hangingPunct="0">
              <a:spcBef>
                <a:spcPct val="20000"/>
              </a:spcBef>
              <a:spcAft>
                <a:spcPct val="0"/>
              </a:spcAft>
              <a:defRPr sz="1600" kern="1200">
                <a:solidFill>
                  <a:schemeClr val="tx1"/>
                </a:solidFill>
                <a:latin typeface="Arial" pitchFamily="34" charset="0"/>
                <a:ea typeface="MS PGothic" pitchFamily="34" charset="-128"/>
                <a:cs typeface="Arial" pitchFamily="34" charset="0"/>
              </a:defRPr>
            </a:lvl4pPr>
            <a:lvl5pPr marL="801688" indent="-171450" algn="l" defTabSz="457200" rtl="0" eaLnBrk="0" fontAlgn="base" hangingPunct="0">
              <a:spcBef>
                <a:spcPct val="20000"/>
              </a:spcBef>
              <a:spcAft>
                <a:spcPct val="0"/>
              </a:spcAft>
              <a:buClr>
                <a:schemeClr val="tx2"/>
              </a:buClr>
              <a:buFont typeface="Arial" pitchFamily="34" charset="0"/>
              <a:buChar char="­"/>
              <a:defRPr sz="1400" kern="1200">
                <a:solidFill>
                  <a:schemeClr val="tx1"/>
                </a:solidFill>
                <a:latin typeface="Arial" pitchFamily="34" charset="0"/>
                <a:ea typeface="MS PGothic" pitchFamily="34" charset="-128"/>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Volatile markets have increased demand for structured products</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Wide variety of structured products available</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Clients are looking for investments with downside protection and upside potential</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r>
              <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Key differentiating feature is principal protection versus downside buffer protection</a:t>
            </a: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0"/>
              </a:spcBef>
              <a:buFont typeface="Arial" panose="020B0604020202020204" pitchFamily="34" charset="0"/>
              <a:buChar char="•"/>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spcBef>
                <a:spcPts val="0"/>
              </a:spcBef>
              <a:buNone/>
              <a:defRPr/>
            </a:pPr>
            <a:endParaRPr lang="en-US" altLang="en-US" sz="2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34</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60296"/>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8594700"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Summary</a:t>
            </a:r>
          </a:p>
        </p:txBody>
      </p:sp>
    </p:spTree>
    <p:extLst>
      <p:ext uri="{BB962C8B-B14F-4D97-AF65-F5344CB8AC3E}">
        <p14:creationId xmlns:p14="http://schemas.microsoft.com/office/powerpoint/2010/main" val="32327690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a:xfrm>
            <a:off x="273202" y="2416356"/>
            <a:ext cx="8585048" cy="1898069"/>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Appendix</a:t>
            </a:r>
          </a:p>
        </p:txBody>
      </p:sp>
      <p:sp>
        <p:nvSpPr>
          <p:cNvPr id="5" name="Slide Number Placeholder 5">
            <a:extLst>
              <a:ext uri="{FF2B5EF4-FFF2-40B4-BE49-F238E27FC236}">
                <a16:creationId xmlns:a16="http://schemas.microsoft.com/office/drawing/2014/main" id="{AF5BB7C1-DE3F-364A-81C7-3011CE52406B}"/>
              </a:ext>
            </a:extLst>
          </p:cNvPr>
          <p:cNvSpPr>
            <a:spLocks noGrp="1"/>
          </p:cNvSpPr>
          <p:nvPr>
            <p:ph type="sldNum" sz="quarter" idx="4"/>
          </p:nvPr>
        </p:nvSpPr>
        <p:spPr>
          <a:xfrm>
            <a:off x="8531750" y="6346584"/>
            <a:ext cx="414260" cy="213126"/>
          </a:xfrm>
          <a:prstGeom prst="rect">
            <a:avLst/>
          </a:prstGeom>
          <a:noFill/>
        </p:spPr>
        <p:txBody>
          <a:bodyPr/>
          <a:lstStyle>
            <a:lvl1pPr algn="r">
              <a:defRPr sz="600" b="1" i="0">
                <a:solidFill>
                  <a:srgbClr val="FFFFFF"/>
                </a:solidFill>
                <a:latin typeface="Segoe UI" panose="020B0502040204020203" pitchFamily="34" charset="0"/>
              </a:defRPr>
            </a:lvl1pPr>
          </a:lstStyle>
          <a:p>
            <a:pPr defTabSz="285750">
              <a:defRPr/>
            </a:pPr>
            <a:fld id="{2C7AFF3D-0B71-614B-ACB6-7F45BDA6A838}" type="slidenum">
              <a:rPr lang="en-US">
                <a:ea typeface="Segoe UI" panose="020B0502040204020203" pitchFamily="34" charset="0"/>
                <a:cs typeface="Segoe UI" panose="020B0502040204020203" pitchFamily="34" charset="0"/>
              </a:rPr>
              <a:pPr defTabSz="285750">
                <a:defRPr/>
              </a:pPr>
              <a:t>35</a:t>
            </a:fld>
            <a:endParaRPr lang="en-US" dirty="0">
              <a:ea typeface="Segoe UI" panose="020B0502040204020203" pitchFamily="34" charset="0"/>
              <a:cs typeface="Segoe UI" panose="020B0502040204020203" pitchFamily="34" charset="0"/>
            </a:endParaRPr>
          </a:p>
        </p:txBody>
      </p:sp>
      <p:sp>
        <p:nvSpPr>
          <p:cNvPr id="6" name="Footer Placeholder 3">
            <a:extLst>
              <a:ext uri="{FF2B5EF4-FFF2-40B4-BE49-F238E27FC236}">
                <a16:creationId xmlns:a16="http://schemas.microsoft.com/office/drawing/2014/main" id="{5976D55B-6258-4849-8B5F-5584D9E2AE00}"/>
              </a:ext>
            </a:extLst>
          </p:cNvPr>
          <p:cNvSpPr>
            <a:spLocks noGrp="1"/>
          </p:cNvSpPr>
          <p:nvPr>
            <p:ph type="ftr" sz="quarter" idx="3"/>
          </p:nvPr>
        </p:nvSpPr>
        <p:spPr>
          <a:xfrm>
            <a:off x="5440491" y="6385330"/>
            <a:ext cx="3086100" cy="136824"/>
          </a:xfrm>
          <a:prstGeom prst="rect">
            <a:avLst/>
          </a:prstGeom>
        </p:spPr>
        <p:txBody>
          <a:bodyPr vert="horz" lIns="57150" tIns="28575" rIns="57150" bIns="28575" rtlCol="0" anchor="ctr"/>
          <a:lstStyle>
            <a:lvl1pPr algn="r">
              <a:defRPr sz="600" b="1" i="0">
                <a:solidFill>
                  <a:srgbClr val="FFFFFF"/>
                </a:solidFill>
                <a:latin typeface="Segoe UI" panose="020B0502040204020203" pitchFamily="34" charset="0"/>
              </a:defRPr>
            </a:lvl1pPr>
          </a:lstStyle>
          <a:p>
            <a:pPr lvl="0">
              <a:defRPr/>
            </a:pPr>
            <a:r>
              <a:rPr lang="en-US" dirty="0">
                <a:solidFill>
                  <a:schemeClr val="bg1"/>
                </a:solidFill>
              </a:rPr>
              <a:t>Considerations for a Successful Retirement</a:t>
            </a:r>
          </a:p>
        </p:txBody>
      </p:sp>
      <p:pic>
        <p:nvPicPr>
          <p:cNvPr id="2" name="Picture 1">
            <a:extLst>
              <a:ext uri="{FF2B5EF4-FFF2-40B4-BE49-F238E27FC236}">
                <a16:creationId xmlns:a16="http://schemas.microsoft.com/office/drawing/2014/main" id="{468CC432-70B8-4F22-8E9C-F0376379F164}"/>
              </a:ext>
            </a:extLst>
          </p:cNvPr>
          <p:cNvPicPr>
            <a:picLocks noChangeAspect="1"/>
          </p:cNvPicPr>
          <p:nvPr/>
        </p:nvPicPr>
        <p:blipFill>
          <a:blip r:embed="rId2"/>
          <a:stretch>
            <a:fillRect/>
          </a:stretch>
        </p:blipFill>
        <p:spPr>
          <a:xfrm>
            <a:off x="2133406" y="6102510"/>
            <a:ext cx="2152650" cy="457200"/>
          </a:xfrm>
          <a:prstGeom prst="rect">
            <a:avLst/>
          </a:prstGeom>
        </p:spPr>
      </p:pic>
    </p:spTree>
    <p:extLst>
      <p:ext uri="{BB962C8B-B14F-4D97-AF65-F5344CB8AC3E}">
        <p14:creationId xmlns:p14="http://schemas.microsoft.com/office/powerpoint/2010/main" val="22330866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36</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68317"/>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8594700"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Retirement Challenges: Volatility</a:t>
            </a:r>
          </a:p>
        </p:txBody>
      </p:sp>
      <p:sp>
        <p:nvSpPr>
          <p:cNvPr id="10" name="TextBox 2">
            <a:extLst>
              <a:ext uri="{FF2B5EF4-FFF2-40B4-BE49-F238E27FC236}">
                <a16:creationId xmlns:a16="http://schemas.microsoft.com/office/drawing/2014/main" id="{4D823B05-FAA9-5F4D-9858-A15A6260E1FA}"/>
              </a:ext>
            </a:extLst>
          </p:cNvPr>
          <p:cNvSpPr txBox="1"/>
          <p:nvPr/>
        </p:nvSpPr>
        <p:spPr>
          <a:xfrm>
            <a:off x="6737754" y="1872418"/>
            <a:ext cx="108259" cy="886587"/>
          </a:xfrm>
          <a:prstGeom prst="rect">
            <a:avLst/>
          </a:prstGeom>
          <a:noFill/>
        </p:spPr>
        <p:style>
          <a:lnRef idx="0">
            <a:scrgbClr r="0" g="0" b="0"/>
          </a:lnRef>
          <a:fillRef idx="0">
            <a:scrgbClr r="0" g="0" b="0"/>
          </a:fillRef>
          <a:effectRef idx="0">
            <a:scrgbClr r="0" g="0" b="0"/>
          </a:effectRef>
          <a:fontRef idx="major"/>
        </p:style>
        <p:txBody>
          <a:bodyPr wrap="non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endParaRPr lang="en-US" sz="6500" b="1" dirty="0">
              <a:solidFill>
                <a:schemeClr val="bg1"/>
              </a:solidFill>
              <a:latin typeface="Helvetica" pitchFamily="2" charset="0"/>
            </a:endParaRPr>
          </a:p>
        </p:txBody>
      </p:sp>
      <p:sp>
        <p:nvSpPr>
          <p:cNvPr id="19" name="Title 16">
            <a:extLst>
              <a:ext uri="{FF2B5EF4-FFF2-40B4-BE49-F238E27FC236}">
                <a16:creationId xmlns:a16="http://schemas.microsoft.com/office/drawing/2014/main" id="{EA818B84-4D21-104B-8CD1-A8ABEEC68987}"/>
              </a:ext>
            </a:extLst>
          </p:cNvPr>
          <p:cNvSpPr txBox="1">
            <a:spLocks/>
          </p:cNvSpPr>
          <p:nvPr/>
        </p:nvSpPr>
        <p:spPr>
          <a:xfrm>
            <a:off x="6883714" y="2075819"/>
            <a:ext cx="2074863" cy="467255"/>
          </a:xfrm>
          <a:prstGeom prst="rect">
            <a:avLst/>
          </a:prstGeom>
        </p:spPr>
        <p:style>
          <a:lnRef idx="0">
            <a:scrgbClr r="0" g="0" b="0"/>
          </a:lnRef>
          <a:fillRef idx="0">
            <a:scrgbClr r="0" g="0" b="0"/>
          </a:fillRef>
          <a:effectRef idx="0">
            <a:scrgbClr r="0" g="0" b="0"/>
          </a:effectRef>
          <a:fontRef idx="major"/>
        </p:style>
        <p:txBody>
          <a:bodyPr anchor="t">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nSpc>
                <a:spcPct val="100000"/>
              </a:lnSpc>
              <a:spcBef>
                <a:spcPts val="0"/>
              </a:spcBef>
            </a:pPr>
            <a:r>
              <a:rPr lang="en-US" sz="1000" b="0" dirty="0">
                <a:solidFill>
                  <a:srgbClr val="75787B"/>
                </a:solidFill>
                <a:latin typeface="Segoe UI" panose="020B0502040204020203" pitchFamily="34" charset="0"/>
                <a:ea typeface="Segoe UI" panose="020B0502040204020203" pitchFamily="34" charset="0"/>
                <a:cs typeface="Segoe UI" panose="020B0502040204020203" pitchFamily="34" charset="0"/>
              </a:rPr>
              <a:t>This example is a hypothetical intended for illustrative purposes only and is not indicative of the actual performance of any particular product. These figures are are not intended to represent the performance of any specific investment, insurance contract, or other financial product. This example does not take into account the impact of any fees or taxes.</a:t>
            </a:r>
            <a:endParaRPr lang="en-US" sz="1000" b="0" dirty="0">
              <a:solidFill>
                <a:srgbClr val="75787B"/>
              </a:solidFill>
            </a:endParaRPr>
          </a:p>
        </p:txBody>
      </p:sp>
      <p:sp>
        <p:nvSpPr>
          <p:cNvPr id="21" name="TextBox 2">
            <a:extLst>
              <a:ext uri="{FF2B5EF4-FFF2-40B4-BE49-F238E27FC236}">
                <a16:creationId xmlns:a16="http://schemas.microsoft.com/office/drawing/2014/main" id="{0CD997F3-1F7B-8047-BA38-6F326FFE5E83}"/>
              </a:ext>
            </a:extLst>
          </p:cNvPr>
          <p:cNvSpPr txBox="1"/>
          <p:nvPr/>
        </p:nvSpPr>
        <p:spPr>
          <a:xfrm>
            <a:off x="10169719" y="2215750"/>
            <a:ext cx="107955" cy="586089"/>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endParaRPr lang="en-US" sz="6500" b="1" dirty="0">
              <a:solidFill>
                <a:schemeClr val="bg1"/>
              </a:solidFill>
              <a:latin typeface="Helvetica" pitchFamily="2" charset="0"/>
            </a:endParaRPr>
          </a:p>
        </p:txBody>
      </p:sp>
      <p:sp>
        <p:nvSpPr>
          <p:cNvPr id="22" name="Rectangle 21">
            <a:extLst>
              <a:ext uri="{FF2B5EF4-FFF2-40B4-BE49-F238E27FC236}">
                <a16:creationId xmlns:a16="http://schemas.microsoft.com/office/drawing/2014/main" id="{A0033DDC-BD76-1047-990B-82B153B7C793}"/>
              </a:ext>
            </a:extLst>
          </p:cNvPr>
          <p:cNvSpPr>
            <a:spLocks noChangeArrowheads="1"/>
          </p:cNvSpPr>
          <p:nvPr/>
        </p:nvSpPr>
        <p:spPr bwMode="auto">
          <a:xfrm>
            <a:off x="3615186" y="859978"/>
            <a:ext cx="4444938" cy="280507"/>
          </a:xfrm>
          <a:prstGeom prst="rect">
            <a:avLst/>
          </a:prstGeom>
          <a:solidFill>
            <a:sysClr val="window" lastClr="FFFFFF">
              <a:alpha val="56078"/>
            </a:sysClr>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a:ln>
                <a:noFill/>
              </a:ln>
              <a:solidFill>
                <a:prstClr val="white"/>
              </a:solidFill>
              <a:effectLst/>
              <a:uLnTx/>
              <a:uFillTx/>
              <a:latin typeface="Arial" pitchFamily="34" charset="0"/>
              <a:ea typeface="MS PGothic" pitchFamily="34" charset="-128"/>
              <a:cs typeface="+mn-cs"/>
            </a:endParaRPr>
          </a:p>
        </p:txBody>
      </p:sp>
      <p:sp>
        <p:nvSpPr>
          <p:cNvPr id="23" name="Rectangle 22">
            <a:extLst>
              <a:ext uri="{FF2B5EF4-FFF2-40B4-BE49-F238E27FC236}">
                <a16:creationId xmlns:a16="http://schemas.microsoft.com/office/drawing/2014/main" id="{D4BBDF5C-B5DF-374A-AC6F-5D1C7B5EFC2E}"/>
              </a:ext>
            </a:extLst>
          </p:cNvPr>
          <p:cNvSpPr>
            <a:spLocks noChangeArrowheads="1"/>
          </p:cNvSpPr>
          <p:nvPr/>
        </p:nvSpPr>
        <p:spPr bwMode="auto">
          <a:xfrm>
            <a:off x="1030713" y="737302"/>
            <a:ext cx="1202319" cy="149497"/>
          </a:xfrm>
          <a:prstGeom prst="rect">
            <a:avLst/>
          </a:prstGeom>
          <a:solidFill>
            <a:sysClr val="window" lastClr="FFFFFF">
              <a:alpha val="56078"/>
            </a:sysClr>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a:ln>
                <a:noFill/>
              </a:ln>
              <a:solidFill>
                <a:prstClr val="white"/>
              </a:solidFill>
              <a:effectLst/>
              <a:uLnTx/>
              <a:uFillTx/>
              <a:latin typeface="Arial" pitchFamily="34" charset="0"/>
              <a:ea typeface="MS PGothic" pitchFamily="34" charset="-128"/>
              <a:cs typeface="+mn-cs"/>
            </a:endParaRPr>
          </a:p>
        </p:txBody>
      </p:sp>
      <p:sp>
        <p:nvSpPr>
          <p:cNvPr id="24" name="Rectangle 23">
            <a:extLst>
              <a:ext uri="{FF2B5EF4-FFF2-40B4-BE49-F238E27FC236}">
                <a16:creationId xmlns:a16="http://schemas.microsoft.com/office/drawing/2014/main" id="{987A6B39-8E51-EA49-BD2C-7565F5D6DC79}"/>
              </a:ext>
            </a:extLst>
          </p:cNvPr>
          <p:cNvSpPr>
            <a:spLocks noChangeArrowheads="1"/>
          </p:cNvSpPr>
          <p:nvPr/>
        </p:nvSpPr>
        <p:spPr bwMode="auto">
          <a:xfrm>
            <a:off x="4704768" y="6504923"/>
            <a:ext cx="1374032" cy="143871"/>
          </a:xfrm>
          <a:prstGeom prst="rect">
            <a:avLst/>
          </a:prstGeom>
          <a:solidFill>
            <a:sysClr val="window" lastClr="FFFFFF">
              <a:alpha val="56078"/>
            </a:sysClr>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a:ln>
                <a:noFill/>
              </a:ln>
              <a:solidFill>
                <a:prstClr val="white"/>
              </a:solidFill>
              <a:effectLst/>
              <a:uLnTx/>
              <a:uFillTx/>
              <a:latin typeface="Arial" pitchFamily="34" charset="0"/>
              <a:ea typeface="MS PGothic" pitchFamily="34" charset="-128"/>
              <a:cs typeface="+mn-cs"/>
            </a:endParaRPr>
          </a:p>
        </p:txBody>
      </p:sp>
      <p:graphicFrame>
        <p:nvGraphicFramePr>
          <p:cNvPr id="30" name="Table 29">
            <a:extLst>
              <a:ext uri="{FF2B5EF4-FFF2-40B4-BE49-F238E27FC236}">
                <a16:creationId xmlns:a16="http://schemas.microsoft.com/office/drawing/2014/main" id="{CA62FF7C-6EE4-DC41-8F03-B775CC20449F}"/>
              </a:ext>
            </a:extLst>
          </p:cNvPr>
          <p:cNvGraphicFramePr>
            <a:graphicFrameLocks noGrp="1"/>
          </p:cNvGraphicFramePr>
          <p:nvPr>
            <p:extLst>
              <p:ext uri="{D42A27DB-BD31-4B8C-83A1-F6EECF244321}">
                <p14:modId xmlns:p14="http://schemas.microsoft.com/office/powerpoint/2010/main" val="4247869901"/>
              </p:ext>
            </p:extLst>
          </p:nvPr>
        </p:nvGraphicFramePr>
        <p:xfrm>
          <a:off x="427893" y="870438"/>
          <a:ext cx="6359769" cy="5349240"/>
        </p:xfrm>
        <a:graphic>
          <a:graphicData uri="http://schemas.openxmlformats.org/drawingml/2006/table">
            <a:tbl>
              <a:tblPr bandRow="1">
                <a:tableStyleId>{5C22544A-7EE6-4342-B048-85BDC9FD1C3A}</a:tableStyleId>
              </a:tblPr>
              <a:tblGrid>
                <a:gridCol w="1155700">
                  <a:extLst>
                    <a:ext uri="{9D8B030D-6E8A-4147-A177-3AD203B41FA5}">
                      <a16:colId xmlns:a16="http://schemas.microsoft.com/office/drawing/2014/main" val="3107662515"/>
                    </a:ext>
                  </a:extLst>
                </a:gridCol>
                <a:gridCol w="1326661">
                  <a:extLst>
                    <a:ext uri="{9D8B030D-6E8A-4147-A177-3AD203B41FA5}">
                      <a16:colId xmlns:a16="http://schemas.microsoft.com/office/drawing/2014/main" val="3126446710"/>
                    </a:ext>
                  </a:extLst>
                </a:gridCol>
                <a:gridCol w="1327639">
                  <a:extLst>
                    <a:ext uri="{9D8B030D-6E8A-4147-A177-3AD203B41FA5}">
                      <a16:colId xmlns:a16="http://schemas.microsoft.com/office/drawing/2014/main" val="3142131442"/>
                    </a:ext>
                  </a:extLst>
                </a:gridCol>
                <a:gridCol w="1178169">
                  <a:extLst>
                    <a:ext uri="{9D8B030D-6E8A-4147-A177-3AD203B41FA5}">
                      <a16:colId xmlns:a16="http://schemas.microsoft.com/office/drawing/2014/main" val="1700464542"/>
                    </a:ext>
                  </a:extLst>
                </a:gridCol>
                <a:gridCol w="1371600">
                  <a:extLst>
                    <a:ext uri="{9D8B030D-6E8A-4147-A177-3AD203B41FA5}">
                      <a16:colId xmlns:a16="http://schemas.microsoft.com/office/drawing/2014/main" val="651960660"/>
                    </a:ext>
                  </a:extLst>
                </a:gridCol>
              </a:tblGrid>
              <a:tr h="194477">
                <a:tc rowSpan="2">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700" b="0" baseline="0" dirty="0">
                          <a:solidFill>
                            <a:schemeClr val="bg1"/>
                          </a:solidFill>
                          <a:latin typeface="Segoe UI" panose="020B0502040204020203" pitchFamily="34" charset="0"/>
                          <a:ea typeface="Segoe UI" panose="020B0502040204020203" pitchFamily="34" charset="0"/>
                          <a:cs typeface="Segoe UI" panose="020B0502040204020203" pitchFamily="34" charset="0"/>
                        </a:rPr>
                        <a:t>Age</a:t>
                      </a:r>
                      <a:endParaRPr lang="en-US" sz="700" b="0" baseline="0" dirty="0">
                        <a:solidFill>
                          <a:schemeClr val="bg1"/>
                        </a:solidFill>
                      </a:endParaRPr>
                    </a:p>
                  </a:txBody>
                  <a:tcPr anchor="b">
                    <a:lnL w="9525" cap="flat" cmpd="sng" algn="ctr">
                      <a:solidFill>
                        <a:srgbClr val="75787B"/>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75787B"/>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577"/>
                    </a:solidFill>
                  </a:tcPr>
                </a:tc>
                <a:tc gridSpan="2">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700" b="1" baseline="0" dirty="0">
                          <a:solidFill>
                            <a:schemeClr val="bg1"/>
                          </a:solidFill>
                        </a:rPr>
                        <a:t>“ Up” Market — Mr. Green</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75787B"/>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15F66"/>
                    </a:solidFill>
                  </a:tcPr>
                </a:tc>
                <a:tc hMerge="1">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200" b="0" baseline="0" dirty="0">
                        <a:solidFill>
                          <a:schemeClr val="bg1"/>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75787B"/>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577"/>
                    </a:solidFill>
                  </a:tcPr>
                </a:tc>
                <a:tc gridSpan="2">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700" b="1" baseline="0" dirty="0">
                          <a:solidFill>
                            <a:schemeClr val="bg1"/>
                          </a:solidFill>
                        </a:rPr>
                        <a:t>“ Down” Market — Mr. Blue</a:t>
                      </a:r>
                    </a:p>
                  </a:txBody>
                  <a:tcPr>
                    <a:lnL w="9525" cap="flat" cmpd="sng" algn="ctr">
                      <a:solidFill>
                        <a:schemeClr val="bg1"/>
                      </a:solidFill>
                      <a:prstDash val="solid"/>
                      <a:round/>
                      <a:headEnd type="none" w="med" len="med"/>
                      <a:tailEnd type="none" w="med" len="med"/>
                    </a:lnL>
                    <a:lnR w="9525" cap="flat" cmpd="sng" algn="ctr">
                      <a:solidFill>
                        <a:srgbClr val="75787B"/>
                      </a:solidFill>
                      <a:prstDash val="solid"/>
                      <a:round/>
                      <a:headEnd type="none" w="med" len="med"/>
                      <a:tailEnd type="none" w="med" len="med"/>
                    </a:lnR>
                    <a:lnT w="9525" cap="flat" cmpd="sng" algn="ctr">
                      <a:solidFill>
                        <a:srgbClr val="75787B"/>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577"/>
                    </a:solidFill>
                  </a:tcPr>
                </a:tc>
                <a:tc hMerge="1">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200" b="0" baseline="0" dirty="0">
                        <a:solidFill>
                          <a:schemeClr val="bg1"/>
                        </a:solidFill>
                      </a:endParaRPr>
                    </a:p>
                  </a:txBody>
                  <a:tcPr>
                    <a:lnL w="9525" cap="flat" cmpd="sng" algn="ctr">
                      <a:solidFill>
                        <a:schemeClr val="bg1"/>
                      </a:solidFill>
                      <a:prstDash val="solid"/>
                      <a:round/>
                      <a:headEnd type="none" w="med" len="med"/>
                      <a:tailEnd type="none" w="med" len="med"/>
                    </a:lnL>
                    <a:lnR w="9525" cap="flat" cmpd="sng" algn="ctr">
                      <a:solidFill>
                        <a:srgbClr val="75787B"/>
                      </a:solidFill>
                      <a:prstDash val="solid"/>
                      <a:round/>
                      <a:headEnd type="none" w="med" len="med"/>
                      <a:tailEnd type="none" w="med" len="med"/>
                    </a:lnR>
                    <a:lnT w="9525" cap="flat" cmpd="sng" algn="ctr">
                      <a:solidFill>
                        <a:srgbClr val="75787B"/>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577"/>
                    </a:solidFill>
                  </a:tcPr>
                </a:tc>
                <a:extLst>
                  <a:ext uri="{0D108BD9-81ED-4DB2-BD59-A6C34878D82A}">
                    <a16:rowId xmlns:a16="http://schemas.microsoft.com/office/drawing/2014/main" val="3144960856"/>
                  </a:ext>
                </a:extLst>
              </a:tr>
              <a:tr h="162879">
                <a:tc vMerge="1">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100" b="0" baseline="0" dirty="0">
                        <a:solidFill>
                          <a:schemeClr val="bg1"/>
                        </a:solidFill>
                      </a:endParaRPr>
                    </a:p>
                  </a:txBody>
                  <a:tcPr>
                    <a:lnL w="9525" cap="flat" cmpd="sng" algn="ctr">
                      <a:solidFill>
                        <a:srgbClr val="75787B"/>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577"/>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700" b="1" baseline="0" dirty="0">
                          <a:solidFill>
                            <a:schemeClr val="bg1"/>
                          </a:solidFill>
                        </a:rPr>
                        <a:t>Annual Return</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15F66"/>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700" b="0" baseline="0" dirty="0">
                          <a:solidFill>
                            <a:schemeClr val="bg1"/>
                          </a:solidFill>
                        </a:rPr>
                        <a:t>Year End Value</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15F66"/>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700" b="0" baseline="0" dirty="0">
                          <a:solidFill>
                            <a:schemeClr val="bg1"/>
                          </a:solidFill>
                        </a:rPr>
                        <a:t>Annual Return</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577"/>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700" b="0" baseline="0" dirty="0">
                          <a:solidFill>
                            <a:schemeClr val="bg1"/>
                          </a:solidFill>
                        </a:rPr>
                        <a:t>Year End Value</a:t>
                      </a:r>
                    </a:p>
                  </a:txBody>
                  <a:tcPr>
                    <a:lnL w="9525" cap="flat" cmpd="sng" algn="ctr">
                      <a:solidFill>
                        <a:schemeClr val="bg1"/>
                      </a:solidFill>
                      <a:prstDash val="solid"/>
                      <a:round/>
                      <a:headEnd type="none" w="med" len="med"/>
                      <a:tailEnd type="none" w="med" len="med"/>
                    </a:lnL>
                    <a:lnR w="9525" cap="flat" cmpd="sng" algn="ctr">
                      <a:solidFill>
                        <a:srgbClr val="75787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577"/>
                    </a:solidFill>
                  </a:tcPr>
                </a:tc>
                <a:extLst>
                  <a:ext uri="{0D108BD9-81ED-4DB2-BD59-A6C34878D82A}">
                    <a16:rowId xmlns:a16="http://schemas.microsoft.com/office/drawing/2014/main" val="3522260469"/>
                  </a:ext>
                </a:extLst>
              </a:tr>
              <a:tr h="151245">
                <a:tc>
                  <a:txBody>
                    <a:bodyPr/>
                    <a:lstStyle/>
                    <a:p>
                      <a:r>
                        <a:rPr lang="en-US" sz="600" b="1" baseline="0" dirty="0">
                          <a:solidFill>
                            <a:srgbClr val="2E3192"/>
                          </a:solidFill>
                          <a:latin typeface="Segoe UI" panose="020B0502040204020203" pitchFamily="34" charset="0"/>
                          <a:ea typeface="Segoe UI" panose="020B0502040204020203" pitchFamily="34" charset="0"/>
                          <a:cs typeface="Segoe UI" panose="020B0502040204020203" pitchFamily="34" charset="0"/>
                        </a:rPr>
                        <a:t>6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endParaRPr lang="en-US" sz="600" b="1"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000,000</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rPr>
                        <a:t>$1,00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95232744"/>
                  </a:ext>
                </a:extLst>
              </a:tr>
              <a:tr h="151245">
                <a:tc>
                  <a:txBody>
                    <a:bodyPr/>
                    <a:lstStyle/>
                    <a:p>
                      <a:r>
                        <a:rPr lang="en-US" sz="600" b="1" baseline="0" dirty="0">
                          <a:solidFill>
                            <a:srgbClr val="2E3192"/>
                          </a:solidFill>
                          <a:latin typeface="Segoe UI" panose="020B0502040204020203" pitchFamily="34" charset="0"/>
                          <a:ea typeface="Segoe UI" panose="020B0502040204020203" pitchFamily="34" charset="0"/>
                          <a:cs typeface="Segoe UI" panose="020B0502040204020203" pitchFamily="34" charset="0"/>
                        </a:rPr>
                        <a:t>66</a:t>
                      </a:r>
                      <a:endParaRPr lang="en-US" sz="600" b="1" baseline="0" dirty="0">
                        <a:solidFill>
                          <a:srgbClr val="2E3192"/>
                        </a:solidFill>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5%</a:t>
                      </a:r>
                      <a:endParaRPr lang="en-US" sz="600" b="1" baseline="0" dirty="0">
                        <a:solidFill>
                          <a:srgbClr val="002577"/>
                        </a:solidFill>
                      </a:endParaRP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050,000</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750,000</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16416727"/>
                  </a:ext>
                </a:extLst>
              </a:tr>
              <a:tr h="151245">
                <a:tc>
                  <a:txBody>
                    <a:bodyPr/>
                    <a:lstStyle/>
                    <a:p>
                      <a:r>
                        <a:rPr lang="en-US" sz="600" b="1" baseline="0" dirty="0">
                          <a:solidFill>
                            <a:srgbClr val="2E3192"/>
                          </a:solidFill>
                        </a:rPr>
                        <a:t>67</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28%</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344,000</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645,00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896637364"/>
                  </a:ext>
                </a:extLst>
              </a:tr>
              <a:tr h="151245">
                <a:tc>
                  <a:txBody>
                    <a:bodyPr/>
                    <a:lstStyle/>
                    <a:p>
                      <a:r>
                        <a:rPr lang="en-US" sz="600" b="1" baseline="0" dirty="0">
                          <a:solidFill>
                            <a:srgbClr val="2E3192"/>
                          </a:solidFill>
                        </a:rPr>
                        <a:t>68</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22%</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639,680</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80,00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494474216"/>
                  </a:ext>
                </a:extLst>
              </a:tr>
              <a:tr h="151245">
                <a:tc>
                  <a:txBody>
                    <a:bodyPr/>
                    <a:lstStyle/>
                    <a:p>
                      <a:r>
                        <a:rPr lang="en-US" sz="600" b="1" baseline="0" dirty="0">
                          <a:solidFill>
                            <a:srgbClr val="2E3192"/>
                          </a:solidFill>
                        </a:rPr>
                        <a:t>69</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557,696</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673,38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009795343"/>
                  </a:ext>
                </a:extLst>
              </a:tr>
              <a:tr h="151245">
                <a:tc>
                  <a:txBody>
                    <a:bodyPr/>
                    <a:lstStyle/>
                    <a:p>
                      <a:r>
                        <a:rPr lang="en-US" sz="600" b="1" baseline="0" dirty="0">
                          <a:solidFill>
                            <a:srgbClr val="2E3192"/>
                          </a:solidFill>
                        </a:rPr>
                        <a:t>7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20%</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869,235</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1%</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814,79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056201988"/>
                  </a:ext>
                </a:extLst>
              </a:tr>
              <a:tr h="151245">
                <a:tc>
                  <a:txBody>
                    <a:bodyPr/>
                    <a:lstStyle/>
                    <a:p>
                      <a:r>
                        <a:rPr lang="en-US" sz="600" b="1" baseline="0" dirty="0">
                          <a:solidFill>
                            <a:srgbClr val="2E3192"/>
                          </a:solidFill>
                        </a:rPr>
                        <a:t>71</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19%</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2,224,390</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855,529</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661135030"/>
                  </a:ext>
                </a:extLst>
              </a:tr>
              <a:tr h="151245">
                <a:tc>
                  <a:txBody>
                    <a:bodyPr/>
                    <a:lstStyle/>
                    <a:p>
                      <a:r>
                        <a:rPr lang="en-US" sz="600" b="1" baseline="0" dirty="0">
                          <a:solidFill>
                            <a:srgbClr val="2E3192"/>
                          </a:solidFill>
                        </a:rPr>
                        <a:t>72</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23%</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2,736,000</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718,645</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882915187"/>
                  </a:ext>
                </a:extLst>
              </a:tr>
              <a:tr h="151245">
                <a:tc>
                  <a:txBody>
                    <a:bodyPr/>
                    <a:lstStyle/>
                    <a:p>
                      <a:r>
                        <a:rPr lang="en-US" sz="600" b="1" baseline="0" dirty="0">
                          <a:solidFill>
                            <a:srgbClr val="2E3192"/>
                          </a:solidFill>
                        </a:rPr>
                        <a:t>73</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9%</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2,982,240</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776,136</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917779508"/>
                  </a:ext>
                </a:extLst>
              </a:tr>
              <a:tr h="151245">
                <a:tc>
                  <a:txBody>
                    <a:bodyPr/>
                    <a:lstStyle/>
                    <a:p>
                      <a:r>
                        <a:rPr lang="en-US" sz="600" b="1" baseline="0" dirty="0">
                          <a:solidFill>
                            <a:srgbClr val="2E3192"/>
                          </a:solidFill>
                        </a:rPr>
                        <a:t>74</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16%</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3,459,398</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884,795</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216134707"/>
                  </a:ext>
                </a:extLst>
              </a:tr>
              <a:tr h="151245">
                <a:tc>
                  <a:txBody>
                    <a:bodyPr/>
                    <a:lstStyle/>
                    <a:p>
                      <a:r>
                        <a:rPr lang="en-US" sz="600" b="1" baseline="0" dirty="0">
                          <a:solidFill>
                            <a:srgbClr val="2E3192"/>
                          </a:solidFill>
                        </a:rPr>
                        <a:t>75</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23%</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4,255,059</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097,146</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335605754"/>
                  </a:ext>
                </a:extLst>
              </a:tr>
              <a:tr h="151245">
                <a:tc>
                  <a:txBody>
                    <a:bodyPr/>
                    <a:lstStyle/>
                    <a:p>
                      <a:r>
                        <a:rPr lang="en-US" sz="600" b="1" baseline="0" dirty="0">
                          <a:solidFill>
                            <a:srgbClr val="2E3192"/>
                          </a:solidFill>
                        </a:rPr>
                        <a:t>76</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22%</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5,191,172</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250,747</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866769639"/>
                  </a:ext>
                </a:extLst>
              </a:tr>
              <a:tr h="151245">
                <a:tc>
                  <a:txBody>
                    <a:bodyPr/>
                    <a:lstStyle/>
                    <a:p>
                      <a:r>
                        <a:rPr lang="en-US" sz="600" b="1" baseline="0" dirty="0">
                          <a:solidFill>
                            <a:srgbClr val="2E3192"/>
                          </a:solidFill>
                        </a:rPr>
                        <a:t>77</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26%</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3,841,468</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313,284</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092496804"/>
                  </a:ext>
                </a:extLst>
              </a:tr>
              <a:tr h="151245">
                <a:tc>
                  <a:txBody>
                    <a:bodyPr/>
                    <a:lstStyle/>
                    <a:p>
                      <a:r>
                        <a:rPr lang="en-US" sz="600" b="1" baseline="0" dirty="0">
                          <a:solidFill>
                            <a:srgbClr val="2E3192"/>
                          </a:solidFill>
                        </a:rPr>
                        <a:t>78</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15%</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3,265247</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116,291</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369675710"/>
                  </a:ext>
                </a:extLst>
              </a:tr>
              <a:tr h="151245">
                <a:tc>
                  <a:txBody>
                    <a:bodyPr/>
                    <a:lstStyle/>
                    <a:p>
                      <a:r>
                        <a:rPr lang="en-US" sz="600" b="1" baseline="0" dirty="0">
                          <a:solidFill>
                            <a:srgbClr val="2E3192"/>
                          </a:solidFill>
                        </a:rPr>
                        <a:t>79</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3,428,51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826,056</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4017134830"/>
                  </a:ext>
                </a:extLst>
              </a:tr>
              <a:tr h="151245">
                <a:tc>
                  <a:txBody>
                    <a:bodyPr/>
                    <a:lstStyle/>
                    <a:p>
                      <a:r>
                        <a:rPr lang="en-US" sz="600" b="1" baseline="0" dirty="0">
                          <a:solidFill>
                            <a:srgbClr val="2E3192"/>
                          </a:solidFill>
                        </a:rPr>
                        <a:t>8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14%</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3,908,501</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007,788</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4022933345"/>
                  </a:ext>
                </a:extLst>
              </a:tr>
              <a:tr h="151245">
                <a:tc>
                  <a:txBody>
                    <a:bodyPr/>
                    <a:lstStyle/>
                    <a:p>
                      <a:r>
                        <a:rPr lang="en-US" sz="600" b="1" baseline="0" dirty="0">
                          <a:solidFill>
                            <a:srgbClr val="2E3192"/>
                          </a:solidFill>
                        </a:rPr>
                        <a:t>81</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24%</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4,846,541</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239,579</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903545327"/>
                  </a:ext>
                </a:extLst>
              </a:tr>
              <a:tr h="151245">
                <a:tc>
                  <a:txBody>
                    <a:bodyPr/>
                    <a:lstStyle/>
                    <a:p>
                      <a:r>
                        <a:rPr lang="en-US" sz="600" b="1" baseline="0" dirty="0">
                          <a:solidFill>
                            <a:srgbClr val="2E3192"/>
                          </a:solidFill>
                        </a:rPr>
                        <a:t>82</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14%</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525,057</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437,912</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6554022"/>
                  </a:ext>
                </a:extLst>
              </a:tr>
              <a:tr h="151245">
                <a:tc>
                  <a:txBody>
                    <a:bodyPr/>
                    <a:lstStyle/>
                    <a:p>
                      <a:r>
                        <a:rPr lang="en-US" sz="600" b="1" baseline="0" dirty="0">
                          <a:solidFill>
                            <a:srgbClr val="2E3192"/>
                          </a:solidFill>
                        </a:rPr>
                        <a:t>83</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8%</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967,06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9%</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567,324</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222828809"/>
                  </a:ext>
                </a:extLst>
              </a:tr>
              <a:tr h="151245">
                <a:tc>
                  <a:txBody>
                    <a:bodyPr/>
                    <a:lstStyle/>
                    <a:p>
                      <a:r>
                        <a:rPr lang="en-US" sz="600" b="1" baseline="0" dirty="0">
                          <a:solidFill>
                            <a:srgbClr val="2E3192"/>
                          </a:solidFill>
                        </a:rPr>
                        <a:t>84</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16%</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012,33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927,808</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641472298"/>
                  </a:ext>
                </a:extLst>
              </a:tr>
              <a:tr h="151245">
                <a:tc>
                  <a:txBody>
                    <a:bodyPr/>
                    <a:lstStyle/>
                    <a:p>
                      <a:r>
                        <a:rPr lang="en-US" sz="600" b="1" baseline="0" dirty="0">
                          <a:solidFill>
                            <a:srgbClr val="2E3192"/>
                          </a:solidFill>
                        </a:rPr>
                        <a:t>85</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262,949</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9%</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294,092</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561951596"/>
                  </a:ext>
                </a:extLst>
              </a:tr>
              <a:tr h="151245">
                <a:tc>
                  <a:txBody>
                    <a:bodyPr/>
                    <a:lstStyle/>
                    <a:p>
                      <a:r>
                        <a:rPr lang="en-US" sz="600" b="1" baseline="0" dirty="0">
                          <a:solidFill>
                            <a:srgbClr val="2E3192"/>
                          </a:solidFill>
                        </a:rPr>
                        <a:t>86</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21%</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6,368,16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752,91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761836802"/>
                  </a:ext>
                </a:extLst>
              </a:tr>
              <a:tr h="151245">
                <a:tc>
                  <a:txBody>
                    <a:bodyPr/>
                    <a:lstStyle/>
                    <a:p>
                      <a:r>
                        <a:rPr lang="en-US" sz="600" b="1" baseline="0" dirty="0">
                          <a:solidFill>
                            <a:srgbClr val="2E3192"/>
                          </a:solidFill>
                        </a:rPr>
                        <a:t>87</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16%</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7,387,07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615,264</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083462795"/>
                  </a:ext>
                </a:extLst>
              </a:tr>
              <a:tr h="151245">
                <a:tc>
                  <a:txBody>
                    <a:bodyPr/>
                    <a:lstStyle/>
                    <a:p>
                      <a:r>
                        <a:rPr lang="en-US" sz="600" b="1" baseline="0" dirty="0">
                          <a:solidFill>
                            <a:srgbClr val="2E3192"/>
                          </a:solidFill>
                        </a:rPr>
                        <a:t>88</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10%</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6,648,367</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3,190,623</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137521250"/>
                  </a:ext>
                </a:extLst>
              </a:tr>
              <a:tr h="149007">
                <a:tc>
                  <a:txBody>
                    <a:bodyPr/>
                    <a:lstStyle/>
                    <a:p>
                      <a:r>
                        <a:rPr lang="en-US" sz="600" b="1" baseline="0" dirty="0">
                          <a:solidFill>
                            <a:srgbClr val="2E3192"/>
                          </a:solidFill>
                        </a:rPr>
                        <a:t>89</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14%</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717,59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4,083,997</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079910104"/>
                  </a:ext>
                </a:extLst>
              </a:tr>
              <a:tr h="151245">
                <a:tc>
                  <a:txBody>
                    <a:bodyPr/>
                    <a:lstStyle/>
                    <a:p>
                      <a:r>
                        <a:rPr lang="en-US" sz="600" b="1" baseline="0" dirty="0">
                          <a:solidFill>
                            <a:srgbClr val="2E3192"/>
                          </a:solidFill>
                        </a:rPr>
                        <a:t>9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25%</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4,288,197</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4,288,197</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629815868"/>
                  </a:ext>
                </a:extLst>
              </a:tr>
              <a:tr h="161424">
                <a:tc>
                  <a:txBody>
                    <a:bodyPr/>
                    <a:lstStyle/>
                    <a:p>
                      <a:r>
                        <a:rPr lang="en-US" sz="700" b="1" baseline="0" dirty="0">
                          <a:solidFill>
                            <a:schemeClr val="bg1"/>
                          </a:solidFill>
                        </a:rPr>
                        <a:t>Average Retur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solidFill>
                      <a:srgbClr val="75787B"/>
                    </a:solidFill>
                  </a:tcPr>
                </a:tc>
                <a:tc gridSpan="2">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700" b="1" baseline="0" dirty="0">
                          <a:solidFill>
                            <a:schemeClr val="bg1"/>
                          </a:solidFill>
                        </a:rPr>
                        <a:t>6.0%</a:t>
                      </a:r>
                    </a:p>
                  </a:txBody>
                  <a:tcPr marL="1097280">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rgbClr val="015F66"/>
                    </a:solidFill>
                  </a:tcPr>
                </a:tc>
                <a:tc hMerge="1">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gridSpan="2">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700" b="1" baseline="0" dirty="0">
                          <a:solidFill>
                            <a:schemeClr val="bg1"/>
                          </a:solidFill>
                        </a:rPr>
                        <a:t>6.0%</a:t>
                      </a:r>
                    </a:p>
                  </a:txBody>
                  <a:tcPr marL="1005840">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rgbClr val="2E3192"/>
                    </a:solidFill>
                  </a:tcPr>
                </a:tc>
                <a:tc hMerge="1">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600" b="0" baseline="0" dirty="0">
                        <a:solidFill>
                          <a:srgbClr val="002577"/>
                        </a:solidFill>
                      </a:endParaRP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691150968"/>
                  </a:ext>
                </a:extLst>
              </a:tr>
            </a:tbl>
          </a:graphicData>
        </a:graphic>
      </p:graphicFrame>
      <p:sp>
        <p:nvSpPr>
          <p:cNvPr id="33" name="Rectangle 32">
            <a:extLst>
              <a:ext uri="{FF2B5EF4-FFF2-40B4-BE49-F238E27FC236}">
                <a16:creationId xmlns:a16="http://schemas.microsoft.com/office/drawing/2014/main" id="{149A014C-D0A7-3745-97FA-94EA7D37E480}"/>
              </a:ext>
            </a:extLst>
          </p:cNvPr>
          <p:cNvSpPr>
            <a:spLocks noChangeArrowheads="1"/>
          </p:cNvSpPr>
          <p:nvPr/>
        </p:nvSpPr>
        <p:spPr bwMode="auto">
          <a:xfrm>
            <a:off x="1588345" y="808893"/>
            <a:ext cx="5586178" cy="263770"/>
          </a:xfrm>
          <a:prstGeom prst="rect">
            <a:avLst/>
          </a:prstGeom>
          <a:solidFill>
            <a:sysClr val="window" lastClr="FFFFFF">
              <a:alpha val="56078"/>
            </a:sysClr>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a:ln>
                <a:noFill/>
              </a:ln>
              <a:solidFill>
                <a:prstClr val="white"/>
              </a:solidFill>
              <a:effectLst/>
              <a:uLnTx/>
              <a:uFillTx/>
              <a:latin typeface="Arial" pitchFamily="34" charset="0"/>
              <a:ea typeface="MS PGothic" pitchFamily="34" charset="-128"/>
              <a:cs typeface="+mn-cs"/>
            </a:endParaRPr>
          </a:p>
        </p:txBody>
      </p:sp>
      <p:sp>
        <p:nvSpPr>
          <p:cNvPr id="34" name="Rectangle 33">
            <a:extLst>
              <a:ext uri="{FF2B5EF4-FFF2-40B4-BE49-F238E27FC236}">
                <a16:creationId xmlns:a16="http://schemas.microsoft.com/office/drawing/2014/main" id="{237B8EEF-20D7-B544-BB4D-324C82703C8C}"/>
              </a:ext>
            </a:extLst>
          </p:cNvPr>
          <p:cNvSpPr>
            <a:spLocks noChangeArrowheads="1"/>
          </p:cNvSpPr>
          <p:nvPr/>
        </p:nvSpPr>
        <p:spPr bwMode="auto">
          <a:xfrm>
            <a:off x="4228968" y="5726724"/>
            <a:ext cx="1195886" cy="263770"/>
          </a:xfrm>
          <a:prstGeom prst="rect">
            <a:avLst/>
          </a:prstGeom>
          <a:solidFill>
            <a:sysClr val="window" lastClr="FFFFFF">
              <a:alpha val="56078"/>
            </a:sysClr>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a:ln>
                <a:noFill/>
              </a:ln>
              <a:solidFill>
                <a:prstClr val="white"/>
              </a:solidFill>
              <a:effectLst/>
              <a:uLnTx/>
              <a:uFillTx/>
              <a:latin typeface="Arial" pitchFamily="34" charset="0"/>
              <a:ea typeface="MS PGothic" pitchFamily="34" charset="-128"/>
              <a:cs typeface="+mn-cs"/>
            </a:endParaRPr>
          </a:p>
        </p:txBody>
      </p:sp>
      <p:sp>
        <p:nvSpPr>
          <p:cNvPr id="37" name="Rectangle 36">
            <a:extLst>
              <a:ext uri="{FF2B5EF4-FFF2-40B4-BE49-F238E27FC236}">
                <a16:creationId xmlns:a16="http://schemas.microsoft.com/office/drawing/2014/main" id="{232F200B-EE7B-7447-A41C-2FBB8C29266A}"/>
              </a:ext>
            </a:extLst>
          </p:cNvPr>
          <p:cNvSpPr/>
          <p:nvPr/>
        </p:nvSpPr>
        <p:spPr bwMode="auto">
          <a:xfrm>
            <a:off x="1565031" y="6031523"/>
            <a:ext cx="5213837" cy="185315"/>
          </a:xfrm>
          <a:prstGeom prst="rect">
            <a:avLst/>
          </a:prstGeom>
          <a:noFill/>
          <a:ln w="25400">
            <a:solidFill>
              <a:srgbClr val="2E3192"/>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Arial" charset="0"/>
              <a:ea typeface="ＭＳ Ｐゴシック" charset="0"/>
              <a:cs typeface="+mn-cs"/>
            </a:endParaRPr>
          </a:p>
        </p:txBody>
      </p:sp>
      <p:grpSp>
        <p:nvGrpSpPr>
          <p:cNvPr id="6" name="Group 5">
            <a:extLst>
              <a:ext uri="{FF2B5EF4-FFF2-40B4-BE49-F238E27FC236}">
                <a16:creationId xmlns:a16="http://schemas.microsoft.com/office/drawing/2014/main" id="{15636960-4157-B046-8CBD-E606103E49AE}"/>
              </a:ext>
            </a:extLst>
          </p:cNvPr>
          <p:cNvGrpSpPr/>
          <p:nvPr/>
        </p:nvGrpSpPr>
        <p:grpSpPr>
          <a:xfrm>
            <a:off x="333977" y="802105"/>
            <a:ext cx="6559191" cy="5528358"/>
            <a:chOff x="333977" y="802105"/>
            <a:chExt cx="6559191" cy="5528358"/>
          </a:xfrm>
        </p:grpSpPr>
        <p:sp>
          <p:nvSpPr>
            <p:cNvPr id="31" name="Rectangle 30">
              <a:extLst>
                <a:ext uri="{FF2B5EF4-FFF2-40B4-BE49-F238E27FC236}">
                  <a16:creationId xmlns:a16="http://schemas.microsoft.com/office/drawing/2014/main" id="{826DCF4F-3083-374D-A19D-72DED0797D0F}"/>
                </a:ext>
              </a:extLst>
            </p:cNvPr>
            <p:cNvSpPr>
              <a:spLocks noChangeArrowheads="1"/>
            </p:cNvSpPr>
            <p:nvPr/>
          </p:nvSpPr>
          <p:spPr bwMode="auto">
            <a:xfrm>
              <a:off x="333977" y="802105"/>
              <a:ext cx="1248638" cy="5528358"/>
            </a:xfrm>
            <a:prstGeom prst="rect">
              <a:avLst/>
            </a:prstGeom>
            <a:solidFill>
              <a:sysClr val="window" lastClr="FFFFFF">
                <a:alpha val="56078"/>
              </a:sysClr>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a:ln>
                  <a:noFill/>
                </a:ln>
                <a:solidFill>
                  <a:prstClr val="white"/>
                </a:solidFill>
                <a:effectLst/>
                <a:uLnTx/>
                <a:uFillTx/>
                <a:latin typeface="Arial" pitchFamily="34" charset="0"/>
                <a:ea typeface="MS PGothic" pitchFamily="34" charset="-128"/>
                <a:cs typeface="+mn-cs"/>
              </a:endParaRPr>
            </a:p>
          </p:txBody>
        </p:sp>
        <p:sp>
          <p:nvSpPr>
            <p:cNvPr id="32" name="Rectangle 31">
              <a:extLst>
                <a:ext uri="{FF2B5EF4-FFF2-40B4-BE49-F238E27FC236}">
                  <a16:creationId xmlns:a16="http://schemas.microsoft.com/office/drawing/2014/main" id="{57B65640-436F-4943-8140-4B8CE5FBD5BC}"/>
                </a:ext>
              </a:extLst>
            </p:cNvPr>
            <p:cNvSpPr>
              <a:spLocks noChangeArrowheads="1"/>
            </p:cNvSpPr>
            <p:nvPr/>
          </p:nvSpPr>
          <p:spPr bwMode="auto">
            <a:xfrm>
              <a:off x="2913053" y="1060157"/>
              <a:ext cx="3980115" cy="4733973"/>
            </a:xfrm>
            <a:prstGeom prst="rect">
              <a:avLst/>
            </a:prstGeom>
            <a:solidFill>
              <a:sysClr val="window" lastClr="FFFFFF">
                <a:alpha val="56078"/>
              </a:sysClr>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a:ln>
                  <a:noFill/>
                </a:ln>
                <a:solidFill>
                  <a:prstClr val="white"/>
                </a:solidFill>
                <a:effectLst/>
                <a:uLnTx/>
                <a:uFillTx/>
                <a:latin typeface="Arial" pitchFamily="34" charset="0"/>
                <a:ea typeface="MS PGothic" pitchFamily="34" charset="-128"/>
                <a:cs typeface="+mn-cs"/>
              </a:endParaRPr>
            </a:p>
          </p:txBody>
        </p:sp>
        <p:sp>
          <p:nvSpPr>
            <p:cNvPr id="35" name="Rectangle 34">
              <a:extLst>
                <a:ext uri="{FF2B5EF4-FFF2-40B4-BE49-F238E27FC236}">
                  <a16:creationId xmlns:a16="http://schemas.microsoft.com/office/drawing/2014/main" id="{D50CDD13-5775-3A41-B6C7-EB9E98523940}"/>
                </a:ext>
              </a:extLst>
            </p:cNvPr>
            <p:cNvSpPr/>
            <p:nvPr/>
          </p:nvSpPr>
          <p:spPr bwMode="auto">
            <a:xfrm>
              <a:off x="1572224" y="1072662"/>
              <a:ext cx="1329238" cy="4958861"/>
            </a:xfrm>
            <a:prstGeom prst="rect">
              <a:avLst/>
            </a:prstGeom>
            <a:noFill/>
            <a:ln w="25400">
              <a:solidFill>
                <a:srgbClr val="2E3192"/>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Arial" charset="0"/>
                <a:ea typeface="ＭＳ Ｐゴシック" charset="0"/>
                <a:cs typeface="+mn-cs"/>
              </a:endParaRPr>
            </a:p>
          </p:txBody>
        </p:sp>
        <p:sp>
          <p:nvSpPr>
            <p:cNvPr id="38" name="Rectangle 37">
              <a:extLst>
                <a:ext uri="{FF2B5EF4-FFF2-40B4-BE49-F238E27FC236}">
                  <a16:creationId xmlns:a16="http://schemas.microsoft.com/office/drawing/2014/main" id="{BA158BF1-56D1-1944-95D0-A009B2D96737}"/>
                </a:ext>
              </a:extLst>
            </p:cNvPr>
            <p:cNvSpPr/>
            <p:nvPr/>
          </p:nvSpPr>
          <p:spPr bwMode="auto">
            <a:xfrm>
              <a:off x="2900108" y="5837641"/>
              <a:ext cx="1336431" cy="185315"/>
            </a:xfrm>
            <a:prstGeom prst="rect">
              <a:avLst/>
            </a:prstGeom>
            <a:noFill/>
            <a:ln w="25400">
              <a:solidFill>
                <a:srgbClr val="2E3192"/>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Arial" charset="0"/>
                <a:ea typeface="ＭＳ Ｐゴシック" charset="0"/>
                <a:cs typeface="+mn-cs"/>
              </a:endParaRPr>
            </a:p>
          </p:txBody>
        </p:sp>
        <p:sp>
          <p:nvSpPr>
            <p:cNvPr id="39" name="Rectangle 38">
              <a:extLst>
                <a:ext uri="{FF2B5EF4-FFF2-40B4-BE49-F238E27FC236}">
                  <a16:creationId xmlns:a16="http://schemas.microsoft.com/office/drawing/2014/main" id="{90CA2C45-9C1D-B747-BD50-BBC904AD45EC}"/>
                </a:ext>
              </a:extLst>
            </p:cNvPr>
            <p:cNvSpPr/>
            <p:nvPr/>
          </p:nvSpPr>
          <p:spPr bwMode="auto">
            <a:xfrm>
              <a:off x="5444016" y="5838543"/>
              <a:ext cx="1336431" cy="185315"/>
            </a:xfrm>
            <a:prstGeom prst="rect">
              <a:avLst/>
            </a:prstGeom>
            <a:noFill/>
            <a:ln w="25400">
              <a:solidFill>
                <a:srgbClr val="2E3192"/>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Arial" charset="0"/>
                <a:ea typeface="ＭＳ Ｐゴシック" charset="0"/>
                <a:cs typeface="+mn-cs"/>
              </a:endParaRPr>
            </a:p>
          </p:txBody>
        </p:sp>
      </p:grpSp>
    </p:spTree>
    <p:extLst>
      <p:ext uri="{BB962C8B-B14F-4D97-AF65-F5344CB8AC3E}">
        <p14:creationId xmlns:p14="http://schemas.microsoft.com/office/powerpoint/2010/main" val="20277055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37</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68317"/>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8594700"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Retirement Challenges: Volatility</a:t>
            </a:r>
          </a:p>
        </p:txBody>
      </p:sp>
      <p:sp>
        <p:nvSpPr>
          <p:cNvPr id="19" name="Title 16">
            <a:extLst>
              <a:ext uri="{FF2B5EF4-FFF2-40B4-BE49-F238E27FC236}">
                <a16:creationId xmlns:a16="http://schemas.microsoft.com/office/drawing/2014/main" id="{EA818B84-4D21-104B-8CD1-A8ABEEC68987}"/>
              </a:ext>
            </a:extLst>
          </p:cNvPr>
          <p:cNvSpPr txBox="1">
            <a:spLocks/>
          </p:cNvSpPr>
          <p:nvPr/>
        </p:nvSpPr>
        <p:spPr>
          <a:xfrm>
            <a:off x="6883714" y="2075819"/>
            <a:ext cx="2074863" cy="467255"/>
          </a:xfrm>
          <a:prstGeom prst="rect">
            <a:avLst/>
          </a:prstGeom>
        </p:spPr>
        <p:style>
          <a:lnRef idx="0">
            <a:scrgbClr r="0" g="0" b="0"/>
          </a:lnRef>
          <a:fillRef idx="0">
            <a:scrgbClr r="0" g="0" b="0"/>
          </a:fillRef>
          <a:effectRef idx="0">
            <a:scrgbClr r="0" g="0" b="0"/>
          </a:effectRef>
          <a:fontRef idx="major"/>
        </p:style>
        <p:txBody>
          <a:bodyPr anchor="t">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nSpc>
                <a:spcPct val="100000"/>
              </a:lnSpc>
              <a:spcBef>
                <a:spcPts val="0"/>
              </a:spcBef>
            </a:pPr>
            <a:r>
              <a:rPr lang="en-US" sz="1000" b="0" dirty="0">
                <a:solidFill>
                  <a:srgbClr val="75787B"/>
                </a:solidFill>
                <a:latin typeface="Segoe UI" panose="020B0502040204020203" pitchFamily="34" charset="0"/>
                <a:ea typeface="Segoe UI" panose="020B0502040204020203" pitchFamily="34" charset="0"/>
                <a:cs typeface="Segoe UI" panose="020B0502040204020203" pitchFamily="34" charset="0"/>
              </a:rPr>
              <a:t>This example is a hypothetical intended for illustrative purposes only and is not indicative of the actual performance of any particular product. These figures are are not intended to represent the performance of any specific investment, insurance contract, or other financial product. This example does not take into account the impact of any fees or taxes.</a:t>
            </a:r>
            <a:endParaRPr lang="en-US" sz="1000" b="0" dirty="0">
              <a:solidFill>
                <a:srgbClr val="75787B"/>
              </a:solidFill>
            </a:endParaRPr>
          </a:p>
        </p:txBody>
      </p:sp>
      <p:sp>
        <p:nvSpPr>
          <p:cNvPr id="21" name="TextBox 2">
            <a:extLst>
              <a:ext uri="{FF2B5EF4-FFF2-40B4-BE49-F238E27FC236}">
                <a16:creationId xmlns:a16="http://schemas.microsoft.com/office/drawing/2014/main" id="{0CD997F3-1F7B-8047-BA38-6F326FFE5E83}"/>
              </a:ext>
            </a:extLst>
          </p:cNvPr>
          <p:cNvSpPr txBox="1"/>
          <p:nvPr/>
        </p:nvSpPr>
        <p:spPr>
          <a:xfrm>
            <a:off x="10169719" y="2215750"/>
            <a:ext cx="107955" cy="586089"/>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endParaRPr lang="en-US" sz="6500" b="1" dirty="0">
              <a:solidFill>
                <a:schemeClr val="bg1"/>
              </a:solidFill>
              <a:latin typeface="Helvetica" pitchFamily="2" charset="0"/>
            </a:endParaRPr>
          </a:p>
        </p:txBody>
      </p:sp>
      <p:sp>
        <p:nvSpPr>
          <p:cNvPr id="22" name="Rectangle 21">
            <a:extLst>
              <a:ext uri="{FF2B5EF4-FFF2-40B4-BE49-F238E27FC236}">
                <a16:creationId xmlns:a16="http://schemas.microsoft.com/office/drawing/2014/main" id="{A0033DDC-BD76-1047-990B-82B153B7C793}"/>
              </a:ext>
            </a:extLst>
          </p:cNvPr>
          <p:cNvSpPr>
            <a:spLocks noChangeArrowheads="1"/>
          </p:cNvSpPr>
          <p:nvPr/>
        </p:nvSpPr>
        <p:spPr bwMode="auto">
          <a:xfrm>
            <a:off x="3615186" y="859978"/>
            <a:ext cx="4444938" cy="280507"/>
          </a:xfrm>
          <a:prstGeom prst="rect">
            <a:avLst/>
          </a:prstGeom>
          <a:solidFill>
            <a:sysClr val="window" lastClr="FFFFFF">
              <a:alpha val="56078"/>
            </a:sysClr>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a:ln>
                <a:noFill/>
              </a:ln>
              <a:solidFill>
                <a:prstClr val="white"/>
              </a:solidFill>
              <a:effectLst/>
              <a:uLnTx/>
              <a:uFillTx/>
              <a:latin typeface="Arial" pitchFamily="34" charset="0"/>
              <a:ea typeface="MS PGothic" pitchFamily="34" charset="-128"/>
              <a:cs typeface="+mn-cs"/>
            </a:endParaRPr>
          </a:p>
        </p:txBody>
      </p:sp>
      <p:sp>
        <p:nvSpPr>
          <p:cNvPr id="23" name="Rectangle 22">
            <a:extLst>
              <a:ext uri="{FF2B5EF4-FFF2-40B4-BE49-F238E27FC236}">
                <a16:creationId xmlns:a16="http://schemas.microsoft.com/office/drawing/2014/main" id="{D4BBDF5C-B5DF-374A-AC6F-5D1C7B5EFC2E}"/>
              </a:ext>
            </a:extLst>
          </p:cNvPr>
          <p:cNvSpPr>
            <a:spLocks noChangeArrowheads="1"/>
          </p:cNvSpPr>
          <p:nvPr/>
        </p:nvSpPr>
        <p:spPr bwMode="auto">
          <a:xfrm>
            <a:off x="1030713" y="737302"/>
            <a:ext cx="1202319" cy="149497"/>
          </a:xfrm>
          <a:prstGeom prst="rect">
            <a:avLst/>
          </a:prstGeom>
          <a:solidFill>
            <a:sysClr val="window" lastClr="FFFFFF">
              <a:alpha val="56078"/>
            </a:sysClr>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a:ln>
                <a:noFill/>
              </a:ln>
              <a:solidFill>
                <a:prstClr val="white"/>
              </a:solidFill>
              <a:effectLst/>
              <a:uLnTx/>
              <a:uFillTx/>
              <a:latin typeface="Arial" pitchFamily="34" charset="0"/>
              <a:ea typeface="MS PGothic" pitchFamily="34" charset="-128"/>
              <a:cs typeface="+mn-cs"/>
            </a:endParaRPr>
          </a:p>
        </p:txBody>
      </p:sp>
      <p:sp>
        <p:nvSpPr>
          <p:cNvPr id="24" name="Rectangle 23">
            <a:extLst>
              <a:ext uri="{FF2B5EF4-FFF2-40B4-BE49-F238E27FC236}">
                <a16:creationId xmlns:a16="http://schemas.microsoft.com/office/drawing/2014/main" id="{987A6B39-8E51-EA49-BD2C-7565F5D6DC79}"/>
              </a:ext>
            </a:extLst>
          </p:cNvPr>
          <p:cNvSpPr>
            <a:spLocks noChangeArrowheads="1"/>
          </p:cNvSpPr>
          <p:nvPr/>
        </p:nvSpPr>
        <p:spPr bwMode="auto">
          <a:xfrm>
            <a:off x="4704768" y="6504923"/>
            <a:ext cx="1374032" cy="143871"/>
          </a:xfrm>
          <a:prstGeom prst="rect">
            <a:avLst/>
          </a:prstGeom>
          <a:solidFill>
            <a:sysClr val="window" lastClr="FFFFFF">
              <a:alpha val="56078"/>
            </a:sysClr>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a:ln>
                <a:noFill/>
              </a:ln>
              <a:solidFill>
                <a:prstClr val="white"/>
              </a:solidFill>
              <a:effectLst/>
              <a:uLnTx/>
              <a:uFillTx/>
              <a:latin typeface="Arial" pitchFamily="34" charset="0"/>
              <a:ea typeface="MS PGothic" pitchFamily="34" charset="-128"/>
              <a:cs typeface="+mn-cs"/>
            </a:endParaRPr>
          </a:p>
        </p:txBody>
      </p:sp>
      <p:sp>
        <p:nvSpPr>
          <p:cNvPr id="33" name="Rectangle 32">
            <a:extLst>
              <a:ext uri="{FF2B5EF4-FFF2-40B4-BE49-F238E27FC236}">
                <a16:creationId xmlns:a16="http://schemas.microsoft.com/office/drawing/2014/main" id="{149A014C-D0A7-3745-97FA-94EA7D37E480}"/>
              </a:ext>
            </a:extLst>
          </p:cNvPr>
          <p:cNvSpPr>
            <a:spLocks noChangeArrowheads="1"/>
          </p:cNvSpPr>
          <p:nvPr/>
        </p:nvSpPr>
        <p:spPr bwMode="auto">
          <a:xfrm>
            <a:off x="1588345" y="808893"/>
            <a:ext cx="5586178" cy="263770"/>
          </a:xfrm>
          <a:prstGeom prst="rect">
            <a:avLst/>
          </a:prstGeom>
          <a:solidFill>
            <a:sysClr val="window" lastClr="FFFFFF">
              <a:alpha val="56078"/>
            </a:sysClr>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a:ln>
                <a:noFill/>
              </a:ln>
              <a:solidFill>
                <a:prstClr val="white"/>
              </a:solidFill>
              <a:effectLst/>
              <a:uLnTx/>
              <a:uFillTx/>
              <a:latin typeface="Arial" pitchFamily="34" charset="0"/>
              <a:ea typeface="MS PGothic" pitchFamily="34" charset="-128"/>
              <a:cs typeface="+mn-cs"/>
            </a:endParaRPr>
          </a:p>
        </p:txBody>
      </p:sp>
      <p:graphicFrame>
        <p:nvGraphicFramePr>
          <p:cNvPr id="26" name="Table 25">
            <a:extLst>
              <a:ext uri="{FF2B5EF4-FFF2-40B4-BE49-F238E27FC236}">
                <a16:creationId xmlns:a16="http://schemas.microsoft.com/office/drawing/2014/main" id="{4292EBAD-B30F-244F-908D-EDE60E9BDBA5}"/>
              </a:ext>
            </a:extLst>
          </p:cNvPr>
          <p:cNvGraphicFramePr>
            <a:graphicFrameLocks noGrp="1"/>
          </p:cNvGraphicFramePr>
          <p:nvPr>
            <p:extLst>
              <p:ext uri="{D42A27DB-BD31-4B8C-83A1-F6EECF244321}">
                <p14:modId xmlns:p14="http://schemas.microsoft.com/office/powerpoint/2010/main" val="2441757464"/>
              </p:ext>
            </p:extLst>
          </p:nvPr>
        </p:nvGraphicFramePr>
        <p:xfrm>
          <a:off x="425113" y="810745"/>
          <a:ext cx="6408825" cy="5455920"/>
        </p:xfrm>
        <a:graphic>
          <a:graphicData uri="http://schemas.openxmlformats.org/drawingml/2006/table">
            <a:tbl>
              <a:tblPr bandRow="1">
                <a:tableStyleId>{5C22544A-7EE6-4342-B048-85BDC9FD1C3A}</a:tableStyleId>
              </a:tblPr>
              <a:tblGrid>
                <a:gridCol w="770024">
                  <a:extLst>
                    <a:ext uri="{9D8B030D-6E8A-4147-A177-3AD203B41FA5}">
                      <a16:colId xmlns:a16="http://schemas.microsoft.com/office/drawing/2014/main" val="3107662515"/>
                    </a:ext>
                  </a:extLst>
                </a:gridCol>
                <a:gridCol w="989539">
                  <a:extLst>
                    <a:ext uri="{9D8B030D-6E8A-4147-A177-3AD203B41FA5}">
                      <a16:colId xmlns:a16="http://schemas.microsoft.com/office/drawing/2014/main" val="2029780106"/>
                    </a:ext>
                  </a:extLst>
                </a:gridCol>
                <a:gridCol w="815198">
                  <a:extLst>
                    <a:ext uri="{9D8B030D-6E8A-4147-A177-3AD203B41FA5}">
                      <a16:colId xmlns:a16="http://schemas.microsoft.com/office/drawing/2014/main" val="3126446710"/>
                    </a:ext>
                  </a:extLst>
                </a:gridCol>
                <a:gridCol w="914400">
                  <a:extLst>
                    <a:ext uri="{9D8B030D-6E8A-4147-A177-3AD203B41FA5}">
                      <a16:colId xmlns:a16="http://schemas.microsoft.com/office/drawing/2014/main" val="3142131442"/>
                    </a:ext>
                  </a:extLst>
                </a:gridCol>
                <a:gridCol w="938463">
                  <a:extLst>
                    <a:ext uri="{9D8B030D-6E8A-4147-A177-3AD203B41FA5}">
                      <a16:colId xmlns:a16="http://schemas.microsoft.com/office/drawing/2014/main" val="231373207"/>
                    </a:ext>
                  </a:extLst>
                </a:gridCol>
                <a:gridCol w="826168">
                  <a:extLst>
                    <a:ext uri="{9D8B030D-6E8A-4147-A177-3AD203B41FA5}">
                      <a16:colId xmlns:a16="http://schemas.microsoft.com/office/drawing/2014/main" val="1700464542"/>
                    </a:ext>
                  </a:extLst>
                </a:gridCol>
                <a:gridCol w="1155033">
                  <a:extLst>
                    <a:ext uri="{9D8B030D-6E8A-4147-A177-3AD203B41FA5}">
                      <a16:colId xmlns:a16="http://schemas.microsoft.com/office/drawing/2014/main" val="651960660"/>
                    </a:ext>
                  </a:extLst>
                </a:gridCol>
              </a:tblGrid>
              <a:tr h="194029">
                <a:tc rowSpan="2">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700" b="0" baseline="0" dirty="0">
                          <a:solidFill>
                            <a:schemeClr val="bg1"/>
                          </a:solidFill>
                          <a:latin typeface="Segoe UI" panose="020B0502040204020203" pitchFamily="34" charset="0"/>
                          <a:ea typeface="Segoe UI" panose="020B0502040204020203" pitchFamily="34" charset="0"/>
                          <a:cs typeface="Segoe UI" panose="020B0502040204020203" pitchFamily="34" charset="0"/>
                        </a:rPr>
                        <a:t>Age</a:t>
                      </a:r>
                      <a:endParaRPr lang="en-US" sz="700" b="0" baseline="0" dirty="0">
                        <a:solidFill>
                          <a:schemeClr val="bg1"/>
                        </a:solidFill>
                      </a:endParaRPr>
                    </a:p>
                  </a:txBody>
                  <a:tcPr anchor="b">
                    <a:lnL w="9525" cap="flat" cmpd="sng" algn="ctr">
                      <a:solidFill>
                        <a:srgbClr val="75787B"/>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75787B"/>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577"/>
                    </a:solidFill>
                  </a:tcPr>
                </a:tc>
                <a:tc gridSpan="3">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700" b="1" baseline="0" dirty="0">
                          <a:solidFill>
                            <a:schemeClr val="bg1"/>
                          </a:solidFill>
                        </a:rPr>
                        <a:t>“ Up” Market — Mr. Green</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75787B"/>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15F66"/>
                    </a:solidFill>
                  </a:tcPr>
                </a:tc>
                <a:tc hMerge="1">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000" b="1" baseline="0" dirty="0">
                        <a:solidFill>
                          <a:schemeClr val="bg1"/>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75787B"/>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15F66"/>
                    </a:solidFill>
                  </a:tcPr>
                </a:tc>
                <a:tc hMerge="1">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200" b="0" baseline="0" dirty="0">
                        <a:solidFill>
                          <a:schemeClr val="bg1"/>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75787B"/>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577"/>
                    </a:solidFill>
                  </a:tcPr>
                </a:tc>
                <a:tc gridSpan="3">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700" b="1" baseline="0" dirty="0">
                          <a:solidFill>
                            <a:schemeClr val="bg1"/>
                          </a:solidFill>
                        </a:rPr>
                        <a:t>“ Down” Market — Mr. Blue</a:t>
                      </a:r>
                    </a:p>
                  </a:txBody>
                  <a:tcPr>
                    <a:lnL w="9525" cap="flat" cmpd="sng" algn="ctr">
                      <a:solidFill>
                        <a:schemeClr val="bg1"/>
                      </a:solidFill>
                      <a:prstDash val="solid"/>
                      <a:round/>
                      <a:headEnd type="none" w="med" len="med"/>
                      <a:tailEnd type="none" w="med" len="med"/>
                    </a:lnL>
                    <a:lnR w="9525" cap="flat" cmpd="sng" algn="ctr">
                      <a:solidFill>
                        <a:srgbClr val="75787B"/>
                      </a:solidFill>
                      <a:prstDash val="solid"/>
                      <a:round/>
                      <a:headEnd type="none" w="med" len="med"/>
                      <a:tailEnd type="none" w="med" len="med"/>
                    </a:lnR>
                    <a:lnT w="9525" cap="flat" cmpd="sng" algn="ctr">
                      <a:solidFill>
                        <a:srgbClr val="75787B"/>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577"/>
                    </a:solidFill>
                  </a:tcPr>
                </a:tc>
                <a:tc hMerge="1">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000" b="1" baseline="0" dirty="0">
                        <a:solidFill>
                          <a:schemeClr val="bg1"/>
                        </a:solidFill>
                      </a:endParaRPr>
                    </a:p>
                  </a:txBody>
                  <a:tcPr>
                    <a:lnL w="9525" cap="flat" cmpd="sng" algn="ctr">
                      <a:solidFill>
                        <a:schemeClr val="bg1"/>
                      </a:solidFill>
                      <a:prstDash val="solid"/>
                      <a:round/>
                      <a:headEnd type="none" w="med" len="med"/>
                      <a:tailEnd type="none" w="med" len="med"/>
                    </a:lnL>
                    <a:lnR w="9525" cap="flat" cmpd="sng" algn="ctr">
                      <a:solidFill>
                        <a:srgbClr val="75787B"/>
                      </a:solidFill>
                      <a:prstDash val="solid"/>
                      <a:round/>
                      <a:headEnd type="none" w="med" len="med"/>
                      <a:tailEnd type="none" w="med" len="med"/>
                    </a:lnR>
                    <a:lnT w="9525" cap="flat" cmpd="sng" algn="ctr">
                      <a:solidFill>
                        <a:srgbClr val="75787B"/>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577"/>
                    </a:solidFill>
                  </a:tcPr>
                </a:tc>
                <a:tc hMerge="1">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200" b="0" baseline="0" dirty="0">
                        <a:solidFill>
                          <a:schemeClr val="bg1"/>
                        </a:solidFill>
                      </a:endParaRPr>
                    </a:p>
                  </a:txBody>
                  <a:tcPr>
                    <a:lnL w="9525" cap="flat" cmpd="sng" algn="ctr">
                      <a:solidFill>
                        <a:schemeClr val="bg1"/>
                      </a:solidFill>
                      <a:prstDash val="solid"/>
                      <a:round/>
                      <a:headEnd type="none" w="med" len="med"/>
                      <a:tailEnd type="none" w="med" len="med"/>
                    </a:lnL>
                    <a:lnR w="9525" cap="flat" cmpd="sng" algn="ctr">
                      <a:solidFill>
                        <a:srgbClr val="75787B"/>
                      </a:solidFill>
                      <a:prstDash val="solid"/>
                      <a:round/>
                      <a:headEnd type="none" w="med" len="med"/>
                      <a:tailEnd type="none" w="med" len="med"/>
                    </a:lnR>
                    <a:lnT w="9525" cap="flat" cmpd="sng" algn="ctr">
                      <a:solidFill>
                        <a:srgbClr val="75787B"/>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577"/>
                    </a:solidFill>
                  </a:tcPr>
                </a:tc>
                <a:extLst>
                  <a:ext uri="{0D108BD9-81ED-4DB2-BD59-A6C34878D82A}">
                    <a16:rowId xmlns:a16="http://schemas.microsoft.com/office/drawing/2014/main" val="3144960856"/>
                  </a:ext>
                </a:extLst>
              </a:tr>
              <a:tr h="194029">
                <a:tc vMerge="1">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100" b="0" baseline="0" dirty="0">
                        <a:solidFill>
                          <a:schemeClr val="bg1"/>
                        </a:solidFill>
                      </a:endParaRPr>
                    </a:p>
                  </a:txBody>
                  <a:tcPr>
                    <a:lnL w="9525" cap="flat" cmpd="sng" algn="ctr">
                      <a:solidFill>
                        <a:srgbClr val="75787B"/>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577"/>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700" b="1" baseline="0" dirty="0">
                          <a:solidFill>
                            <a:schemeClr val="bg1"/>
                          </a:solidFill>
                        </a:rPr>
                        <a:t>5% Annual Withdrawals</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15F66"/>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700" b="0" baseline="0" dirty="0">
                          <a:solidFill>
                            <a:schemeClr val="bg1"/>
                          </a:solidFill>
                        </a:rPr>
                        <a:t>Annual Return</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15F66"/>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700" b="0" baseline="0" dirty="0">
                          <a:solidFill>
                            <a:schemeClr val="bg1"/>
                          </a:solidFill>
                        </a:rPr>
                        <a:t>Year End Value</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15F66"/>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700" b="1" baseline="0" dirty="0">
                          <a:solidFill>
                            <a:schemeClr val="bg1"/>
                          </a:solidFill>
                        </a:rPr>
                        <a:t>5% Annual Withdrawals</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577"/>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700" b="0" baseline="0" dirty="0">
                          <a:solidFill>
                            <a:schemeClr val="bg1"/>
                          </a:solidFill>
                        </a:rPr>
                        <a:t>Annual Return</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577"/>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700" b="0" baseline="0" dirty="0">
                          <a:solidFill>
                            <a:schemeClr val="bg1"/>
                          </a:solidFill>
                        </a:rPr>
                        <a:t>Year End Value</a:t>
                      </a:r>
                    </a:p>
                  </a:txBody>
                  <a:tcPr>
                    <a:lnL w="9525" cap="flat" cmpd="sng" algn="ctr">
                      <a:solidFill>
                        <a:schemeClr val="bg1"/>
                      </a:solidFill>
                      <a:prstDash val="solid"/>
                      <a:round/>
                      <a:headEnd type="none" w="med" len="med"/>
                      <a:tailEnd type="none" w="med" len="med"/>
                    </a:lnL>
                    <a:lnR w="9525" cap="flat" cmpd="sng" algn="ctr">
                      <a:solidFill>
                        <a:srgbClr val="75787B"/>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577"/>
                    </a:solidFill>
                  </a:tcPr>
                </a:tc>
                <a:extLst>
                  <a:ext uri="{0D108BD9-81ED-4DB2-BD59-A6C34878D82A}">
                    <a16:rowId xmlns:a16="http://schemas.microsoft.com/office/drawing/2014/main" val="3522260469"/>
                  </a:ext>
                </a:extLst>
              </a:tr>
              <a:tr h="179104">
                <a:tc>
                  <a:txBody>
                    <a:bodyPr/>
                    <a:lstStyle/>
                    <a:p>
                      <a:r>
                        <a:rPr lang="en-US" sz="600" b="1" baseline="0" dirty="0">
                          <a:solidFill>
                            <a:srgbClr val="2E3192"/>
                          </a:solidFill>
                          <a:latin typeface="Segoe UI" panose="020B0502040204020203" pitchFamily="34" charset="0"/>
                          <a:ea typeface="Segoe UI" panose="020B0502040204020203" pitchFamily="34" charset="0"/>
                          <a:cs typeface="Segoe UI" panose="020B0502040204020203" pitchFamily="34" charset="0"/>
                        </a:rPr>
                        <a:t>6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endParaRPr lang="en-US" sz="600" b="1"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endParaRPr lang="en-US" sz="600" b="1"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000,000</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rPr>
                        <a:t>$1,00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95232744"/>
                  </a:ext>
                </a:extLst>
              </a:tr>
              <a:tr h="182584">
                <a:tc>
                  <a:txBody>
                    <a:bodyPr/>
                    <a:lstStyle/>
                    <a:p>
                      <a:r>
                        <a:rPr lang="en-US" sz="600" b="1" baseline="0" dirty="0">
                          <a:solidFill>
                            <a:srgbClr val="2E3192"/>
                          </a:solidFill>
                          <a:latin typeface="Segoe UI" panose="020B0502040204020203" pitchFamily="34" charset="0"/>
                          <a:ea typeface="Segoe UI" panose="020B0502040204020203" pitchFamily="34" charset="0"/>
                          <a:cs typeface="Segoe UI" panose="020B0502040204020203" pitchFamily="34" charset="0"/>
                        </a:rPr>
                        <a:t>66</a:t>
                      </a:r>
                      <a:endParaRPr lang="en-US" sz="600" b="1" baseline="0" dirty="0">
                        <a:solidFill>
                          <a:srgbClr val="2E3192"/>
                        </a:solidFill>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5%</a:t>
                      </a:r>
                      <a:endParaRPr lang="en-US" sz="600" b="0" baseline="0" dirty="0">
                        <a:solidFill>
                          <a:srgbClr val="002577"/>
                        </a:solidFill>
                      </a:endParaRP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050,000</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700,000</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16416727"/>
                  </a:ext>
                </a:extLst>
              </a:tr>
              <a:tr h="182584">
                <a:tc>
                  <a:txBody>
                    <a:bodyPr/>
                    <a:lstStyle/>
                    <a:p>
                      <a:r>
                        <a:rPr lang="en-US" sz="600" b="1" baseline="0" dirty="0">
                          <a:solidFill>
                            <a:srgbClr val="2E3192"/>
                          </a:solidFill>
                        </a:rPr>
                        <a:t>67</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8%</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230,000</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52,00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896637364"/>
                  </a:ext>
                </a:extLst>
              </a:tr>
              <a:tr h="182584">
                <a:tc>
                  <a:txBody>
                    <a:bodyPr/>
                    <a:lstStyle/>
                    <a:p>
                      <a:r>
                        <a:rPr lang="en-US" sz="600" b="1" baseline="0" dirty="0">
                          <a:solidFill>
                            <a:srgbClr val="2E3192"/>
                          </a:solidFill>
                        </a:rPr>
                        <a:t>68</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2%</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450,600</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446,80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494474216"/>
                  </a:ext>
                </a:extLst>
              </a:tr>
              <a:tr h="182584">
                <a:tc>
                  <a:txBody>
                    <a:bodyPr/>
                    <a:lstStyle/>
                    <a:p>
                      <a:r>
                        <a:rPr lang="en-US" sz="600" b="1" baseline="0" dirty="0">
                          <a:solidFill>
                            <a:srgbClr val="2E3192"/>
                          </a:solidFill>
                        </a:rPr>
                        <a:t>69</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328,070</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468,288</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009795343"/>
                  </a:ext>
                </a:extLst>
              </a:tr>
              <a:tr h="182584">
                <a:tc>
                  <a:txBody>
                    <a:bodyPr/>
                    <a:lstStyle/>
                    <a:p>
                      <a:r>
                        <a:rPr lang="en-US" sz="600" b="1" baseline="0" dirty="0">
                          <a:solidFill>
                            <a:srgbClr val="2E3192"/>
                          </a:solidFill>
                        </a:rPr>
                        <a:t>7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0%</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543,684</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1%</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16,628</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056201988"/>
                  </a:ext>
                </a:extLst>
              </a:tr>
              <a:tr h="182584">
                <a:tc>
                  <a:txBody>
                    <a:bodyPr/>
                    <a:lstStyle/>
                    <a:p>
                      <a:r>
                        <a:rPr lang="en-US" sz="600" b="1" baseline="0" dirty="0">
                          <a:solidFill>
                            <a:srgbClr val="2E3192"/>
                          </a:solidFill>
                        </a:rPr>
                        <a:t>71</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9%</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1,786,984</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492,46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661135030"/>
                  </a:ext>
                </a:extLst>
              </a:tr>
              <a:tr h="182584">
                <a:tc>
                  <a:txBody>
                    <a:bodyPr/>
                    <a:lstStyle/>
                    <a:p>
                      <a:r>
                        <a:rPr lang="en-US" sz="600" b="1" baseline="0" dirty="0">
                          <a:solidFill>
                            <a:srgbClr val="2E3192"/>
                          </a:solidFill>
                        </a:rPr>
                        <a:t>72</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3%</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2,147,990</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363,666</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882915187"/>
                  </a:ext>
                </a:extLst>
              </a:tr>
              <a:tr h="182584">
                <a:tc>
                  <a:txBody>
                    <a:bodyPr/>
                    <a:lstStyle/>
                    <a:p>
                      <a:r>
                        <a:rPr lang="en-US" sz="600" b="1" baseline="0" dirty="0">
                          <a:solidFill>
                            <a:srgbClr val="2E3192"/>
                          </a:solidFill>
                        </a:rPr>
                        <a:t>73</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9%</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2,291,309</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342,76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917779508"/>
                  </a:ext>
                </a:extLst>
              </a:tr>
              <a:tr h="182584">
                <a:tc>
                  <a:txBody>
                    <a:bodyPr/>
                    <a:lstStyle/>
                    <a:p>
                      <a:r>
                        <a:rPr lang="en-US" sz="600" b="1" baseline="0" dirty="0">
                          <a:solidFill>
                            <a:srgbClr val="2E3192"/>
                          </a:solidFill>
                        </a:rPr>
                        <a:t>74</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6%</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2,607,919</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340,746</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216134707"/>
                  </a:ext>
                </a:extLst>
              </a:tr>
              <a:tr h="182584">
                <a:tc>
                  <a:txBody>
                    <a:bodyPr/>
                    <a:lstStyle/>
                    <a:p>
                      <a:r>
                        <a:rPr lang="en-US" sz="600" b="1" baseline="0" dirty="0">
                          <a:solidFill>
                            <a:srgbClr val="2E3192"/>
                          </a:solidFill>
                        </a:rPr>
                        <a:t>75</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3%</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3,157,740</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372,525</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335605754"/>
                  </a:ext>
                </a:extLst>
              </a:tr>
              <a:tr h="182584">
                <a:tc>
                  <a:txBody>
                    <a:bodyPr/>
                    <a:lstStyle/>
                    <a:p>
                      <a:r>
                        <a:rPr lang="en-US" sz="600" b="1" baseline="0" dirty="0">
                          <a:solidFill>
                            <a:srgbClr val="2E3192"/>
                          </a:solidFill>
                        </a:rPr>
                        <a:t>76</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2%</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3,802,443</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374,679</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866769639"/>
                  </a:ext>
                </a:extLst>
              </a:tr>
              <a:tr h="182584">
                <a:tc>
                  <a:txBody>
                    <a:bodyPr/>
                    <a:lstStyle/>
                    <a:p>
                      <a:r>
                        <a:rPr lang="en-US" sz="600" b="1" baseline="0" dirty="0">
                          <a:solidFill>
                            <a:srgbClr val="2E3192"/>
                          </a:solidFill>
                        </a:rPr>
                        <a:t>77</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6%</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r>
                        <a:rPr lang="en-US" sz="600" b="0" baseline="0" dirty="0">
                          <a:solidFill>
                            <a:srgbClr val="002577"/>
                          </a:solidFill>
                          <a:latin typeface="Segoe UI" panose="020B0502040204020203" pitchFamily="34" charset="0"/>
                          <a:ea typeface="Segoe UI" panose="020B0502040204020203" pitchFamily="34" charset="0"/>
                          <a:cs typeface="Segoe UI" panose="020B0502040204020203" pitchFamily="34" charset="0"/>
                        </a:rPr>
                        <a:t>$2,763,808</a:t>
                      </a:r>
                      <a:endParaRPr lang="en-US" sz="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343,412</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092496804"/>
                  </a:ext>
                </a:extLst>
              </a:tr>
              <a:tr h="182584">
                <a:tc>
                  <a:txBody>
                    <a:bodyPr/>
                    <a:lstStyle/>
                    <a:p>
                      <a:r>
                        <a:rPr lang="en-US" sz="600" b="1" baseline="0" dirty="0">
                          <a:solidFill>
                            <a:srgbClr val="2E3192"/>
                          </a:solidFill>
                        </a:rPr>
                        <a:t>78</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5%</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229,237</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41,901</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369675710"/>
                  </a:ext>
                </a:extLst>
              </a:tr>
              <a:tr h="182584">
                <a:tc>
                  <a:txBody>
                    <a:bodyPr/>
                    <a:lstStyle/>
                    <a:p>
                      <a:r>
                        <a:rPr lang="en-US" sz="600" b="1" baseline="0" dirty="0">
                          <a:solidFill>
                            <a:srgbClr val="2E3192"/>
                          </a:solidFill>
                        </a:rPr>
                        <a:t>79</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364,199</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29,006</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4017134830"/>
                  </a:ext>
                </a:extLst>
              </a:tr>
              <a:tr h="182584">
                <a:tc>
                  <a:txBody>
                    <a:bodyPr/>
                    <a:lstStyle/>
                    <a:p>
                      <a:r>
                        <a:rPr lang="en-US" sz="600" b="1" baseline="0" dirty="0">
                          <a:solidFill>
                            <a:srgbClr val="2E3192"/>
                          </a:solidFill>
                        </a:rPr>
                        <a:t>8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4%</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645,18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07,388</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4022933345"/>
                  </a:ext>
                </a:extLst>
              </a:tr>
              <a:tr h="182584">
                <a:tc>
                  <a:txBody>
                    <a:bodyPr/>
                    <a:lstStyle/>
                    <a:p>
                      <a:r>
                        <a:rPr lang="en-US" sz="600" b="1" baseline="0" dirty="0">
                          <a:solidFill>
                            <a:srgbClr val="2E3192"/>
                          </a:solidFill>
                        </a:rPr>
                        <a:t>81</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4%</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3,203,16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82,087</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903545327"/>
                  </a:ext>
                </a:extLst>
              </a:tr>
              <a:tr h="182584">
                <a:tc>
                  <a:txBody>
                    <a:bodyPr/>
                    <a:lstStyle/>
                    <a:p>
                      <a:r>
                        <a:rPr lang="en-US" sz="600" b="1" baseline="0" dirty="0">
                          <a:solidFill>
                            <a:srgbClr val="2E3192"/>
                          </a:solidFill>
                        </a:rPr>
                        <a:t>82</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4%</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3,230,031</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45,221</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6554022"/>
                  </a:ext>
                </a:extLst>
              </a:tr>
              <a:tr h="182584">
                <a:tc>
                  <a:txBody>
                    <a:bodyPr/>
                    <a:lstStyle/>
                    <a:p>
                      <a:r>
                        <a:rPr lang="en-US" sz="600" b="1" baseline="0" dirty="0">
                          <a:solidFill>
                            <a:srgbClr val="2E3192"/>
                          </a:solidFill>
                        </a:rPr>
                        <a:t>83</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8%</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3,632,23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49,291</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9%</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222828809"/>
                  </a:ext>
                </a:extLst>
              </a:tr>
              <a:tr h="182584">
                <a:tc>
                  <a:txBody>
                    <a:bodyPr/>
                    <a:lstStyle/>
                    <a:p>
                      <a:r>
                        <a:rPr lang="en-US" sz="600" b="0" baseline="0" dirty="0">
                          <a:solidFill>
                            <a:srgbClr val="2E3192"/>
                          </a:solidFill>
                        </a:rPr>
                        <a:t>84</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6%</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3,203,16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641472298"/>
                  </a:ext>
                </a:extLst>
              </a:tr>
              <a:tr h="182584">
                <a:tc>
                  <a:txBody>
                    <a:bodyPr/>
                    <a:lstStyle/>
                    <a:p>
                      <a:r>
                        <a:rPr lang="en-US" sz="600" b="1" baseline="0" dirty="0">
                          <a:solidFill>
                            <a:srgbClr val="2E3192"/>
                          </a:solidFill>
                        </a:rPr>
                        <a:t>85</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3,313,32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9%</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561951596"/>
                  </a:ext>
                </a:extLst>
              </a:tr>
              <a:tr h="182584">
                <a:tc>
                  <a:txBody>
                    <a:bodyPr/>
                    <a:lstStyle/>
                    <a:p>
                      <a:r>
                        <a:rPr lang="en-US" sz="600" b="1" baseline="0" dirty="0">
                          <a:solidFill>
                            <a:srgbClr val="2E3192"/>
                          </a:solidFill>
                        </a:rPr>
                        <a:t>86</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1%</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3,959,12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761836802"/>
                  </a:ext>
                </a:extLst>
              </a:tr>
              <a:tr h="182584">
                <a:tc>
                  <a:txBody>
                    <a:bodyPr/>
                    <a:lstStyle/>
                    <a:p>
                      <a:r>
                        <a:rPr lang="en-US" sz="600" b="1" baseline="0" dirty="0">
                          <a:solidFill>
                            <a:srgbClr val="2E3192"/>
                          </a:solidFill>
                        </a:rPr>
                        <a:t>87</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6%</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4,542,579</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083462795"/>
                  </a:ext>
                </a:extLst>
              </a:tr>
              <a:tr h="182584">
                <a:tc>
                  <a:txBody>
                    <a:bodyPr/>
                    <a:lstStyle/>
                    <a:p>
                      <a:r>
                        <a:rPr lang="en-US" sz="600" b="1" baseline="0" dirty="0">
                          <a:solidFill>
                            <a:srgbClr val="2E3192"/>
                          </a:solidFill>
                        </a:rPr>
                        <a:t>88</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0%</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4,038,321</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137521250"/>
                  </a:ext>
                </a:extLst>
              </a:tr>
              <a:tr h="182584">
                <a:tc>
                  <a:txBody>
                    <a:bodyPr/>
                    <a:lstStyle/>
                    <a:p>
                      <a:r>
                        <a:rPr lang="en-US" sz="600" b="1" baseline="0" dirty="0">
                          <a:solidFill>
                            <a:srgbClr val="2E3192"/>
                          </a:solidFill>
                        </a:rPr>
                        <a:t>89</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14%</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3,422,95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2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079910104"/>
                  </a:ext>
                </a:extLst>
              </a:tr>
              <a:tr h="182584">
                <a:tc>
                  <a:txBody>
                    <a:bodyPr/>
                    <a:lstStyle/>
                    <a:p>
                      <a:r>
                        <a:rPr lang="en-US" sz="600" b="1" baseline="0" dirty="0">
                          <a:solidFill>
                            <a:srgbClr val="2E3192"/>
                          </a:solidFill>
                        </a:rPr>
                        <a:t>9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50,000</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2E3192"/>
                          </a:solidFill>
                        </a:rPr>
                        <a:t>-25%</a:t>
                      </a: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2E3192"/>
                          </a:solidFill>
                        </a:rPr>
                        <a:t>$2,517,217</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rgbClr val="73BFFE"/>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1" baseline="0" dirty="0">
                          <a:solidFill>
                            <a:srgbClr val="002577"/>
                          </a:solidFill>
                        </a:rPr>
                        <a:t>$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600" b="0" baseline="0" dirty="0">
                          <a:solidFill>
                            <a:srgbClr val="002577"/>
                          </a:solidFill>
                        </a:rPr>
                        <a:t>$0</a:t>
                      </a: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629815868"/>
                  </a:ext>
                </a:extLst>
              </a:tr>
              <a:tr h="0">
                <a:tc>
                  <a:txBody>
                    <a:bodyPr/>
                    <a:lstStyle/>
                    <a:p>
                      <a:r>
                        <a:rPr lang="en-US" sz="700" b="1" baseline="0" dirty="0">
                          <a:solidFill>
                            <a:schemeClr val="bg1"/>
                          </a:solidFill>
                        </a:rPr>
                        <a:t>Average Retur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lnTlToBr w="12700" cmpd="sng">
                      <a:noFill/>
                      <a:prstDash val="solid"/>
                    </a:lnTlToBr>
                    <a:lnBlToTr w="12700" cmpd="sng">
                      <a:noFill/>
                      <a:prstDash val="solid"/>
                    </a:lnBlToTr>
                    <a:solidFill>
                      <a:srgbClr val="75787B"/>
                    </a:solidFill>
                  </a:tcPr>
                </a:tc>
                <a:tc gridSpan="3">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r>
                        <a:rPr lang="en-US" sz="700" b="1" baseline="0">
                          <a:solidFill>
                            <a:schemeClr val="bg1"/>
                          </a:solidFill>
                        </a:rPr>
                        <a:t>6.0%</a:t>
                      </a:r>
                      <a:endParaRPr lang="en-US" sz="700" b="1" baseline="0" dirty="0">
                        <a:solidFill>
                          <a:schemeClr val="bg1"/>
                        </a:solidFill>
                      </a:endParaRP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rgbClr val="015F66"/>
                    </a:solidFill>
                  </a:tcPr>
                </a:tc>
                <a:tc hMerge="1">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000" b="1" baseline="0" dirty="0">
                        <a:solidFill>
                          <a:schemeClr val="bg1"/>
                        </a:solidFill>
                      </a:endParaRPr>
                    </a:p>
                  </a:txBody>
                  <a:tcP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rgbClr val="015F66"/>
                    </a:solidFill>
                  </a:tcPr>
                </a:tc>
                <a:tc hMerge="1">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600" b="0" baseline="0" dirty="0">
                        <a:solidFill>
                          <a:srgbClr val="002577"/>
                        </a:solidFill>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gridSpan="3">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r>
                        <a:rPr lang="en-US" sz="700" b="1" baseline="0" dirty="0">
                          <a:solidFill>
                            <a:schemeClr val="bg1"/>
                          </a:solidFill>
                        </a:rPr>
                        <a:t>6.0%</a:t>
                      </a:r>
                    </a:p>
                  </a:txBody>
                  <a:tcP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rgbClr val="2E3192"/>
                    </a:solidFill>
                  </a:tcPr>
                </a:tc>
                <a:tc hMerge="1">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000" b="1" baseline="0" dirty="0">
                        <a:solidFill>
                          <a:schemeClr val="bg1"/>
                        </a:solidFill>
                      </a:endParaRPr>
                    </a:p>
                  </a:txBody>
                  <a:tcP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rgbClr val="2E3192"/>
                    </a:solidFill>
                  </a:tcPr>
                </a:tc>
                <a:tc hMerge="1">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600" b="0" baseline="0" dirty="0">
                        <a:solidFill>
                          <a:srgbClr val="002577"/>
                        </a:solidFill>
                      </a:endParaRPr>
                    </a:p>
                  </a:txBody>
                  <a:tcP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691150968"/>
                  </a:ext>
                </a:extLst>
              </a:tr>
            </a:tbl>
          </a:graphicData>
        </a:graphic>
      </p:graphicFrame>
      <p:grpSp>
        <p:nvGrpSpPr>
          <p:cNvPr id="2" name="Group 1">
            <a:extLst>
              <a:ext uri="{FF2B5EF4-FFF2-40B4-BE49-F238E27FC236}">
                <a16:creationId xmlns:a16="http://schemas.microsoft.com/office/drawing/2014/main" id="{96EA02AC-C2A1-7241-A933-8D0024083566}"/>
              </a:ext>
            </a:extLst>
          </p:cNvPr>
          <p:cNvGrpSpPr/>
          <p:nvPr/>
        </p:nvGrpSpPr>
        <p:grpSpPr>
          <a:xfrm>
            <a:off x="0" y="753979"/>
            <a:ext cx="6890084" cy="5499110"/>
            <a:chOff x="0" y="753979"/>
            <a:chExt cx="6890084" cy="5499110"/>
          </a:xfrm>
        </p:grpSpPr>
        <p:sp>
          <p:nvSpPr>
            <p:cNvPr id="10" name="TextBox 2">
              <a:extLst>
                <a:ext uri="{FF2B5EF4-FFF2-40B4-BE49-F238E27FC236}">
                  <a16:creationId xmlns:a16="http://schemas.microsoft.com/office/drawing/2014/main" id="{4D823B05-FAA9-5F4D-9858-A15A6260E1FA}"/>
                </a:ext>
              </a:extLst>
            </p:cNvPr>
            <p:cNvSpPr txBox="1"/>
            <p:nvPr/>
          </p:nvSpPr>
          <p:spPr>
            <a:xfrm>
              <a:off x="6737754" y="1872418"/>
              <a:ext cx="108259" cy="886587"/>
            </a:xfrm>
            <a:prstGeom prst="rect">
              <a:avLst/>
            </a:prstGeom>
            <a:noFill/>
          </p:spPr>
          <p:style>
            <a:lnRef idx="0">
              <a:scrgbClr r="0" g="0" b="0"/>
            </a:lnRef>
            <a:fillRef idx="0">
              <a:scrgbClr r="0" g="0" b="0"/>
            </a:fillRef>
            <a:effectRef idx="0">
              <a:scrgbClr r="0" g="0" b="0"/>
            </a:effectRef>
            <a:fontRef idx="major"/>
          </p:style>
          <p:txBody>
            <a:bodyPr wrap="non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endParaRPr lang="en-US" sz="6500" b="1" dirty="0">
                <a:solidFill>
                  <a:schemeClr val="bg1"/>
                </a:solidFill>
                <a:latin typeface="Helvetica" pitchFamily="2" charset="0"/>
              </a:endParaRPr>
            </a:p>
          </p:txBody>
        </p:sp>
        <p:sp>
          <p:nvSpPr>
            <p:cNvPr id="27" name="Rectangle 26">
              <a:extLst>
                <a:ext uri="{FF2B5EF4-FFF2-40B4-BE49-F238E27FC236}">
                  <a16:creationId xmlns:a16="http://schemas.microsoft.com/office/drawing/2014/main" id="{6DC11E3E-3509-CD46-B50F-FECF2D5951F8}"/>
                </a:ext>
              </a:extLst>
            </p:cNvPr>
            <p:cNvSpPr>
              <a:spLocks noChangeArrowheads="1"/>
            </p:cNvSpPr>
            <p:nvPr/>
          </p:nvSpPr>
          <p:spPr bwMode="auto">
            <a:xfrm>
              <a:off x="0" y="779113"/>
              <a:ext cx="1203590" cy="4025498"/>
            </a:xfrm>
            <a:prstGeom prst="rect">
              <a:avLst/>
            </a:prstGeom>
            <a:solidFill>
              <a:sysClr val="window" lastClr="FFFFFF">
                <a:alpha val="56078"/>
              </a:sysClr>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a:ln>
                  <a:noFill/>
                </a:ln>
                <a:solidFill>
                  <a:prstClr val="white"/>
                </a:solidFill>
                <a:effectLst/>
                <a:uLnTx/>
                <a:uFillTx/>
                <a:latin typeface="Arial" pitchFamily="34" charset="0"/>
                <a:ea typeface="MS PGothic" pitchFamily="34" charset="-128"/>
                <a:cs typeface="+mn-cs"/>
              </a:endParaRPr>
            </a:p>
          </p:txBody>
        </p:sp>
        <p:sp>
          <p:nvSpPr>
            <p:cNvPr id="28" name="Rectangle 27">
              <a:extLst>
                <a:ext uri="{FF2B5EF4-FFF2-40B4-BE49-F238E27FC236}">
                  <a16:creationId xmlns:a16="http://schemas.microsoft.com/office/drawing/2014/main" id="{A8DEFD23-0A3D-F747-AD11-15AB69AB9931}"/>
                </a:ext>
              </a:extLst>
            </p:cNvPr>
            <p:cNvSpPr>
              <a:spLocks noChangeArrowheads="1"/>
            </p:cNvSpPr>
            <p:nvPr/>
          </p:nvSpPr>
          <p:spPr bwMode="auto">
            <a:xfrm>
              <a:off x="280737" y="4973053"/>
              <a:ext cx="922420" cy="898358"/>
            </a:xfrm>
            <a:prstGeom prst="rect">
              <a:avLst/>
            </a:prstGeom>
            <a:solidFill>
              <a:sysClr val="window" lastClr="FFFFFF">
                <a:alpha val="56078"/>
              </a:sysClr>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a:ln>
                  <a:noFill/>
                </a:ln>
                <a:solidFill>
                  <a:prstClr val="white"/>
                </a:solidFill>
                <a:effectLst/>
                <a:uLnTx/>
                <a:uFillTx/>
                <a:latin typeface="Arial" pitchFamily="34" charset="0"/>
                <a:ea typeface="MS PGothic" pitchFamily="34" charset="-128"/>
                <a:cs typeface="+mn-cs"/>
              </a:endParaRPr>
            </a:p>
          </p:txBody>
        </p:sp>
        <p:sp>
          <p:nvSpPr>
            <p:cNvPr id="36" name="Rectangle 35">
              <a:extLst>
                <a:ext uri="{FF2B5EF4-FFF2-40B4-BE49-F238E27FC236}">
                  <a16:creationId xmlns:a16="http://schemas.microsoft.com/office/drawing/2014/main" id="{7589AE0F-5E29-7842-9754-BE3A00081BD5}"/>
                </a:ext>
              </a:extLst>
            </p:cNvPr>
            <p:cNvSpPr/>
            <p:nvPr/>
          </p:nvSpPr>
          <p:spPr bwMode="auto">
            <a:xfrm>
              <a:off x="430859" y="5886671"/>
              <a:ext cx="757861" cy="169226"/>
            </a:xfrm>
            <a:prstGeom prst="rect">
              <a:avLst/>
            </a:prstGeom>
            <a:noFill/>
            <a:ln w="25400">
              <a:solidFill>
                <a:srgbClr val="2E3192"/>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Arial" charset="0"/>
                <a:ea typeface="ＭＳ Ｐゴシック" charset="0"/>
                <a:cs typeface="+mn-cs"/>
              </a:endParaRPr>
            </a:p>
          </p:txBody>
        </p:sp>
        <p:sp>
          <p:nvSpPr>
            <p:cNvPr id="40" name="Rectangle 39">
              <a:extLst>
                <a:ext uri="{FF2B5EF4-FFF2-40B4-BE49-F238E27FC236}">
                  <a16:creationId xmlns:a16="http://schemas.microsoft.com/office/drawing/2014/main" id="{8ADC3E2C-961A-3F4A-9237-6240A3ED4707}"/>
                </a:ext>
              </a:extLst>
            </p:cNvPr>
            <p:cNvSpPr>
              <a:spLocks noChangeArrowheads="1"/>
            </p:cNvSpPr>
            <p:nvPr/>
          </p:nvSpPr>
          <p:spPr bwMode="auto">
            <a:xfrm>
              <a:off x="1195136" y="753979"/>
              <a:ext cx="5694948" cy="248654"/>
            </a:xfrm>
            <a:prstGeom prst="rect">
              <a:avLst/>
            </a:prstGeom>
            <a:solidFill>
              <a:sysClr val="window" lastClr="FFFFFF">
                <a:alpha val="56078"/>
              </a:sysClr>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a:ln>
                  <a:noFill/>
                </a:ln>
                <a:solidFill>
                  <a:prstClr val="white"/>
                </a:solidFill>
                <a:effectLst/>
                <a:uLnTx/>
                <a:uFillTx/>
                <a:latin typeface="Arial" pitchFamily="34" charset="0"/>
                <a:ea typeface="MS PGothic" pitchFamily="34" charset="-128"/>
                <a:cs typeface="+mn-cs"/>
              </a:endParaRPr>
            </a:p>
          </p:txBody>
        </p:sp>
        <p:sp>
          <p:nvSpPr>
            <p:cNvPr id="41" name="Rectangle 40">
              <a:extLst>
                <a:ext uri="{FF2B5EF4-FFF2-40B4-BE49-F238E27FC236}">
                  <a16:creationId xmlns:a16="http://schemas.microsoft.com/office/drawing/2014/main" id="{A57049DC-3BAA-6742-9422-5057F0CB6AA8}"/>
                </a:ext>
              </a:extLst>
            </p:cNvPr>
            <p:cNvSpPr>
              <a:spLocks noChangeArrowheads="1"/>
            </p:cNvSpPr>
            <p:nvPr/>
          </p:nvSpPr>
          <p:spPr bwMode="auto">
            <a:xfrm>
              <a:off x="2181725" y="1010654"/>
              <a:ext cx="1740569" cy="4860758"/>
            </a:xfrm>
            <a:prstGeom prst="rect">
              <a:avLst/>
            </a:prstGeom>
            <a:solidFill>
              <a:sysClr val="window" lastClr="FFFFFF">
                <a:alpha val="56078"/>
              </a:sysClr>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a:ln>
                  <a:noFill/>
                </a:ln>
                <a:solidFill>
                  <a:prstClr val="white"/>
                </a:solidFill>
                <a:effectLst/>
                <a:uLnTx/>
                <a:uFillTx/>
                <a:latin typeface="Arial" pitchFamily="34" charset="0"/>
                <a:ea typeface="MS PGothic" pitchFamily="34" charset="-128"/>
                <a:cs typeface="+mn-cs"/>
              </a:endParaRPr>
            </a:p>
          </p:txBody>
        </p:sp>
        <p:sp>
          <p:nvSpPr>
            <p:cNvPr id="42" name="Rectangle 41">
              <a:extLst>
                <a:ext uri="{FF2B5EF4-FFF2-40B4-BE49-F238E27FC236}">
                  <a16:creationId xmlns:a16="http://schemas.microsoft.com/office/drawing/2014/main" id="{51F13C99-48F6-4F43-88E5-495CB127A39C}"/>
                </a:ext>
              </a:extLst>
            </p:cNvPr>
            <p:cNvSpPr>
              <a:spLocks noChangeArrowheads="1"/>
            </p:cNvSpPr>
            <p:nvPr/>
          </p:nvSpPr>
          <p:spPr bwMode="auto">
            <a:xfrm>
              <a:off x="4852736" y="1010653"/>
              <a:ext cx="2037348" cy="4997115"/>
            </a:xfrm>
            <a:prstGeom prst="rect">
              <a:avLst/>
            </a:prstGeom>
            <a:solidFill>
              <a:sysClr val="window" lastClr="FFFFFF">
                <a:alpha val="56078"/>
              </a:sysClr>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a:ln>
                  <a:noFill/>
                </a:ln>
                <a:solidFill>
                  <a:prstClr val="white"/>
                </a:solidFill>
                <a:effectLst/>
                <a:uLnTx/>
                <a:uFillTx/>
                <a:latin typeface="Arial" pitchFamily="34" charset="0"/>
                <a:ea typeface="MS PGothic" pitchFamily="34" charset="-128"/>
                <a:cs typeface="+mn-cs"/>
              </a:endParaRPr>
            </a:p>
          </p:txBody>
        </p:sp>
        <p:sp>
          <p:nvSpPr>
            <p:cNvPr id="29" name="Rectangle 28">
              <a:extLst>
                <a:ext uri="{FF2B5EF4-FFF2-40B4-BE49-F238E27FC236}">
                  <a16:creationId xmlns:a16="http://schemas.microsoft.com/office/drawing/2014/main" id="{DD474ED6-4187-724A-B8B8-6299C0F6F1B9}"/>
                </a:ext>
              </a:extLst>
            </p:cNvPr>
            <p:cNvSpPr/>
            <p:nvPr/>
          </p:nvSpPr>
          <p:spPr bwMode="auto">
            <a:xfrm>
              <a:off x="414817" y="4787786"/>
              <a:ext cx="772300" cy="169226"/>
            </a:xfrm>
            <a:prstGeom prst="rect">
              <a:avLst/>
            </a:prstGeom>
            <a:noFill/>
            <a:ln w="25400">
              <a:solidFill>
                <a:srgbClr val="2E3192"/>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Arial" charset="0"/>
                <a:ea typeface="ＭＳ Ｐゴシック" charset="0"/>
                <a:cs typeface="+mn-cs"/>
              </a:endParaRPr>
            </a:p>
          </p:txBody>
        </p:sp>
        <p:sp>
          <p:nvSpPr>
            <p:cNvPr id="43" name="Rectangle 42">
              <a:extLst>
                <a:ext uri="{FF2B5EF4-FFF2-40B4-BE49-F238E27FC236}">
                  <a16:creationId xmlns:a16="http://schemas.microsoft.com/office/drawing/2014/main" id="{B4780870-04D5-9543-8EDE-AF74DA791799}"/>
                </a:ext>
              </a:extLst>
            </p:cNvPr>
            <p:cNvSpPr/>
            <p:nvPr/>
          </p:nvSpPr>
          <p:spPr bwMode="auto">
            <a:xfrm>
              <a:off x="1188720" y="1008266"/>
              <a:ext cx="998806" cy="5047876"/>
            </a:xfrm>
            <a:prstGeom prst="rect">
              <a:avLst/>
            </a:prstGeom>
            <a:noFill/>
            <a:ln w="25400">
              <a:solidFill>
                <a:srgbClr val="2E3192"/>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Arial" charset="0"/>
                <a:ea typeface="ＭＳ Ｐゴシック" charset="0"/>
                <a:cs typeface="+mn-cs"/>
              </a:endParaRPr>
            </a:p>
          </p:txBody>
        </p:sp>
        <p:sp>
          <p:nvSpPr>
            <p:cNvPr id="44" name="Rectangle 43">
              <a:extLst>
                <a:ext uri="{FF2B5EF4-FFF2-40B4-BE49-F238E27FC236}">
                  <a16:creationId xmlns:a16="http://schemas.microsoft.com/office/drawing/2014/main" id="{FF771F9B-6573-1042-9986-FA7170DD225C}"/>
                </a:ext>
              </a:extLst>
            </p:cNvPr>
            <p:cNvSpPr/>
            <p:nvPr/>
          </p:nvSpPr>
          <p:spPr bwMode="auto">
            <a:xfrm>
              <a:off x="3910818" y="1019988"/>
              <a:ext cx="942536" cy="5233101"/>
            </a:xfrm>
            <a:prstGeom prst="rect">
              <a:avLst/>
            </a:prstGeom>
            <a:noFill/>
            <a:ln w="25400">
              <a:solidFill>
                <a:srgbClr val="2E3192"/>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Arial" charset="0"/>
                <a:ea typeface="ＭＳ Ｐゴシック" charset="0"/>
                <a:cs typeface="+mn-cs"/>
              </a:endParaRPr>
            </a:p>
          </p:txBody>
        </p:sp>
        <p:sp>
          <p:nvSpPr>
            <p:cNvPr id="45" name="Rectangle 44">
              <a:extLst>
                <a:ext uri="{FF2B5EF4-FFF2-40B4-BE49-F238E27FC236}">
                  <a16:creationId xmlns:a16="http://schemas.microsoft.com/office/drawing/2014/main" id="{B2DC17A3-45CD-2449-BE20-CB9D5AA55A22}"/>
                </a:ext>
              </a:extLst>
            </p:cNvPr>
            <p:cNvSpPr/>
            <p:nvPr/>
          </p:nvSpPr>
          <p:spPr bwMode="auto">
            <a:xfrm>
              <a:off x="3000928" y="5896789"/>
              <a:ext cx="909890" cy="169226"/>
            </a:xfrm>
            <a:prstGeom prst="rect">
              <a:avLst/>
            </a:prstGeom>
            <a:noFill/>
            <a:ln w="25400">
              <a:solidFill>
                <a:srgbClr val="2E3192"/>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Arial" charset="0"/>
                <a:ea typeface="ＭＳ Ｐゴシック" charset="0"/>
                <a:cs typeface="+mn-cs"/>
              </a:endParaRPr>
            </a:p>
          </p:txBody>
        </p:sp>
      </p:grpSp>
      <p:sp>
        <p:nvSpPr>
          <p:cNvPr id="46" name="Rectangle 45">
            <a:extLst>
              <a:ext uri="{FF2B5EF4-FFF2-40B4-BE49-F238E27FC236}">
                <a16:creationId xmlns:a16="http://schemas.microsoft.com/office/drawing/2014/main" id="{944582B6-4488-ED44-BB48-E94713A09148}"/>
              </a:ext>
            </a:extLst>
          </p:cNvPr>
          <p:cNvSpPr/>
          <p:nvPr/>
        </p:nvSpPr>
        <p:spPr bwMode="auto">
          <a:xfrm>
            <a:off x="1186195" y="6058567"/>
            <a:ext cx="5636635" cy="208589"/>
          </a:xfrm>
          <a:prstGeom prst="rect">
            <a:avLst/>
          </a:prstGeom>
          <a:noFill/>
          <a:ln w="25400">
            <a:solidFill>
              <a:srgbClr val="2E3192"/>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7297859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7AC8560-FF6B-4CA8-A7B3-5E8BC6B9A1D3}"/>
              </a:ext>
            </a:extLst>
          </p:cNvPr>
          <p:cNvGraphicFramePr>
            <a:graphicFrameLocks noChangeAspect="1"/>
          </p:cNvGraphicFramePr>
          <p:nvPr>
            <p:custDataLst>
              <p:tags r:id="rId2"/>
            </p:custDataLst>
          </p:nvPr>
        </p:nvGraphicFramePr>
        <p:xfrm>
          <a:off x="992" y="858242"/>
          <a:ext cx="993" cy="993"/>
        </p:xfrm>
        <a:graphic>
          <a:graphicData uri="http://schemas.openxmlformats.org/presentationml/2006/ole">
            <mc:AlternateContent xmlns:mc="http://schemas.openxmlformats.org/markup-compatibility/2006">
              <mc:Choice xmlns:v="urn:schemas-microsoft-com:vml" Requires="v">
                <p:oleObj spid="_x0000_s69809"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D7AC8560-FF6B-4CA8-A7B3-5E8BC6B9A1D3}"/>
                          </a:ext>
                        </a:extLst>
                      </p:cNvPr>
                      <p:cNvPicPr/>
                      <p:nvPr/>
                    </p:nvPicPr>
                    <p:blipFill>
                      <a:blip r:embed="rId6"/>
                      <a:stretch>
                        <a:fillRect/>
                      </a:stretch>
                    </p:blipFill>
                    <p:spPr>
                      <a:xfrm>
                        <a:off x="992" y="858242"/>
                        <a:ext cx="993" cy="993"/>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AF0C6C71-DE77-2C48-8091-FC0C232B23F3}"/>
              </a:ext>
            </a:extLst>
          </p:cNvPr>
          <p:cNvSpPr>
            <a:spLocks noGrp="1"/>
          </p:cNvSpPr>
          <p:nvPr>
            <p:ph type="sldNum" sz="quarter" idx="4"/>
          </p:nvPr>
        </p:nvSpPr>
        <p:spPr>
          <a:xfrm>
            <a:off x="8595361" y="6371406"/>
            <a:ext cx="339078" cy="141936"/>
          </a:xfrm>
        </p:spPr>
        <p:txBody>
          <a:bodyPr/>
          <a:lstStyle/>
          <a:p>
            <a:pPr defTabSz="285750">
              <a:defRPr/>
            </a:pPr>
            <a:fld id="{2C7AFF3D-0B71-614B-ACB6-7F45BDA6A838}" type="slidenum">
              <a:rPr lang="en-US">
                <a:latin typeface="Segoe UI" panose="020B0502040204020203" pitchFamily="34" charset="0"/>
                <a:ea typeface="Segoe UI" panose="020B0502040204020203" pitchFamily="34" charset="0"/>
                <a:cs typeface="Segoe UI" panose="020B0502040204020203" pitchFamily="34" charset="0"/>
              </a:rPr>
              <a:pPr defTabSz="285750">
                <a:defRPr/>
              </a:pPr>
              <a:t>38</a:t>
            </a:fld>
            <a:endParaRPr 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3" name="Footer Placeholder 2">
            <a:extLst>
              <a:ext uri="{FF2B5EF4-FFF2-40B4-BE49-F238E27FC236}">
                <a16:creationId xmlns:a16="http://schemas.microsoft.com/office/drawing/2014/main" id="{F1322FF3-40F2-5B4E-9B06-3C6E45EA0F71}"/>
              </a:ext>
            </a:extLst>
          </p:cNvPr>
          <p:cNvSpPr>
            <a:spLocks noGrp="1"/>
          </p:cNvSpPr>
          <p:nvPr>
            <p:ph type="ftr" sz="quarter" idx="3"/>
          </p:nvPr>
        </p:nvSpPr>
        <p:spPr>
          <a:xfrm>
            <a:off x="5591174" y="6360082"/>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4" name="Title 3">
            <a:extLst>
              <a:ext uri="{FF2B5EF4-FFF2-40B4-BE49-F238E27FC236}">
                <a16:creationId xmlns:a16="http://schemas.microsoft.com/office/drawing/2014/main" id="{8F9115DE-C5C8-F745-8C5D-1EB85F5C37DB}"/>
              </a:ext>
            </a:extLst>
          </p:cNvPr>
          <p:cNvSpPr>
            <a:spLocks noGrp="1"/>
          </p:cNvSpPr>
          <p:nvPr>
            <p:ph type="ctrTitle"/>
          </p:nvPr>
        </p:nvSpPr>
        <p:spPr>
          <a:xfrm>
            <a:off x="370746" y="308811"/>
            <a:ext cx="3629586" cy="479861"/>
          </a:xfrm>
        </p:spPr>
        <p:txBody>
          <a:bodyPr/>
          <a:lstStyle/>
          <a:p>
            <a:r>
              <a:rPr lang="en-US" sz="2400" dirty="0">
                <a:latin typeface="Segoe UI" panose="020B0502040204020203" pitchFamily="34" charset="0"/>
                <a:ea typeface="Segoe UI" panose="020B0502040204020203" pitchFamily="34" charset="0"/>
                <a:cs typeface="Segoe UI" panose="020B0502040204020203" pitchFamily="34" charset="0"/>
              </a:rPr>
              <a:t>The Tax Bite</a:t>
            </a:r>
          </a:p>
        </p:txBody>
      </p:sp>
      <p:sp>
        <p:nvSpPr>
          <p:cNvPr id="8" name="Text Placeholder 7">
            <a:extLst>
              <a:ext uri="{FF2B5EF4-FFF2-40B4-BE49-F238E27FC236}">
                <a16:creationId xmlns:a16="http://schemas.microsoft.com/office/drawing/2014/main" id="{9474B78F-6F8E-F24D-859E-8C31C439C969}"/>
              </a:ext>
            </a:extLst>
          </p:cNvPr>
          <p:cNvSpPr>
            <a:spLocks noGrp="1"/>
          </p:cNvSpPr>
          <p:nvPr>
            <p:ph type="body" sz="quarter" idx="24"/>
          </p:nvPr>
        </p:nvSpPr>
        <p:spPr>
          <a:xfrm>
            <a:off x="387877" y="2451071"/>
            <a:ext cx="2432235" cy="545310"/>
          </a:xfrm>
        </p:spPr>
        <p:txBody>
          <a:bodyPr>
            <a:noAutofit/>
          </a:bodyPr>
          <a:lstStyle/>
          <a:p>
            <a:pPr>
              <a:lnSpc>
                <a:spcPct val="100000"/>
              </a:lnSpc>
              <a:spcBef>
                <a:spcPts val="0"/>
              </a:spcBef>
              <a:buSzPct val="150000"/>
              <a:defRPr/>
            </a:pPr>
            <a:r>
              <a:rPr lang="en-US" sz="1800" b="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How much you pay in taxes during retirement </a:t>
            </a:r>
            <a:r>
              <a:rPr lang="en-US" sz="200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depends on where your income comes from.</a:t>
            </a:r>
          </a:p>
        </p:txBody>
      </p:sp>
      <p:sp>
        <p:nvSpPr>
          <p:cNvPr id="9" name="Text Placeholder 8">
            <a:extLst>
              <a:ext uri="{FF2B5EF4-FFF2-40B4-BE49-F238E27FC236}">
                <a16:creationId xmlns:a16="http://schemas.microsoft.com/office/drawing/2014/main" id="{33447868-B10A-5D44-9FBB-7BCCD364D21C}"/>
              </a:ext>
            </a:extLst>
          </p:cNvPr>
          <p:cNvSpPr>
            <a:spLocks noGrp="1"/>
          </p:cNvSpPr>
          <p:nvPr>
            <p:ph type="body" sz="quarter" idx="25"/>
          </p:nvPr>
        </p:nvSpPr>
        <p:spPr>
          <a:xfrm>
            <a:off x="3268903" y="2444023"/>
            <a:ext cx="2709866" cy="545310"/>
          </a:xfrm>
        </p:spPr>
        <p:txBody>
          <a:bodyPr>
            <a:noAutofit/>
          </a:bodyPr>
          <a:lstStyle/>
          <a:p>
            <a:pPr lvl="0">
              <a:lnSpc>
                <a:spcPct val="100000"/>
              </a:lnSpc>
              <a:spcBef>
                <a:spcPts val="0"/>
              </a:spcBef>
            </a:pPr>
            <a:r>
              <a:rPr lang="en-US" sz="200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76% of middle-income baby boomers </a:t>
            </a:r>
            <a:r>
              <a:rPr lang="en-US" sz="1800" b="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consider tax deferral an important feature when selecting a retirement income product</a:t>
            </a:r>
          </a:p>
        </p:txBody>
      </p:sp>
      <p:sp>
        <p:nvSpPr>
          <p:cNvPr id="19" name="Text Placeholder 8">
            <a:extLst>
              <a:ext uri="{FF2B5EF4-FFF2-40B4-BE49-F238E27FC236}">
                <a16:creationId xmlns:a16="http://schemas.microsoft.com/office/drawing/2014/main" id="{1162D7DC-91D0-6040-B0DD-8EB2E632386A}"/>
              </a:ext>
            </a:extLst>
          </p:cNvPr>
          <p:cNvSpPr txBox="1">
            <a:spLocks/>
          </p:cNvSpPr>
          <p:nvPr/>
        </p:nvSpPr>
        <p:spPr>
          <a:xfrm>
            <a:off x="6319646" y="2432942"/>
            <a:ext cx="2078766" cy="545310"/>
          </a:xfrm>
          <a:prstGeom prst="rect">
            <a:avLst/>
          </a:prstGeom>
        </p:spPr>
        <p:txBody>
          <a:bodyPr vert="horz" lIns="91440" tIns="45720" rIns="91440" bIns="45720" rtlCol="0">
            <a:noAutofit/>
          </a:bodyPr>
          <a:lstStyle>
            <a:lvl1pPr marL="0" indent="0" algn="l" defTabSz="914400" rtl="0" eaLnBrk="1" latinLnBrk="0" hangingPunct="1">
              <a:lnSpc>
                <a:spcPts val="750"/>
              </a:lnSpc>
              <a:spcBef>
                <a:spcPts val="1000"/>
              </a:spcBef>
              <a:buFont typeface="Arial" panose="020B0604020202020204" pitchFamily="34" charset="0"/>
              <a:buNone/>
              <a:defRPr sz="1125" b="1" i="0" kern="1200">
                <a:solidFill>
                  <a:srgbClr val="FFFFFF"/>
                </a:solidFill>
                <a:latin typeface="IBM Eliot Sans Medium" panose="020B0703050000000000" pitchFamily="34" charset="0"/>
                <a:ea typeface="+mn-ea"/>
                <a:cs typeface="+mn-cs"/>
              </a:defRPr>
            </a:lvl1pPr>
            <a:lvl2pPr marL="342875"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685749"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028624"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37149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buSzPct val="150000"/>
              <a:defRPr/>
            </a:pPr>
            <a:r>
              <a:rPr lang="en-US" sz="1800" b="0" dirty="0">
                <a:solidFill>
                  <a:prstClr val="black">
                    <a:lumMod val="95000"/>
                    <a:lumOff val="5000"/>
                  </a:prstClr>
                </a:solidFill>
                <a:latin typeface="Segoe UI Historic" panose="020B0502040204020203" pitchFamily="34" charset="0"/>
                <a:ea typeface="Segoe UI Historic" panose="020B0502040204020203" pitchFamily="34" charset="0"/>
                <a:cs typeface="Segoe UI Historic" panose="020B0502040204020203" pitchFamily="34" charset="0"/>
              </a:rPr>
              <a:t>The IRS collects </a:t>
            </a:r>
            <a:r>
              <a:rPr lang="en-US" sz="2000" dirty="0">
                <a:solidFill>
                  <a:schemeClr val="accent1">
                    <a:lumMod val="50000"/>
                  </a:schemeClr>
                </a:solidFill>
                <a:latin typeface="Segoe UI Historic" panose="020B0502040204020203" pitchFamily="34" charset="0"/>
                <a:ea typeface="Segoe UI Historic" panose="020B0502040204020203" pitchFamily="34" charset="0"/>
                <a:cs typeface="Segoe UI Historic" panose="020B0502040204020203" pitchFamily="34" charset="0"/>
              </a:rPr>
              <a:t>over $3 Trillion </a:t>
            </a:r>
            <a:r>
              <a:rPr lang="en-US" sz="1800" b="0" dirty="0">
                <a:solidFill>
                  <a:prstClr val="black">
                    <a:lumMod val="95000"/>
                    <a:lumOff val="5000"/>
                  </a:prstClr>
                </a:solidFill>
                <a:latin typeface="Segoe UI Historic" panose="020B0502040204020203" pitchFamily="34" charset="0"/>
                <a:ea typeface="Segoe UI Historic" panose="020B0502040204020203" pitchFamily="34" charset="0"/>
                <a:cs typeface="Segoe UI Historic" panose="020B0502040204020203" pitchFamily="34" charset="0"/>
              </a:rPr>
              <a:t>in taxes annually.</a:t>
            </a:r>
          </a:p>
        </p:txBody>
      </p:sp>
      <p:sp>
        <p:nvSpPr>
          <p:cNvPr id="26" name="TextBox 25">
            <a:extLst>
              <a:ext uri="{FF2B5EF4-FFF2-40B4-BE49-F238E27FC236}">
                <a16:creationId xmlns:a16="http://schemas.microsoft.com/office/drawing/2014/main" id="{A67F076F-17BF-E049-961A-9AD9A41FE547}"/>
              </a:ext>
            </a:extLst>
          </p:cNvPr>
          <p:cNvSpPr txBox="1"/>
          <p:nvPr/>
        </p:nvSpPr>
        <p:spPr>
          <a:xfrm>
            <a:off x="437514" y="6113830"/>
            <a:ext cx="6156278" cy="123111"/>
          </a:xfrm>
          <a:prstGeom prst="rect">
            <a:avLst/>
          </a:prstGeom>
          <a:noFill/>
        </p:spPr>
        <p:txBody>
          <a:bodyPr wrap="square" lIns="0" tIns="0" rIns="0" bIns="0" rtlCol="0">
            <a:spAutoFit/>
          </a:bodyPr>
          <a:lstStyle/>
          <a:p>
            <a:pPr fontAlgn="base">
              <a:spcAft>
                <a:spcPct val="0"/>
              </a:spcAft>
              <a:defRPr/>
            </a:pPr>
            <a:r>
              <a:rPr lang="en-US" altLang="en-US" sz="800" dirty="0">
                <a:solidFill>
                  <a:schemeClr val="bg1">
                    <a:lumMod val="50000"/>
                  </a:schemeClr>
                </a:solidFill>
              </a:rPr>
              <a:t>Source: https://us.axa/annuities/retirement-cornerstone/app/ycnTaxBite.html; as of 7/28/16</a:t>
            </a:r>
          </a:p>
        </p:txBody>
      </p:sp>
      <p:pic>
        <p:nvPicPr>
          <p:cNvPr id="5" name="Picture 4">
            <a:extLst>
              <a:ext uri="{FF2B5EF4-FFF2-40B4-BE49-F238E27FC236}">
                <a16:creationId xmlns:a16="http://schemas.microsoft.com/office/drawing/2014/main" id="{F9F529A0-F907-4FD6-B543-C1B751D7A610}"/>
              </a:ext>
            </a:extLst>
          </p:cNvPr>
          <p:cNvPicPr>
            <a:picLocks noChangeAspect="1"/>
          </p:cNvPicPr>
          <p:nvPr/>
        </p:nvPicPr>
        <p:blipFill>
          <a:blip r:embed="rId7"/>
          <a:stretch>
            <a:fillRect/>
          </a:stretch>
        </p:blipFill>
        <p:spPr>
          <a:xfrm>
            <a:off x="2383078" y="6360082"/>
            <a:ext cx="1771650" cy="476250"/>
          </a:xfrm>
          <a:prstGeom prst="rect">
            <a:avLst/>
          </a:prstGeom>
        </p:spPr>
      </p:pic>
    </p:spTree>
    <p:extLst>
      <p:ext uri="{BB962C8B-B14F-4D97-AF65-F5344CB8AC3E}">
        <p14:creationId xmlns:p14="http://schemas.microsoft.com/office/powerpoint/2010/main" val="22311313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39</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60296"/>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8594700"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Many Retirees Overestimate Their </a:t>
            </a:r>
          </a:p>
          <a:p>
            <a:pPr lvl="0"/>
            <a:r>
              <a:rPr lang="en-US" sz="2400" dirty="0">
                <a:latin typeface="Segoe UI" panose="020B0502040204020203" pitchFamily="34" charset="0"/>
                <a:ea typeface="Segoe UI" panose="020B0502040204020203" pitchFamily="34" charset="0"/>
                <a:cs typeface="Segoe UI" panose="020B0502040204020203" pitchFamily="34" charset="0"/>
              </a:rPr>
              <a:t>Social Security Payment</a:t>
            </a:r>
          </a:p>
        </p:txBody>
      </p:sp>
      <p:sp>
        <p:nvSpPr>
          <p:cNvPr id="7" name="object 34">
            <a:extLst>
              <a:ext uri="{FF2B5EF4-FFF2-40B4-BE49-F238E27FC236}">
                <a16:creationId xmlns:a16="http://schemas.microsoft.com/office/drawing/2014/main" id="{F3F6B1BA-8015-8143-BD98-B1605EAF473E}"/>
              </a:ext>
            </a:extLst>
          </p:cNvPr>
          <p:cNvSpPr txBox="1">
            <a:spLocks noChangeArrowheads="1"/>
          </p:cNvSpPr>
          <p:nvPr/>
        </p:nvSpPr>
        <p:spPr bwMode="auto">
          <a:xfrm>
            <a:off x="403102" y="1228235"/>
            <a:ext cx="8337795" cy="684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298450" indent="-285750">
              <a:spcBef>
                <a:spcPct val="20000"/>
              </a:spcBef>
              <a:buBlip>
                <a:blip r:embed="rId3"/>
              </a:buBlip>
              <a:tabLst>
                <a:tab pos="298450" algn="l"/>
              </a:tabLst>
              <a:defRPr>
                <a:solidFill>
                  <a:schemeClr val="tx1"/>
                </a:solidFill>
                <a:latin typeface="Arial" pitchFamily="34" charset="0"/>
                <a:ea typeface="MS PGothic" pitchFamily="34" charset="-128"/>
                <a:cs typeface="Arial" pitchFamily="34" charset="0"/>
              </a:defRPr>
            </a:lvl1pPr>
            <a:lvl2pPr marL="742950" indent="-285750">
              <a:spcBef>
                <a:spcPct val="20000"/>
              </a:spcBef>
              <a:buFont typeface="Arial" pitchFamily="34" charset="0"/>
              <a:tabLst>
                <a:tab pos="298450" algn="l"/>
              </a:tabLst>
              <a:defRPr b="1">
                <a:solidFill>
                  <a:schemeClr val="tx1"/>
                </a:solidFill>
                <a:latin typeface="Arial" pitchFamily="34" charset="0"/>
                <a:ea typeface="MS PGothic" pitchFamily="34" charset="-128"/>
                <a:cs typeface="Arial" pitchFamily="34" charset="0"/>
              </a:defRPr>
            </a:lvl2pPr>
            <a:lvl3pPr marL="1143000" indent="-228600">
              <a:spcBef>
                <a:spcPct val="20000"/>
              </a:spcBef>
              <a:buClr>
                <a:schemeClr val="tx2"/>
              </a:buClr>
              <a:buFont typeface="Wingdings" pitchFamily="2" charset="2"/>
              <a:buChar char=""/>
              <a:tabLst>
                <a:tab pos="298450" algn="l"/>
              </a:tabLst>
              <a:defRPr sz="1600">
                <a:solidFill>
                  <a:schemeClr val="tx1"/>
                </a:solidFill>
                <a:latin typeface="Arial" pitchFamily="34" charset="0"/>
                <a:ea typeface="MS PGothic" pitchFamily="34" charset="-128"/>
                <a:cs typeface="Arial" pitchFamily="34" charset="0"/>
              </a:defRPr>
            </a:lvl3pPr>
            <a:lvl4pPr marL="1600200" indent="-228600">
              <a:spcBef>
                <a:spcPct val="20000"/>
              </a:spcBef>
              <a:tabLst>
                <a:tab pos="298450" algn="l"/>
              </a:tabLst>
              <a:defRPr sz="1600">
                <a:solidFill>
                  <a:schemeClr val="tx1"/>
                </a:solidFill>
                <a:latin typeface="Arial" pitchFamily="34" charset="0"/>
                <a:ea typeface="MS PGothic" pitchFamily="34" charset="-128"/>
                <a:cs typeface="Arial" pitchFamily="34" charset="0"/>
              </a:defRPr>
            </a:lvl4pPr>
            <a:lvl5pPr marL="2057400" indent="-228600">
              <a:spcBef>
                <a:spcPct val="20000"/>
              </a:spcBef>
              <a:buClr>
                <a:schemeClr val="tx2"/>
              </a:buClr>
              <a:buFont typeface="Arial" pitchFamily="34" charset="0"/>
              <a:buChar char="­"/>
              <a:tabLst>
                <a:tab pos="298450" algn="l"/>
              </a:tabLst>
              <a:defRPr sz="1400">
                <a:solidFill>
                  <a:schemeClr val="tx1"/>
                </a:solidFill>
                <a:latin typeface="Arial" pitchFamily="34" charset="0"/>
                <a:ea typeface="MS PGothic"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tabLst>
                <a:tab pos="298450" algn="l"/>
              </a:tabLst>
              <a:defRPr sz="1400">
                <a:solidFill>
                  <a:schemeClr val="tx1"/>
                </a:solidFill>
                <a:latin typeface="Arial" pitchFamily="34" charset="0"/>
                <a:ea typeface="MS PGothic"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tabLst>
                <a:tab pos="298450" algn="l"/>
              </a:tabLst>
              <a:defRPr sz="1400">
                <a:solidFill>
                  <a:schemeClr val="tx1"/>
                </a:solidFill>
                <a:latin typeface="Arial" pitchFamily="34" charset="0"/>
                <a:ea typeface="MS PGothic"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tabLst>
                <a:tab pos="298450" algn="l"/>
              </a:tabLst>
              <a:defRPr sz="1400">
                <a:solidFill>
                  <a:schemeClr val="tx1"/>
                </a:solidFill>
                <a:latin typeface="Arial" pitchFamily="34" charset="0"/>
                <a:ea typeface="MS PGothic"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tabLst>
                <a:tab pos="298450" algn="l"/>
              </a:tabLst>
              <a:defRPr sz="1400">
                <a:solidFill>
                  <a:schemeClr val="tx1"/>
                </a:solidFill>
                <a:latin typeface="Arial" pitchFamily="34" charset="0"/>
                <a:ea typeface="MS PGothic" pitchFamily="34" charset="-128"/>
                <a:cs typeface="Arial" pitchFamily="34" charset="0"/>
              </a:defRPr>
            </a:lvl9pPr>
          </a:lstStyle>
          <a:p>
            <a:pPr fontAlgn="base">
              <a:spcBef>
                <a:spcPct val="0"/>
              </a:spcBef>
              <a:spcAft>
                <a:spcPct val="0"/>
              </a:spcAft>
              <a:buClr>
                <a:srgbClr val="002577"/>
              </a:buClr>
              <a:buFont typeface="Arial" panose="020B0604020202020204" pitchFamily="34" charset="0"/>
              <a:buChar char="•"/>
            </a:pPr>
            <a:r>
              <a:rPr lang="en-US" alt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bout one quarter of Recent Retirees (24%) say their SS payment is less/much less than expected.</a:t>
            </a:r>
          </a:p>
          <a:p>
            <a:pPr fontAlgn="base">
              <a:spcBef>
                <a:spcPts val="338"/>
              </a:spcBef>
              <a:spcAft>
                <a:spcPct val="0"/>
              </a:spcAft>
              <a:buClr>
                <a:srgbClr val="002577"/>
              </a:buClr>
              <a:buFont typeface="Arial" panose="020B0604020202020204" pitchFamily="34" charset="0"/>
              <a:buChar char="•"/>
            </a:pPr>
            <a:r>
              <a:rPr lang="en-US" alt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10+ Retirees are three times as likely to say their SS payments were </a:t>
            </a:r>
            <a:r>
              <a:rPr lang="en-US" altLang="en-US" sz="1400" b="1"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less</a:t>
            </a:r>
            <a:r>
              <a:rPr lang="en-US" altLang="en-US" sz="1400" i="1"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alt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than expected (33%) rather  than </a:t>
            </a:r>
            <a:r>
              <a:rPr lang="en-US" altLang="en-US" sz="1400" b="1"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more than </a:t>
            </a:r>
            <a:r>
              <a:rPr lang="en-US" alt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they expected (11%).</a:t>
            </a:r>
          </a:p>
        </p:txBody>
      </p:sp>
      <p:sp>
        <p:nvSpPr>
          <p:cNvPr id="9" name="object 4">
            <a:extLst>
              <a:ext uri="{FF2B5EF4-FFF2-40B4-BE49-F238E27FC236}">
                <a16:creationId xmlns:a16="http://schemas.microsoft.com/office/drawing/2014/main" id="{526B63B7-82BF-CF47-AE35-30AC358D5F92}"/>
              </a:ext>
            </a:extLst>
          </p:cNvPr>
          <p:cNvSpPr>
            <a:spLocks noChangeArrowheads="1"/>
          </p:cNvSpPr>
          <p:nvPr/>
        </p:nvSpPr>
        <p:spPr bwMode="auto">
          <a:xfrm>
            <a:off x="1523207" y="4757925"/>
            <a:ext cx="4276725" cy="914400"/>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lIns="0" tIns="0" rIns="0" b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fontAlgn="base">
              <a:spcBef>
                <a:spcPct val="0"/>
              </a:spcBef>
              <a:spcAft>
                <a:spcPct val="0"/>
              </a:spcAft>
              <a:buFontTx/>
              <a:buNone/>
            </a:pPr>
            <a:endParaRPr lang="en-US" altLang="en-US">
              <a:solidFill>
                <a:srgbClr val="000000"/>
              </a:solidFill>
            </a:endParaRPr>
          </a:p>
        </p:txBody>
      </p:sp>
      <p:sp>
        <p:nvSpPr>
          <p:cNvPr id="10" name="object 5">
            <a:extLst>
              <a:ext uri="{FF2B5EF4-FFF2-40B4-BE49-F238E27FC236}">
                <a16:creationId xmlns:a16="http://schemas.microsoft.com/office/drawing/2014/main" id="{1BACEACF-B31A-7B46-96FD-F6C4D3E47D36}"/>
              </a:ext>
            </a:extLst>
          </p:cNvPr>
          <p:cNvSpPr>
            <a:spLocks noChangeArrowheads="1"/>
          </p:cNvSpPr>
          <p:nvPr/>
        </p:nvSpPr>
        <p:spPr bwMode="auto">
          <a:xfrm>
            <a:off x="1523207" y="3086287"/>
            <a:ext cx="4276725" cy="1906588"/>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lIns="0" tIns="0" rIns="0" b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fontAlgn="base">
              <a:spcBef>
                <a:spcPct val="0"/>
              </a:spcBef>
              <a:spcAft>
                <a:spcPct val="0"/>
              </a:spcAft>
              <a:buFontTx/>
              <a:buNone/>
            </a:pPr>
            <a:endParaRPr lang="en-US" altLang="en-US">
              <a:solidFill>
                <a:srgbClr val="000000"/>
              </a:solidFill>
              <a:latin typeface="Calibri" pitchFamily="34" charset="0"/>
            </a:endParaRPr>
          </a:p>
        </p:txBody>
      </p:sp>
      <p:sp>
        <p:nvSpPr>
          <p:cNvPr id="11" name="object 6">
            <a:extLst>
              <a:ext uri="{FF2B5EF4-FFF2-40B4-BE49-F238E27FC236}">
                <a16:creationId xmlns:a16="http://schemas.microsoft.com/office/drawing/2014/main" id="{99A3C8C4-A2D0-8948-A3F2-F5DB4F4F8A99}"/>
              </a:ext>
            </a:extLst>
          </p:cNvPr>
          <p:cNvSpPr>
            <a:spLocks noChangeArrowheads="1"/>
          </p:cNvSpPr>
          <p:nvPr/>
        </p:nvSpPr>
        <p:spPr bwMode="auto">
          <a:xfrm>
            <a:off x="1523207" y="2833875"/>
            <a:ext cx="4276725" cy="315912"/>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lIns="0" tIns="0" rIns="0" b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fontAlgn="base">
              <a:spcBef>
                <a:spcPct val="0"/>
              </a:spcBef>
              <a:spcAft>
                <a:spcPct val="0"/>
              </a:spcAft>
              <a:buFontTx/>
              <a:buNone/>
            </a:pPr>
            <a:endParaRPr lang="en-US" altLang="en-US">
              <a:solidFill>
                <a:srgbClr val="000000"/>
              </a:solidFill>
            </a:endParaRPr>
          </a:p>
        </p:txBody>
      </p:sp>
      <p:sp>
        <p:nvSpPr>
          <p:cNvPr id="12" name="object 7">
            <a:extLst>
              <a:ext uri="{FF2B5EF4-FFF2-40B4-BE49-F238E27FC236}">
                <a16:creationId xmlns:a16="http://schemas.microsoft.com/office/drawing/2014/main" id="{84D04348-6440-324F-B1FA-51701D3742A1}"/>
              </a:ext>
            </a:extLst>
          </p:cNvPr>
          <p:cNvSpPr>
            <a:spLocks/>
          </p:cNvSpPr>
          <p:nvPr/>
        </p:nvSpPr>
        <p:spPr bwMode="auto">
          <a:xfrm flipV="1">
            <a:off x="427192" y="5619009"/>
            <a:ext cx="6290469" cy="45719"/>
          </a:xfrm>
          <a:custGeom>
            <a:avLst/>
            <a:gdLst>
              <a:gd name="T0" fmla="*/ 0 w 6096000"/>
              <a:gd name="T1" fmla="*/ 6096000 w 6096000"/>
              <a:gd name="T2" fmla="*/ 0 60000 65536"/>
              <a:gd name="T3" fmla="*/ 0 60000 65536"/>
            </a:gdLst>
            <a:ahLst/>
            <a:cxnLst>
              <a:cxn ang="T2">
                <a:pos x="T0" y="0"/>
              </a:cxn>
              <a:cxn ang="T3">
                <a:pos x="T1" y="0"/>
              </a:cxn>
            </a:cxnLst>
            <a:rect l="0" t="0" r="r" b="b"/>
            <a:pathLst>
              <a:path w="6096000">
                <a:moveTo>
                  <a:pt x="0" y="0"/>
                </a:moveTo>
                <a:lnTo>
                  <a:pt x="6096000" y="0"/>
                </a:lnTo>
              </a:path>
            </a:pathLst>
          </a:custGeom>
          <a:noFill/>
          <a:ln w="9144">
            <a:solidFill>
              <a:srgbClr val="878787"/>
            </a:solidFill>
            <a:round/>
            <a:headEnd/>
            <a:tailEnd/>
          </a:ln>
          <a:extLst>
            <a:ext uri="{909E8E84-426E-40DD-AFC4-6F175D3DCCD1}">
              <a14:hiddenFill xmlns:a14="http://schemas.microsoft.com/office/drawing/2010/main">
                <a:solidFill>
                  <a:srgbClr val="FFFFFF"/>
                </a:solidFill>
              </a14:hiddenFill>
            </a:ext>
          </a:extLst>
        </p:spPr>
        <p:style>
          <a:lnRef idx="0">
            <a:scrgbClr r="0" g="0" b="0"/>
          </a:lnRef>
          <a:fillRef idx="0">
            <a:scrgbClr r="0" g="0" b="0"/>
          </a:fillRef>
          <a:effectRef idx="0">
            <a:scrgbClr r="0" g="0" b="0"/>
          </a:effectRef>
          <a:fontRef idx="major"/>
        </p:style>
        <p:txBody>
          <a:bodyPr lIns="0" tIns="0" rIns="0" b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eaLnBrk="0" fontAlgn="base" hangingPunct="0">
              <a:spcBef>
                <a:spcPct val="0"/>
              </a:spcBef>
              <a:spcAft>
                <a:spcPct val="0"/>
              </a:spcAft>
            </a:pPr>
            <a:endParaRPr lang="en-US">
              <a:solidFill>
                <a:prstClr val="black"/>
              </a:solidFill>
              <a:ea typeface="MS PGothic" pitchFamily="34" charset="-128"/>
            </a:endParaRPr>
          </a:p>
        </p:txBody>
      </p:sp>
      <p:sp>
        <p:nvSpPr>
          <p:cNvPr id="13" name="object 11">
            <a:extLst>
              <a:ext uri="{FF2B5EF4-FFF2-40B4-BE49-F238E27FC236}">
                <a16:creationId xmlns:a16="http://schemas.microsoft.com/office/drawing/2014/main" id="{73F4A5F3-C0DB-3F49-AD25-35D9FAFE1785}"/>
              </a:ext>
            </a:extLst>
          </p:cNvPr>
          <p:cNvSpPr txBox="1"/>
          <p:nvPr/>
        </p:nvSpPr>
        <p:spPr>
          <a:xfrm>
            <a:off x="2032794" y="5531037"/>
            <a:ext cx="207963" cy="153988"/>
          </a:xfrm>
          <a:prstGeom prst="rect">
            <a:avLst/>
          </a:prstGeom>
        </p:spPr>
        <p:style>
          <a:lnRef idx="0">
            <a:scrgbClr r="0" g="0" b="0"/>
          </a:lnRef>
          <a:fillRef idx="0">
            <a:scrgbClr r="0" g="0" b="0"/>
          </a:fillRef>
          <a:effectRef idx="0">
            <a:scrgbClr r="0" g="0" b="0"/>
          </a:effectRef>
          <a:fontRef idx="major"/>
        </p:style>
        <p:txBody>
          <a:bodyPr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4%</a:t>
            </a:r>
            <a:endParaRPr sz="1000">
              <a:solidFill>
                <a:prstClr val="black"/>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4" name="object 12">
            <a:extLst>
              <a:ext uri="{FF2B5EF4-FFF2-40B4-BE49-F238E27FC236}">
                <a16:creationId xmlns:a16="http://schemas.microsoft.com/office/drawing/2014/main" id="{C603BBEE-9B89-A042-9106-AC0EA01A02FB}"/>
              </a:ext>
            </a:extLst>
          </p:cNvPr>
          <p:cNvSpPr txBox="1"/>
          <p:nvPr/>
        </p:nvSpPr>
        <p:spPr>
          <a:xfrm>
            <a:off x="5082382" y="5516750"/>
            <a:ext cx="207962" cy="153987"/>
          </a:xfrm>
          <a:prstGeom prst="rect">
            <a:avLst/>
          </a:prstGeom>
        </p:spPr>
        <p:style>
          <a:lnRef idx="0">
            <a:scrgbClr r="0" g="0" b="0"/>
          </a:lnRef>
          <a:fillRef idx="0">
            <a:scrgbClr r="0" g="0" b="0"/>
          </a:fillRef>
          <a:effectRef idx="0">
            <a:scrgbClr r="0" g="0" b="0"/>
          </a:effectRef>
          <a:fontRef idx="major"/>
        </p:style>
        <p:txBody>
          <a:bodyPr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5%</a:t>
            </a:r>
            <a:endParaRPr sz="1000">
              <a:solidFill>
                <a:prstClr val="black"/>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5" name="object 13">
            <a:extLst>
              <a:ext uri="{FF2B5EF4-FFF2-40B4-BE49-F238E27FC236}">
                <a16:creationId xmlns:a16="http://schemas.microsoft.com/office/drawing/2014/main" id="{31EBDCC7-A803-1A4A-876B-3D8D9643756C}"/>
              </a:ext>
            </a:extLst>
          </p:cNvPr>
          <p:cNvSpPr txBox="1"/>
          <p:nvPr/>
        </p:nvSpPr>
        <p:spPr>
          <a:xfrm>
            <a:off x="1997869" y="5191312"/>
            <a:ext cx="277813" cy="153988"/>
          </a:xfrm>
          <a:prstGeom prst="rect">
            <a:avLst/>
          </a:prstGeom>
        </p:spPr>
        <p:style>
          <a:lnRef idx="0">
            <a:scrgbClr r="0" g="0" b="0"/>
          </a:lnRef>
          <a:fillRef idx="0">
            <a:scrgbClr r="0" g="0" b="0"/>
          </a:fillRef>
          <a:effectRef idx="0">
            <a:scrgbClr r="0" g="0" b="0"/>
          </a:effectRef>
          <a:fontRef idx="major"/>
        </p:style>
        <p:txBody>
          <a:bodyPr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20%</a:t>
            </a:r>
            <a:endParaRPr sz="1000">
              <a:solidFill>
                <a:prstClr val="black"/>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6" name="object 14">
            <a:extLst>
              <a:ext uri="{FF2B5EF4-FFF2-40B4-BE49-F238E27FC236}">
                <a16:creationId xmlns:a16="http://schemas.microsoft.com/office/drawing/2014/main" id="{81268740-E8D6-624F-AEB5-CBD2156501CD}"/>
              </a:ext>
            </a:extLst>
          </p:cNvPr>
          <p:cNvSpPr txBox="1"/>
          <p:nvPr/>
        </p:nvSpPr>
        <p:spPr>
          <a:xfrm>
            <a:off x="5045869" y="5062725"/>
            <a:ext cx="279400" cy="153987"/>
          </a:xfrm>
          <a:prstGeom prst="rect">
            <a:avLst/>
          </a:prstGeom>
        </p:spPr>
        <p:style>
          <a:lnRef idx="0">
            <a:scrgbClr r="0" g="0" b="0"/>
          </a:lnRef>
          <a:fillRef idx="0">
            <a:scrgbClr r="0" g="0" b="0"/>
          </a:fillRef>
          <a:effectRef idx="0">
            <a:scrgbClr r="0" g="0" b="0"/>
          </a:effectRef>
          <a:fontRef idx="major"/>
        </p:style>
        <p:txBody>
          <a:bodyPr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27%</a:t>
            </a:r>
            <a:endParaRPr sz="1000">
              <a:solidFill>
                <a:prstClr val="black"/>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8" name="object 15">
            <a:extLst>
              <a:ext uri="{FF2B5EF4-FFF2-40B4-BE49-F238E27FC236}">
                <a16:creationId xmlns:a16="http://schemas.microsoft.com/office/drawing/2014/main" id="{DC1400ED-9F92-A048-B8E9-3153029A5C4F}"/>
              </a:ext>
            </a:extLst>
          </p:cNvPr>
          <p:cNvSpPr txBox="1"/>
          <p:nvPr/>
        </p:nvSpPr>
        <p:spPr>
          <a:xfrm>
            <a:off x="1997869" y="3957825"/>
            <a:ext cx="277813" cy="153987"/>
          </a:xfrm>
          <a:prstGeom prst="rect">
            <a:avLst/>
          </a:prstGeom>
        </p:spPr>
        <p:style>
          <a:lnRef idx="0">
            <a:scrgbClr r="0" g="0" b="0"/>
          </a:lnRef>
          <a:fillRef idx="0">
            <a:scrgbClr r="0" g="0" b="0"/>
          </a:fillRef>
          <a:effectRef idx="0">
            <a:scrgbClr r="0" g="0" b="0"/>
          </a:effectRef>
          <a:fontRef idx="major"/>
        </p:style>
        <p:txBody>
          <a:bodyPr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67%</a:t>
            </a:r>
            <a:endParaRPr sz="1000">
              <a:solidFill>
                <a:prstClr val="black"/>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9" name="object 16">
            <a:extLst>
              <a:ext uri="{FF2B5EF4-FFF2-40B4-BE49-F238E27FC236}">
                <a16:creationId xmlns:a16="http://schemas.microsoft.com/office/drawing/2014/main" id="{666A38F1-3402-534F-A9B9-67BBD6BA78EE}"/>
              </a:ext>
            </a:extLst>
          </p:cNvPr>
          <p:cNvSpPr txBox="1"/>
          <p:nvPr/>
        </p:nvSpPr>
        <p:spPr>
          <a:xfrm>
            <a:off x="5045869" y="3872100"/>
            <a:ext cx="279400" cy="153987"/>
          </a:xfrm>
          <a:prstGeom prst="rect">
            <a:avLst/>
          </a:prstGeom>
        </p:spPr>
        <p:style>
          <a:lnRef idx="0">
            <a:scrgbClr r="0" g="0" b="0"/>
          </a:lnRef>
          <a:fillRef idx="0">
            <a:scrgbClr r="0" g="0" b="0"/>
          </a:fillRef>
          <a:effectRef idx="0">
            <a:scrgbClr r="0" g="0" b="0"/>
          </a:effectRef>
          <a:fontRef idx="major"/>
        </p:style>
        <p:txBody>
          <a:bodyPr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57%</a:t>
            </a:r>
            <a:endParaRPr sz="1000">
              <a:solidFill>
                <a:prstClr val="black"/>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0" name="object 17">
            <a:extLst>
              <a:ext uri="{FF2B5EF4-FFF2-40B4-BE49-F238E27FC236}">
                <a16:creationId xmlns:a16="http://schemas.microsoft.com/office/drawing/2014/main" id="{A43B0BD0-5EE8-A247-8684-0357E4C78854}"/>
              </a:ext>
            </a:extLst>
          </p:cNvPr>
          <p:cNvSpPr txBox="1"/>
          <p:nvPr/>
        </p:nvSpPr>
        <p:spPr>
          <a:xfrm>
            <a:off x="2032794" y="2879912"/>
            <a:ext cx="207963" cy="153988"/>
          </a:xfrm>
          <a:prstGeom prst="rect">
            <a:avLst/>
          </a:prstGeom>
        </p:spPr>
        <p:style>
          <a:lnRef idx="0">
            <a:scrgbClr r="0" g="0" b="0"/>
          </a:lnRef>
          <a:fillRef idx="0">
            <a:scrgbClr r="0" g="0" b="0"/>
          </a:fillRef>
          <a:effectRef idx="0">
            <a:scrgbClr r="0" g="0" b="0"/>
          </a:effectRef>
          <a:fontRef idx="major"/>
        </p:style>
        <p:txBody>
          <a:bodyPr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prstClr val="black"/>
                </a:solidFill>
                <a:latin typeface="Segoe UI Historic" panose="020B0502040204020203" pitchFamily="34" charset="0"/>
                <a:ea typeface="Segoe UI Historic" panose="020B0502040204020203" pitchFamily="34" charset="0"/>
                <a:cs typeface="Segoe UI Historic" panose="020B0502040204020203" pitchFamily="34" charset="0"/>
              </a:rPr>
              <a:t>9%</a:t>
            </a:r>
            <a:endParaRPr sz="1000">
              <a:solidFill>
                <a:prstClr val="black"/>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1" name="object 18">
            <a:extLst>
              <a:ext uri="{FF2B5EF4-FFF2-40B4-BE49-F238E27FC236}">
                <a16:creationId xmlns:a16="http://schemas.microsoft.com/office/drawing/2014/main" id="{1A6759CC-07E8-3040-AB12-6DB3DB04DE77}"/>
              </a:ext>
            </a:extLst>
          </p:cNvPr>
          <p:cNvSpPr txBox="1"/>
          <p:nvPr/>
        </p:nvSpPr>
        <p:spPr>
          <a:xfrm>
            <a:off x="5082382" y="2763720"/>
            <a:ext cx="207962" cy="307975"/>
          </a:xfrm>
          <a:prstGeom prst="rect">
            <a:avLst/>
          </a:prstGeom>
        </p:spPr>
        <p:style>
          <a:lnRef idx="0">
            <a:scrgbClr r="0" g="0" b="0"/>
          </a:lnRef>
          <a:fillRef idx="0">
            <a:scrgbClr r="0" g="0" b="0"/>
          </a:fillRef>
          <a:effectRef idx="0">
            <a:scrgbClr r="0" g="0" b="0"/>
          </a:effectRef>
          <a:fontRef idx="major"/>
        </p:style>
        <p:txBody>
          <a:bodyPr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prstClr val="black"/>
                </a:solidFill>
                <a:latin typeface="Segoe UI Historic" panose="020B0502040204020203" pitchFamily="34" charset="0"/>
                <a:ea typeface="Segoe UI Historic" panose="020B0502040204020203" pitchFamily="34" charset="0"/>
                <a:cs typeface="Segoe UI Historic" panose="020B0502040204020203" pitchFamily="34" charset="0"/>
              </a:rPr>
              <a:t>2%</a:t>
            </a:r>
            <a:endParaRPr sz="1000" dirty="0">
              <a:solidFill>
                <a:prstClr val="black"/>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12700">
              <a:spcBef>
                <a:spcPts val="25"/>
              </a:spcBef>
              <a:defRPr/>
            </a:pPr>
            <a:r>
              <a:rPr sz="1000" spc="-10" dirty="0">
                <a:solidFill>
                  <a:prstClr val="black"/>
                </a:solidFill>
                <a:latin typeface="Segoe UI Historic" panose="020B0502040204020203" pitchFamily="34" charset="0"/>
                <a:ea typeface="Segoe UI Historic" panose="020B0502040204020203" pitchFamily="34" charset="0"/>
                <a:cs typeface="Segoe UI Historic" panose="020B0502040204020203" pitchFamily="34" charset="0"/>
              </a:rPr>
              <a:t>9%</a:t>
            </a:r>
            <a:endParaRPr sz="1000" dirty="0">
              <a:solidFill>
                <a:prstClr val="black"/>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2" name="object 19">
            <a:extLst>
              <a:ext uri="{FF2B5EF4-FFF2-40B4-BE49-F238E27FC236}">
                <a16:creationId xmlns:a16="http://schemas.microsoft.com/office/drawing/2014/main" id="{1D0DDA62-C47E-B94F-9E5B-FF9C1752230B}"/>
              </a:ext>
            </a:extLst>
          </p:cNvPr>
          <p:cNvSpPr txBox="1"/>
          <p:nvPr/>
        </p:nvSpPr>
        <p:spPr>
          <a:xfrm>
            <a:off x="1623219" y="5740587"/>
            <a:ext cx="1028700" cy="168275"/>
          </a:xfrm>
          <a:prstGeom prst="rect">
            <a:avLst/>
          </a:prstGeom>
        </p:spPr>
        <p:style>
          <a:lnRef idx="0">
            <a:scrgbClr r="0" g="0" b="0"/>
          </a:lnRef>
          <a:fillRef idx="0">
            <a:scrgbClr r="0" g="0" b="0"/>
          </a:fillRef>
          <a:effectRef idx="0">
            <a:scrgbClr r="0" g="0" b="0"/>
          </a:effectRef>
          <a:fontRef idx="major"/>
        </p:style>
        <p:txBody>
          <a:bodyPr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100" spc="-5"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Recent</a:t>
            </a:r>
            <a:r>
              <a:rPr sz="1100" spc="-55"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a:t>
            </a:r>
            <a:r>
              <a:rPr sz="1100" spc="-5"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Retirees</a:t>
            </a:r>
            <a:endParaRPr sz="11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3" name="object 20">
            <a:extLst>
              <a:ext uri="{FF2B5EF4-FFF2-40B4-BE49-F238E27FC236}">
                <a16:creationId xmlns:a16="http://schemas.microsoft.com/office/drawing/2014/main" id="{0E90E8BE-A2FB-0B4C-A166-1DCE5C41F477}"/>
              </a:ext>
            </a:extLst>
          </p:cNvPr>
          <p:cNvSpPr txBox="1"/>
          <p:nvPr/>
        </p:nvSpPr>
        <p:spPr>
          <a:xfrm>
            <a:off x="4774407" y="5740587"/>
            <a:ext cx="822325" cy="168275"/>
          </a:xfrm>
          <a:prstGeom prst="rect">
            <a:avLst/>
          </a:prstGeom>
        </p:spPr>
        <p:style>
          <a:lnRef idx="0">
            <a:scrgbClr r="0" g="0" b="0"/>
          </a:lnRef>
          <a:fillRef idx="0">
            <a:scrgbClr r="0" g="0" b="0"/>
          </a:fillRef>
          <a:effectRef idx="0">
            <a:scrgbClr r="0" g="0" b="0"/>
          </a:effectRef>
          <a:fontRef idx="major"/>
        </p:style>
        <p:txBody>
          <a:bodyPr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100" spc="-5"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10+</a:t>
            </a:r>
            <a:r>
              <a:rPr sz="1100" spc="-65"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a:t>
            </a:r>
            <a:r>
              <a:rPr sz="1100" spc="-5"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Retirees</a:t>
            </a:r>
            <a:endParaRPr sz="11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34" name="object 31">
            <a:extLst>
              <a:ext uri="{FF2B5EF4-FFF2-40B4-BE49-F238E27FC236}">
                <a16:creationId xmlns:a16="http://schemas.microsoft.com/office/drawing/2014/main" id="{5720A67C-9E38-964B-8FE8-5E76833F2D1B}"/>
              </a:ext>
            </a:extLst>
          </p:cNvPr>
          <p:cNvSpPr>
            <a:spLocks/>
          </p:cNvSpPr>
          <p:nvPr/>
        </p:nvSpPr>
        <p:spPr bwMode="auto">
          <a:xfrm>
            <a:off x="1224757" y="4975412"/>
            <a:ext cx="274637" cy="679450"/>
          </a:xfrm>
          <a:custGeom>
            <a:avLst/>
            <a:gdLst>
              <a:gd name="T0" fmla="*/ 275593 w 274319"/>
              <a:gd name="T1" fmla="*/ 677169 h 680085"/>
              <a:gd name="T2" fmla="*/ 221955 w 274319"/>
              <a:gd name="T3" fmla="*/ 675379 h 680085"/>
              <a:gd name="T4" fmla="*/ 178155 w 274319"/>
              <a:gd name="T5" fmla="*/ 670497 h 680085"/>
              <a:gd name="T6" fmla="*/ 148625 w 274319"/>
              <a:gd name="T7" fmla="*/ 663258 h 680085"/>
              <a:gd name="T8" fmla="*/ 137796 w 274319"/>
              <a:gd name="T9" fmla="*/ 654394 h 680085"/>
              <a:gd name="T10" fmla="*/ 137796 w 274319"/>
              <a:gd name="T11" fmla="*/ 361359 h 680085"/>
              <a:gd name="T12" fmla="*/ 126969 w 274319"/>
              <a:gd name="T13" fmla="*/ 352495 h 680085"/>
              <a:gd name="T14" fmla="*/ 97439 w 274319"/>
              <a:gd name="T15" fmla="*/ 345255 h 680085"/>
              <a:gd name="T16" fmla="*/ 53638 w 274319"/>
              <a:gd name="T17" fmla="*/ 340374 h 680085"/>
              <a:gd name="T18" fmla="*/ 0 w 274319"/>
              <a:gd name="T19" fmla="*/ 338585 h 680085"/>
              <a:gd name="T20" fmla="*/ 53638 w 274319"/>
              <a:gd name="T21" fmla="*/ 336794 h 680085"/>
              <a:gd name="T22" fmla="*/ 97439 w 274319"/>
              <a:gd name="T23" fmla="*/ 331913 h 680085"/>
              <a:gd name="T24" fmla="*/ 126969 w 274319"/>
              <a:gd name="T25" fmla="*/ 324674 h 680085"/>
              <a:gd name="T26" fmla="*/ 137796 w 274319"/>
              <a:gd name="T27" fmla="*/ 315810 h 680085"/>
              <a:gd name="T28" fmla="*/ 137796 w 274319"/>
              <a:gd name="T29" fmla="*/ 22776 h 680085"/>
              <a:gd name="T30" fmla="*/ 148625 w 274319"/>
              <a:gd name="T31" fmla="*/ 13910 h 680085"/>
              <a:gd name="T32" fmla="*/ 178155 w 274319"/>
              <a:gd name="T33" fmla="*/ 6672 h 680085"/>
              <a:gd name="T34" fmla="*/ 221955 w 274319"/>
              <a:gd name="T35" fmla="*/ 1788 h 680085"/>
              <a:gd name="T36" fmla="*/ 275593 w 274319"/>
              <a:gd name="T37" fmla="*/ 0 h 6800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74319" h="680085">
                <a:moveTo>
                  <a:pt x="274319" y="679704"/>
                </a:moveTo>
                <a:lnTo>
                  <a:pt x="220929" y="677907"/>
                </a:lnTo>
                <a:lnTo>
                  <a:pt x="177331" y="673007"/>
                </a:lnTo>
                <a:lnTo>
                  <a:pt x="147938" y="665741"/>
                </a:lnTo>
                <a:lnTo>
                  <a:pt x="137159" y="656844"/>
                </a:lnTo>
                <a:lnTo>
                  <a:pt x="137159" y="362712"/>
                </a:lnTo>
                <a:lnTo>
                  <a:pt x="126381" y="353814"/>
                </a:lnTo>
                <a:lnTo>
                  <a:pt x="96988" y="346548"/>
                </a:lnTo>
                <a:lnTo>
                  <a:pt x="53390" y="341648"/>
                </a:lnTo>
                <a:lnTo>
                  <a:pt x="0" y="339852"/>
                </a:lnTo>
                <a:lnTo>
                  <a:pt x="53390" y="338055"/>
                </a:lnTo>
                <a:lnTo>
                  <a:pt x="96988" y="333155"/>
                </a:lnTo>
                <a:lnTo>
                  <a:pt x="126381" y="325889"/>
                </a:lnTo>
                <a:lnTo>
                  <a:pt x="137159" y="316992"/>
                </a:lnTo>
                <a:lnTo>
                  <a:pt x="137159" y="22860"/>
                </a:lnTo>
                <a:lnTo>
                  <a:pt x="147938" y="13962"/>
                </a:lnTo>
                <a:lnTo>
                  <a:pt x="177331" y="6696"/>
                </a:lnTo>
                <a:lnTo>
                  <a:pt x="220929" y="1796"/>
                </a:lnTo>
                <a:lnTo>
                  <a:pt x="274319" y="0"/>
                </a:lnTo>
              </a:path>
            </a:pathLst>
          </a:custGeom>
          <a:noFill/>
          <a:ln w="9144">
            <a:solidFill>
              <a:schemeClr val="bg1">
                <a:lumMod val="50000"/>
              </a:schemeClr>
            </a:solidFill>
            <a:round/>
            <a:headEnd/>
            <a:tailEnd/>
          </a:ln>
          <a:extLst>
            <a:ext uri="{909E8E84-426E-40DD-AFC4-6F175D3DCCD1}">
              <a14:hiddenFill xmlns:a14="http://schemas.microsoft.com/office/drawing/2010/main">
                <a:solidFill>
                  <a:srgbClr val="FFFFFF"/>
                </a:solidFill>
              </a14:hiddenFill>
            </a:ext>
          </a:extLst>
        </p:spPr>
        <p:style>
          <a:lnRef idx="0">
            <a:scrgbClr r="0" g="0" b="0"/>
          </a:lnRef>
          <a:fillRef idx="0">
            <a:scrgbClr r="0" g="0" b="0"/>
          </a:fillRef>
          <a:effectRef idx="0">
            <a:scrgbClr r="0" g="0" b="0"/>
          </a:effectRef>
          <a:fontRef idx="major"/>
        </p:style>
        <p:txBody>
          <a:bodyPr lIns="0" tIns="0" rIns="0" b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eaLnBrk="0" fontAlgn="base" hangingPunct="0">
              <a:spcBef>
                <a:spcPct val="0"/>
              </a:spcBef>
              <a:spcAft>
                <a:spcPct val="0"/>
              </a:spcAft>
            </a:pPr>
            <a:endParaRPr lang="en-US">
              <a:solidFill>
                <a:prstClr val="black"/>
              </a:solidFill>
              <a:ea typeface="MS PGothic" pitchFamily="34" charset="-128"/>
            </a:endParaRPr>
          </a:p>
        </p:txBody>
      </p:sp>
      <p:sp>
        <p:nvSpPr>
          <p:cNvPr id="36" name="object 36">
            <a:extLst>
              <a:ext uri="{FF2B5EF4-FFF2-40B4-BE49-F238E27FC236}">
                <a16:creationId xmlns:a16="http://schemas.microsoft.com/office/drawing/2014/main" id="{A4F21514-9685-9545-B565-D1832B507F67}"/>
              </a:ext>
            </a:extLst>
          </p:cNvPr>
          <p:cNvSpPr>
            <a:spLocks/>
          </p:cNvSpPr>
          <p:nvPr/>
        </p:nvSpPr>
        <p:spPr bwMode="auto">
          <a:xfrm>
            <a:off x="1224757" y="2830700"/>
            <a:ext cx="274637" cy="274637"/>
          </a:xfrm>
          <a:custGeom>
            <a:avLst/>
            <a:gdLst>
              <a:gd name="T0" fmla="*/ 275593 w 274319"/>
              <a:gd name="T1" fmla="*/ 275594 h 274319"/>
              <a:gd name="T2" fmla="*/ 221955 w 274319"/>
              <a:gd name="T3" fmla="*/ 273789 h 274319"/>
              <a:gd name="T4" fmla="*/ 178155 w 274319"/>
              <a:gd name="T5" fmla="*/ 268866 h 274319"/>
              <a:gd name="T6" fmla="*/ 148625 w 274319"/>
              <a:gd name="T7" fmla="*/ 261567 h 274319"/>
              <a:gd name="T8" fmla="*/ 137796 w 274319"/>
              <a:gd name="T9" fmla="*/ 252629 h 274319"/>
              <a:gd name="T10" fmla="*/ 137796 w 274319"/>
              <a:gd name="T11" fmla="*/ 160764 h 274319"/>
              <a:gd name="T12" fmla="*/ 126969 w 274319"/>
              <a:gd name="T13" fmla="*/ 151824 h 274319"/>
              <a:gd name="T14" fmla="*/ 97439 w 274319"/>
              <a:gd name="T15" fmla="*/ 144524 h 274319"/>
              <a:gd name="T16" fmla="*/ 53638 w 274319"/>
              <a:gd name="T17" fmla="*/ 139601 h 274319"/>
              <a:gd name="T18" fmla="*/ 0 w 274319"/>
              <a:gd name="T19" fmla="*/ 137797 h 274319"/>
              <a:gd name="T20" fmla="*/ 53638 w 274319"/>
              <a:gd name="T21" fmla="*/ 135991 h 274319"/>
              <a:gd name="T22" fmla="*/ 97439 w 274319"/>
              <a:gd name="T23" fmla="*/ 131069 h 274319"/>
              <a:gd name="T24" fmla="*/ 126969 w 274319"/>
              <a:gd name="T25" fmla="*/ 123769 h 274319"/>
              <a:gd name="T26" fmla="*/ 137796 w 274319"/>
              <a:gd name="T27" fmla="*/ 114832 h 274319"/>
              <a:gd name="T28" fmla="*/ 137796 w 274319"/>
              <a:gd name="T29" fmla="*/ 22968 h 274319"/>
              <a:gd name="T30" fmla="*/ 148625 w 274319"/>
              <a:gd name="T31" fmla="*/ 14026 h 274319"/>
              <a:gd name="T32" fmla="*/ 178155 w 274319"/>
              <a:gd name="T33" fmla="*/ 6728 h 274319"/>
              <a:gd name="T34" fmla="*/ 221955 w 274319"/>
              <a:gd name="T35" fmla="*/ 1804 h 274319"/>
              <a:gd name="T36" fmla="*/ 275593 w 274319"/>
              <a:gd name="T37" fmla="*/ 0 h 2743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74319" h="274319">
                <a:moveTo>
                  <a:pt x="274319" y="274320"/>
                </a:moveTo>
                <a:lnTo>
                  <a:pt x="220929" y="272523"/>
                </a:lnTo>
                <a:lnTo>
                  <a:pt x="177331" y="267623"/>
                </a:lnTo>
                <a:lnTo>
                  <a:pt x="147938" y="260357"/>
                </a:lnTo>
                <a:lnTo>
                  <a:pt x="137159" y="251460"/>
                </a:lnTo>
                <a:lnTo>
                  <a:pt x="137159" y="160020"/>
                </a:lnTo>
                <a:lnTo>
                  <a:pt x="126381" y="151122"/>
                </a:lnTo>
                <a:lnTo>
                  <a:pt x="96988" y="143856"/>
                </a:lnTo>
                <a:lnTo>
                  <a:pt x="53390" y="138956"/>
                </a:lnTo>
                <a:lnTo>
                  <a:pt x="0" y="137160"/>
                </a:lnTo>
                <a:lnTo>
                  <a:pt x="53390" y="135363"/>
                </a:lnTo>
                <a:lnTo>
                  <a:pt x="96988" y="130463"/>
                </a:lnTo>
                <a:lnTo>
                  <a:pt x="126381" y="123197"/>
                </a:lnTo>
                <a:lnTo>
                  <a:pt x="137159" y="114300"/>
                </a:lnTo>
                <a:lnTo>
                  <a:pt x="137159" y="22860"/>
                </a:lnTo>
                <a:lnTo>
                  <a:pt x="147938" y="13962"/>
                </a:lnTo>
                <a:lnTo>
                  <a:pt x="177331" y="6696"/>
                </a:lnTo>
                <a:lnTo>
                  <a:pt x="220929" y="1796"/>
                </a:lnTo>
                <a:lnTo>
                  <a:pt x="274319" y="0"/>
                </a:lnTo>
              </a:path>
            </a:pathLst>
          </a:custGeom>
          <a:noFill/>
          <a:ln w="9144">
            <a:solidFill>
              <a:schemeClr val="bg1">
                <a:lumMod val="50000"/>
              </a:schemeClr>
            </a:solidFill>
            <a:round/>
            <a:headEnd/>
            <a:tailEnd/>
          </a:ln>
          <a:extLst>
            <a:ext uri="{909E8E84-426E-40DD-AFC4-6F175D3DCCD1}">
              <a14:hiddenFill xmlns:a14="http://schemas.microsoft.com/office/drawing/2010/main">
                <a:solidFill>
                  <a:srgbClr val="FFFFFF"/>
                </a:solidFill>
              </a14:hiddenFill>
            </a:ext>
          </a:extLst>
        </p:spPr>
        <p:style>
          <a:lnRef idx="0">
            <a:scrgbClr r="0" g="0" b="0"/>
          </a:lnRef>
          <a:fillRef idx="0">
            <a:scrgbClr r="0" g="0" b="0"/>
          </a:fillRef>
          <a:effectRef idx="0">
            <a:scrgbClr r="0" g="0" b="0"/>
          </a:effectRef>
          <a:fontRef idx="major"/>
        </p:style>
        <p:txBody>
          <a:bodyPr lIns="0" tIns="0" rIns="0" b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eaLnBrk="0" fontAlgn="base" hangingPunct="0">
              <a:spcBef>
                <a:spcPct val="0"/>
              </a:spcBef>
              <a:spcAft>
                <a:spcPct val="0"/>
              </a:spcAft>
            </a:pPr>
            <a:endParaRPr lang="en-US">
              <a:solidFill>
                <a:prstClr val="black"/>
              </a:solidFill>
              <a:ea typeface="MS PGothic" pitchFamily="34" charset="-128"/>
            </a:endParaRPr>
          </a:p>
        </p:txBody>
      </p:sp>
      <p:sp>
        <p:nvSpPr>
          <p:cNvPr id="37" name="object 37">
            <a:extLst>
              <a:ext uri="{FF2B5EF4-FFF2-40B4-BE49-F238E27FC236}">
                <a16:creationId xmlns:a16="http://schemas.microsoft.com/office/drawing/2014/main" id="{9CCC21F4-2EC3-0C4C-972C-C34C0323E25F}"/>
              </a:ext>
            </a:extLst>
          </p:cNvPr>
          <p:cNvSpPr>
            <a:spLocks/>
          </p:cNvSpPr>
          <p:nvPr/>
        </p:nvSpPr>
        <p:spPr bwMode="auto">
          <a:xfrm>
            <a:off x="4258469" y="2859275"/>
            <a:ext cx="274638" cy="315912"/>
          </a:xfrm>
          <a:custGeom>
            <a:avLst/>
            <a:gdLst>
              <a:gd name="T0" fmla="*/ 275594 w 274320"/>
              <a:gd name="T1" fmla="*/ 316741 h 315594"/>
              <a:gd name="T2" fmla="*/ 221955 w 274320"/>
              <a:gd name="T3" fmla="*/ 314937 h 315594"/>
              <a:gd name="T4" fmla="*/ 178155 w 274320"/>
              <a:gd name="T5" fmla="*/ 310017 h 315594"/>
              <a:gd name="T6" fmla="*/ 148625 w 274320"/>
              <a:gd name="T7" fmla="*/ 302722 h 315594"/>
              <a:gd name="T8" fmla="*/ 137797 w 274320"/>
              <a:gd name="T9" fmla="*/ 293788 h 315594"/>
              <a:gd name="T10" fmla="*/ 137797 w 274320"/>
              <a:gd name="T11" fmla="*/ 181322 h 315594"/>
              <a:gd name="T12" fmla="*/ 126969 w 274320"/>
              <a:gd name="T13" fmla="*/ 172389 h 315594"/>
              <a:gd name="T14" fmla="*/ 97439 w 274320"/>
              <a:gd name="T15" fmla="*/ 165094 h 315594"/>
              <a:gd name="T16" fmla="*/ 53638 w 274320"/>
              <a:gd name="T17" fmla="*/ 160174 h 315594"/>
              <a:gd name="T18" fmla="*/ 0 w 274320"/>
              <a:gd name="T19" fmla="*/ 158369 h 315594"/>
              <a:gd name="T20" fmla="*/ 53638 w 274320"/>
              <a:gd name="T21" fmla="*/ 156566 h 315594"/>
              <a:gd name="T22" fmla="*/ 97439 w 274320"/>
              <a:gd name="T23" fmla="*/ 151646 h 315594"/>
              <a:gd name="T24" fmla="*/ 126969 w 274320"/>
              <a:gd name="T25" fmla="*/ 144351 h 315594"/>
              <a:gd name="T26" fmla="*/ 137797 w 274320"/>
              <a:gd name="T27" fmla="*/ 135417 h 315594"/>
              <a:gd name="T28" fmla="*/ 137797 w 274320"/>
              <a:gd name="T29" fmla="*/ 22951 h 315594"/>
              <a:gd name="T30" fmla="*/ 148625 w 274320"/>
              <a:gd name="T31" fmla="*/ 14018 h 315594"/>
              <a:gd name="T32" fmla="*/ 178155 w 274320"/>
              <a:gd name="T33" fmla="*/ 6724 h 315594"/>
              <a:gd name="T34" fmla="*/ 221955 w 274320"/>
              <a:gd name="T35" fmla="*/ 1804 h 315594"/>
              <a:gd name="T36" fmla="*/ 275594 w 274320"/>
              <a:gd name="T37" fmla="*/ 0 h 3155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74320" h="315594">
                <a:moveTo>
                  <a:pt x="274320" y="315467"/>
                </a:moveTo>
                <a:lnTo>
                  <a:pt x="220929" y="313671"/>
                </a:lnTo>
                <a:lnTo>
                  <a:pt x="177331" y="308771"/>
                </a:lnTo>
                <a:lnTo>
                  <a:pt x="147938" y="301505"/>
                </a:lnTo>
                <a:lnTo>
                  <a:pt x="137160" y="292607"/>
                </a:lnTo>
                <a:lnTo>
                  <a:pt x="137160" y="180593"/>
                </a:lnTo>
                <a:lnTo>
                  <a:pt x="126381" y="171696"/>
                </a:lnTo>
                <a:lnTo>
                  <a:pt x="96988" y="164430"/>
                </a:lnTo>
                <a:lnTo>
                  <a:pt x="53390" y="159530"/>
                </a:lnTo>
                <a:lnTo>
                  <a:pt x="0" y="157733"/>
                </a:lnTo>
                <a:lnTo>
                  <a:pt x="53390" y="155937"/>
                </a:lnTo>
                <a:lnTo>
                  <a:pt x="96988" y="151037"/>
                </a:lnTo>
                <a:lnTo>
                  <a:pt x="126381" y="143771"/>
                </a:lnTo>
                <a:lnTo>
                  <a:pt x="137160" y="134873"/>
                </a:lnTo>
                <a:lnTo>
                  <a:pt x="137160" y="22859"/>
                </a:lnTo>
                <a:lnTo>
                  <a:pt x="147938" y="13962"/>
                </a:lnTo>
                <a:lnTo>
                  <a:pt x="177331" y="6696"/>
                </a:lnTo>
                <a:lnTo>
                  <a:pt x="220929" y="1796"/>
                </a:lnTo>
                <a:lnTo>
                  <a:pt x="274320" y="0"/>
                </a:lnTo>
              </a:path>
            </a:pathLst>
          </a:custGeom>
          <a:noFill/>
          <a:ln w="9144">
            <a:solidFill>
              <a:schemeClr val="bg1">
                <a:lumMod val="50000"/>
              </a:schemeClr>
            </a:solidFill>
            <a:round/>
            <a:headEnd/>
            <a:tailEnd/>
          </a:ln>
          <a:extLst>
            <a:ext uri="{909E8E84-426E-40DD-AFC4-6F175D3DCCD1}">
              <a14:hiddenFill xmlns:a14="http://schemas.microsoft.com/office/drawing/2010/main">
                <a:solidFill>
                  <a:srgbClr val="FFFFFF"/>
                </a:solidFill>
              </a14:hiddenFill>
            </a:ext>
          </a:extLst>
        </p:spPr>
        <p:style>
          <a:lnRef idx="0">
            <a:scrgbClr r="0" g="0" b="0"/>
          </a:lnRef>
          <a:fillRef idx="0">
            <a:scrgbClr r="0" g="0" b="0"/>
          </a:fillRef>
          <a:effectRef idx="0">
            <a:scrgbClr r="0" g="0" b="0"/>
          </a:effectRef>
          <a:fontRef idx="major"/>
        </p:style>
        <p:txBody>
          <a:bodyPr lIns="0" tIns="0" rIns="0" b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eaLnBrk="0" fontAlgn="base" hangingPunct="0">
              <a:spcBef>
                <a:spcPct val="0"/>
              </a:spcBef>
              <a:spcAft>
                <a:spcPct val="0"/>
              </a:spcAft>
            </a:pPr>
            <a:endParaRPr lang="en-US">
              <a:solidFill>
                <a:prstClr val="black"/>
              </a:solidFill>
              <a:ea typeface="MS PGothic" pitchFamily="34" charset="-128"/>
            </a:endParaRPr>
          </a:p>
        </p:txBody>
      </p:sp>
      <p:sp>
        <p:nvSpPr>
          <p:cNvPr id="38" name="object 38">
            <a:extLst>
              <a:ext uri="{FF2B5EF4-FFF2-40B4-BE49-F238E27FC236}">
                <a16:creationId xmlns:a16="http://schemas.microsoft.com/office/drawing/2014/main" id="{E4F44D87-9D76-DC48-B3FF-A93324290CE7}"/>
              </a:ext>
            </a:extLst>
          </p:cNvPr>
          <p:cNvSpPr txBox="1"/>
          <p:nvPr/>
        </p:nvSpPr>
        <p:spPr>
          <a:xfrm>
            <a:off x="3893467" y="2944511"/>
            <a:ext cx="304800" cy="169862"/>
          </a:xfrm>
          <a:prstGeom prst="rect">
            <a:avLst/>
          </a:prstGeom>
        </p:spPr>
        <p:style>
          <a:lnRef idx="0">
            <a:scrgbClr r="0" g="0" b="0"/>
          </a:lnRef>
          <a:fillRef idx="0">
            <a:scrgbClr r="0" g="0" b="0"/>
          </a:fillRef>
          <a:effectRef idx="0">
            <a:scrgbClr r="0" g="0" b="0"/>
          </a:effectRef>
          <a:fontRef idx="major"/>
        </p:style>
        <p:txBody>
          <a:bodyPr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100" spc="-5" dirty="0">
                <a:solidFill>
                  <a:schemeClr val="bg1">
                    <a:lumMod val="50000"/>
                  </a:schemeClr>
                </a:solidFill>
                <a:latin typeface="Segoe UI Historic" panose="020B0502040204020203" pitchFamily="34" charset="0"/>
                <a:ea typeface="Segoe UI Historic" panose="020B0502040204020203" pitchFamily="34" charset="0"/>
                <a:cs typeface="Segoe UI Historic" panose="020B0502040204020203" pitchFamily="34" charset="0"/>
              </a:rPr>
              <a:t>11%</a:t>
            </a:r>
            <a:endParaRPr sz="1100" dirty="0">
              <a:solidFill>
                <a:schemeClr val="bg1">
                  <a:lumMod val="50000"/>
                </a:schemeClr>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39" name="object 39">
            <a:extLst>
              <a:ext uri="{FF2B5EF4-FFF2-40B4-BE49-F238E27FC236}">
                <a16:creationId xmlns:a16="http://schemas.microsoft.com/office/drawing/2014/main" id="{C70E4697-CFFC-0441-8A16-EE9F4C15D812}"/>
              </a:ext>
            </a:extLst>
          </p:cNvPr>
          <p:cNvSpPr txBox="1"/>
          <p:nvPr/>
        </p:nvSpPr>
        <p:spPr>
          <a:xfrm>
            <a:off x="3936207" y="5121462"/>
            <a:ext cx="306387" cy="169863"/>
          </a:xfrm>
          <a:prstGeom prst="rect">
            <a:avLst/>
          </a:prstGeom>
        </p:spPr>
        <p:style>
          <a:lnRef idx="0">
            <a:scrgbClr r="0" g="0" b="0"/>
          </a:lnRef>
          <a:fillRef idx="0">
            <a:scrgbClr r="0" g="0" b="0"/>
          </a:fillRef>
          <a:effectRef idx="0">
            <a:scrgbClr r="0" g="0" b="0"/>
          </a:effectRef>
          <a:fontRef idx="major"/>
        </p:style>
        <p:txBody>
          <a:bodyPr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100" b="1" spc="-5" dirty="0">
                <a:solidFill>
                  <a:schemeClr val="bg1">
                    <a:lumMod val="50000"/>
                  </a:schemeClr>
                </a:solidFill>
                <a:ea typeface="MS PGothic" pitchFamily="34" charset="-128"/>
                <a:cs typeface="Arial" panose="020B0604020202020204" pitchFamily="34" charset="0"/>
              </a:rPr>
              <a:t>33%</a:t>
            </a:r>
            <a:endParaRPr sz="1100">
              <a:solidFill>
                <a:schemeClr val="bg1">
                  <a:lumMod val="50000"/>
                </a:schemeClr>
              </a:solidFill>
              <a:ea typeface="MS PGothic" pitchFamily="34" charset="-128"/>
              <a:cs typeface="Arial" panose="020B0604020202020204" pitchFamily="34" charset="0"/>
            </a:endParaRPr>
          </a:p>
        </p:txBody>
      </p:sp>
      <p:sp>
        <p:nvSpPr>
          <p:cNvPr id="40" name="object 40">
            <a:extLst>
              <a:ext uri="{FF2B5EF4-FFF2-40B4-BE49-F238E27FC236}">
                <a16:creationId xmlns:a16="http://schemas.microsoft.com/office/drawing/2014/main" id="{72B9FCD7-73C9-7340-8BDC-2025F52924A1}"/>
              </a:ext>
            </a:extLst>
          </p:cNvPr>
          <p:cNvSpPr>
            <a:spLocks/>
          </p:cNvSpPr>
          <p:nvPr/>
        </p:nvSpPr>
        <p:spPr bwMode="auto">
          <a:xfrm>
            <a:off x="4279107" y="4767450"/>
            <a:ext cx="274637" cy="887412"/>
          </a:xfrm>
          <a:custGeom>
            <a:avLst/>
            <a:gdLst>
              <a:gd name="T0" fmla="*/ 275590 w 274320"/>
              <a:gd name="T1" fmla="*/ 888236 h 887095"/>
              <a:gd name="T2" fmla="*/ 221952 w 274320"/>
              <a:gd name="T3" fmla="*/ 886437 h 887095"/>
              <a:gd name="T4" fmla="*/ 178152 w 274320"/>
              <a:gd name="T5" fmla="*/ 881531 h 887095"/>
              <a:gd name="T6" fmla="*/ 148623 w 274320"/>
              <a:gd name="T7" fmla="*/ 874253 h 887095"/>
              <a:gd name="T8" fmla="*/ 137796 w 274320"/>
              <a:gd name="T9" fmla="*/ 865344 h 887095"/>
              <a:gd name="T10" fmla="*/ 137796 w 274320"/>
              <a:gd name="T11" fmla="*/ 467012 h 887095"/>
              <a:gd name="T12" fmla="*/ 126966 w 274320"/>
              <a:gd name="T13" fmla="*/ 458101 h 887095"/>
              <a:gd name="T14" fmla="*/ 97436 w 274320"/>
              <a:gd name="T15" fmla="*/ 450824 h 887095"/>
              <a:gd name="T16" fmla="*/ 53638 w 274320"/>
              <a:gd name="T17" fmla="*/ 445916 h 887095"/>
              <a:gd name="T18" fmla="*/ 0 w 274320"/>
              <a:gd name="T19" fmla="*/ 444119 h 887095"/>
              <a:gd name="T20" fmla="*/ 53638 w 274320"/>
              <a:gd name="T21" fmla="*/ 442319 h 887095"/>
              <a:gd name="T22" fmla="*/ 97436 w 274320"/>
              <a:gd name="T23" fmla="*/ 437411 h 887095"/>
              <a:gd name="T24" fmla="*/ 126966 w 274320"/>
              <a:gd name="T25" fmla="*/ 430136 h 887095"/>
              <a:gd name="T26" fmla="*/ 137796 w 274320"/>
              <a:gd name="T27" fmla="*/ 421224 h 887095"/>
              <a:gd name="T28" fmla="*/ 137796 w 274320"/>
              <a:gd name="T29" fmla="*/ 22891 h 887095"/>
              <a:gd name="T30" fmla="*/ 148623 w 274320"/>
              <a:gd name="T31" fmla="*/ 13982 h 887095"/>
              <a:gd name="T32" fmla="*/ 178152 w 274320"/>
              <a:gd name="T33" fmla="*/ 6704 h 887095"/>
              <a:gd name="T34" fmla="*/ 221952 w 274320"/>
              <a:gd name="T35" fmla="*/ 1800 h 887095"/>
              <a:gd name="T36" fmla="*/ 275590 w 274320"/>
              <a:gd name="T37" fmla="*/ 0 h 8870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74320" h="887095">
                <a:moveTo>
                  <a:pt x="274320" y="886968"/>
                </a:moveTo>
                <a:lnTo>
                  <a:pt x="220929" y="885171"/>
                </a:lnTo>
                <a:lnTo>
                  <a:pt x="177331" y="880271"/>
                </a:lnTo>
                <a:lnTo>
                  <a:pt x="147938" y="873005"/>
                </a:lnTo>
                <a:lnTo>
                  <a:pt x="137160" y="864108"/>
                </a:lnTo>
                <a:lnTo>
                  <a:pt x="137160" y="466344"/>
                </a:lnTo>
                <a:lnTo>
                  <a:pt x="126381" y="457446"/>
                </a:lnTo>
                <a:lnTo>
                  <a:pt x="96988" y="450180"/>
                </a:lnTo>
                <a:lnTo>
                  <a:pt x="53390" y="445280"/>
                </a:lnTo>
                <a:lnTo>
                  <a:pt x="0" y="443484"/>
                </a:lnTo>
                <a:lnTo>
                  <a:pt x="53390" y="441687"/>
                </a:lnTo>
                <a:lnTo>
                  <a:pt x="96988" y="436787"/>
                </a:lnTo>
                <a:lnTo>
                  <a:pt x="126381" y="429521"/>
                </a:lnTo>
                <a:lnTo>
                  <a:pt x="137160" y="420624"/>
                </a:lnTo>
                <a:lnTo>
                  <a:pt x="137160" y="22859"/>
                </a:lnTo>
                <a:lnTo>
                  <a:pt x="147938" y="13962"/>
                </a:lnTo>
                <a:lnTo>
                  <a:pt x="177331" y="6696"/>
                </a:lnTo>
                <a:lnTo>
                  <a:pt x="220929" y="1796"/>
                </a:lnTo>
                <a:lnTo>
                  <a:pt x="274320" y="0"/>
                </a:lnTo>
              </a:path>
            </a:pathLst>
          </a:custGeom>
          <a:noFill/>
          <a:ln w="9144">
            <a:solidFill>
              <a:schemeClr val="bg1">
                <a:lumMod val="50000"/>
              </a:schemeClr>
            </a:solidFill>
            <a:round/>
            <a:headEnd/>
            <a:tailEnd/>
          </a:ln>
          <a:extLst>
            <a:ext uri="{909E8E84-426E-40DD-AFC4-6F175D3DCCD1}">
              <a14:hiddenFill xmlns:a14="http://schemas.microsoft.com/office/drawing/2010/main">
                <a:solidFill>
                  <a:srgbClr val="FFFFFF"/>
                </a:solidFill>
              </a14:hiddenFill>
            </a:ext>
          </a:extLst>
        </p:spPr>
        <p:style>
          <a:lnRef idx="0">
            <a:scrgbClr r="0" g="0" b="0"/>
          </a:lnRef>
          <a:fillRef idx="0">
            <a:scrgbClr r="0" g="0" b="0"/>
          </a:fillRef>
          <a:effectRef idx="0">
            <a:scrgbClr r="0" g="0" b="0"/>
          </a:effectRef>
          <a:fontRef idx="major"/>
        </p:style>
        <p:txBody>
          <a:bodyPr lIns="0" tIns="0" rIns="0" b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eaLnBrk="0" fontAlgn="base" hangingPunct="0">
              <a:spcBef>
                <a:spcPct val="0"/>
              </a:spcBef>
              <a:spcAft>
                <a:spcPct val="0"/>
              </a:spcAft>
            </a:pPr>
            <a:endParaRPr lang="en-US">
              <a:solidFill>
                <a:prstClr val="black"/>
              </a:solidFill>
              <a:ea typeface="MS PGothic" pitchFamily="34" charset="-128"/>
            </a:endParaRPr>
          </a:p>
        </p:txBody>
      </p:sp>
      <p:sp>
        <p:nvSpPr>
          <p:cNvPr id="42" name="object 42">
            <a:extLst>
              <a:ext uri="{FF2B5EF4-FFF2-40B4-BE49-F238E27FC236}">
                <a16:creationId xmlns:a16="http://schemas.microsoft.com/office/drawing/2014/main" id="{33C60A95-38B6-5246-9B35-E221CB16307E}"/>
              </a:ext>
            </a:extLst>
          </p:cNvPr>
          <p:cNvSpPr txBox="1">
            <a:spLocks noChangeArrowheads="1"/>
          </p:cNvSpPr>
          <p:nvPr/>
        </p:nvSpPr>
        <p:spPr bwMode="auto">
          <a:xfrm>
            <a:off x="6210300" y="2818231"/>
            <a:ext cx="2036885"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fontAlgn="base">
              <a:spcBef>
                <a:spcPct val="0"/>
              </a:spcBef>
              <a:spcAft>
                <a:spcPct val="0"/>
              </a:spcAft>
              <a:buFontTx/>
              <a:buNone/>
            </a:pPr>
            <a:r>
              <a:rPr lang="en-US" altLang="en-US" sz="110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Compared to 2015, older  adults drawing SS in 2016 are </a:t>
            </a:r>
            <a:r>
              <a:rPr lang="en-US" altLang="en-US" sz="1100" b="1"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more </a:t>
            </a:r>
            <a:r>
              <a:rPr lang="en-US" altLang="en-US" sz="110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likely to say that  their SS payment is </a:t>
            </a:r>
            <a:r>
              <a:rPr lang="en-US" altLang="en-US" sz="1100" b="1"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less than/much less </a:t>
            </a:r>
            <a:r>
              <a:rPr lang="en-US" altLang="en-US" sz="110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than  expected (30% vs. 22%).</a:t>
            </a:r>
          </a:p>
        </p:txBody>
      </p:sp>
      <p:sp>
        <p:nvSpPr>
          <p:cNvPr id="43" name="object 44">
            <a:extLst>
              <a:ext uri="{FF2B5EF4-FFF2-40B4-BE49-F238E27FC236}">
                <a16:creationId xmlns:a16="http://schemas.microsoft.com/office/drawing/2014/main" id="{4A9E0788-609A-CD42-92F6-BD073B98BDFE}"/>
              </a:ext>
            </a:extLst>
          </p:cNvPr>
          <p:cNvSpPr txBox="1">
            <a:spLocks noChangeArrowheads="1"/>
          </p:cNvSpPr>
          <p:nvPr/>
        </p:nvSpPr>
        <p:spPr bwMode="auto">
          <a:xfrm>
            <a:off x="419100" y="2790096"/>
            <a:ext cx="736600"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fontAlgn="base">
              <a:spcBef>
                <a:spcPct val="0"/>
              </a:spcBef>
              <a:spcAft>
                <a:spcPct val="0"/>
              </a:spcAft>
              <a:buFontTx/>
              <a:buNone/>
            </a:pPr>
            <a:r>
              <a:rPr lang="en-US" altLang="en-US" sz="1100" dirty="0">
                <a:solidFill>
                  <a:schemeClr val="bg1">
                    <a:lumMod val="50000"/>
                  </a:schemeClr>
                </a:solidFill>
                <a:latin typeface="Segoe UI Historic" panose="020B0502040204020203" pitchFamily="34" charset="0"/>
                <a:ea typeface="Segoe UI Historic" panose="020B0502040204020203" pitchFamily="34" charset="0"/>
                <a:cs typeface="Segoe UI Historic" panose="020B0502040204020203" pitchFamily="34" charset="0"/>
              </a:rPr>
              <a:t>9%</a:t>
            </a:r>
          </a:p>
          <a:p>
            <a:pPr fontAlgn="base">
              <a:spcBef>
                <a:spcPts val="188"/>
              </a:spcBef>
              <a:spcAft>
                <a:spcPct val="0"/>
              </a:spcAft>
              <a:buFontTx/>
              <a:buNone/>
            </a:pPr>
            <a:r>
              <a:rPr lang="en-US" altLang="en-US" sz="1000" dirty="0">
                <a:solidFill>
                  <a:schemeClr val="bg1">
                    <a:lumMod val="50000"/>
                  </a:schemeClr>
                </a:solidFill>
                <a:latin typeface="Segoe UI Historic" panose="020B0502040204020203" pitchFamily="34" charset="0"/>
                <a:ea typeface="Segoe UI Historic" panose="020B0502040204020203" pitchFamily="34" charset="0"/>
                <a:cs typeface="Segoe UI Historic" panose="020B0502040204020203" pitchFamily="34" charset="0"/>
              </a:rPr>
              <a:t>Much more/  More than  expected</a:t>
            </a:r>
          </a:p>
        </p:txBody>
      </p:sp>
      <p:sp>
        <p:nvSpPr>
          <p:cNvPr id="44" name="object 45">
            <a:extLst>
              <a:ext uri="{FF2B5EF4-FFF2-40B4-BE49-F238E27FC236}">
                <a16:creationId xmlns:a16="http://schemas.microsoft.com/office/drawing/2014/main" id="{CD8922E6-AC74-E24F-A7A3-29BD8BAC1315}"/>
              </a:ext>
            </a:extLst>
          </p:cNvPr>
          <p:cNvSpPr txBox="1">
            <a:spLocks noChangeArrowheads="1"/>
          </p:cNvSpPr>
          <p:nvPr/>
        </p:nvSpPr>
        <p:spPr bwMode="auto">
          <a:xfrm>
            <a:off x="419100" y="4897270"/>
            <a:ext cx="767862" cy="656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fontAlgn="base">
              <a:spcBef>
                <a:spcPct val="0"/>
              </a:spcBef>
              <a:spcAft>
                <a:spcPct val="0"/>
              </a:spcAft>
              <a:buFontTx/>
              <a:buNone/>
            </a:pPr>
            <a:r>
              <a:rPr lang="en-US" altLang="en-US" sz="1000" dirty="0">
                <a:solidFill>
                  <a:schemeClr val="bg1">
                    <a:lumMod val="50000"/>
                  </a:schemeClr>
                </a:solidFill>
                <a:latin typeface="Segoe UI Historic" panose="020B0502040204020203" pitchFamily="34" charset="0"/>
                <a:ea typeface="Segoe UI Historic" panose="020B0502040204020203" pitchFamily="34" charset="0"/>
                <a:cs typeface="Segoe UI Historic" panose="020B0502040204020203" pitchFamily="34" charset="0"/>
              </a:rPr>
              <a:t>Less/  Much less  than  expected</a:t>
            </a:r>
          </a:p>
          <a:p>
            <a:pPr fontAlgn="base">
              <a:spcBef>
                <a:spcPts val="225"/>
              </a:spcBef>
              <a:spcAft>
                <a:spcPct val="0"/>
              </a:spcAft>
              <a:buFontTx/>
              <a:buNone/>
            </a:pPr>
            <a:r>
              <a:rPr lang="en-US" altLang="en-US" sz="1100" dirty="0">
                <a:solidFill>
                  <a:schemeClr val="bg1">
                    <a:lumMod val="50000"/>
                  </a:schemeClr>
                </a:solidFill>
                <a:latin typeface="Segoe UI Historic" panose="020B0502040204020203" pitchFamily="34" charset="0"/>
                <a:ea typeface="Segoe UI Historic" panose="020B0502040204020203" pitchFamily="34" charset="0"/>
                <a:cs typeface="Segoe UI Historic" panose="020B0502040204020203" pitchFamily="34" charset="0"/>
              </a:rPr>
              <a:t>24%</a:t>
            </a:r>
          </a:p>
        </p:txBody>
      </p:sp>
      <p:sp>
        <p:nvSpPr>
          <p:cNvPr id="45" name="object 33">
            <a:extLst>
              <a:ext uri="{FF2B5EF4-FFF2-40B4-BE49-F238E27FC236}">
                <a16:creationId xmlns:a16="http://schemas.microsoft.com/office/drawing/2014/main" id="{AA6C09B4-F342-B744-B9FF-34E9F72BFB52}"/>
              </a:ext>
            </a:extLst>
          </p:cNvPr>
          <p:cNvSpPr txBox="1"/>
          <p:nvPr/>
        </p:nvSpPr>
        <p:spPr>
          <a:xfrm>
            <a:off x="419100" y="6056947"/>
            <a:ext cx="5068887" cy="123825"/>
          </a:xfrm>
          <a:prstGeom prst="rect">
            <a:avLst/>
          </a:prstGeom>
        </p:spPr>
        <p:txBody>
          <a:bodyPr lIns="0" tIns="0" rIns="0" bIns="0">
            <a:spAutoFit/>
          </a:bodyPr>
          <a:lstStyle/>
          <a:p>
            <a:pPr marL="12700">
              <a:defRPr/>
            </a:pPr>
            <a:r>
              <a:rPr sz="800" spc="-5" dirty="0">
                <a:solidFill>
                  <a:schemeClr val="bg1">
                    <a:lumMod val="50000"/>
                  </a:schemeClr>
                </a:solidFill>
                <a:ea typeface="MS PGothic" pitchFamily="34" charset="-128"/>
                <a:cs typeface="Arial"/>
              </a:rPr>
              <a:t>Base: </a:t>
            </a:r>
            <a:r>
              <a:rPr sz="800" spc="-10" dirty="0">
                <a:solidFill>
                  <a:schemeClr val="bg1">
                    <a:lumMod val="50000"/>
                  </a:schemeClr>
                </a:solidFill>
                <a:ea typeface="MS PGothic" pitchFamily="34" charset="-128"/>
                <a:cs typeface="Arial"/>
              </a:rPr>
              <a:t>Currently Drawing </a:t>
            </a:r>
            <a:r>
              <a:rPr sz="800" spc="-5" dirty="0">
                <a:solidFill>
                  <a:schemeClr val="bg1">
                    <a:lumMod val="50000"/>
                  </a:schemeClr>
                </a:solidFill>
                <a:ea typeface="MS PGothic" pitchFamily="34" charset="-128"/>
                <a:cs typeface="Arial"/>
              </a:rPr>
              <a:t>Social Security (Total </a:t>
            </a:r>
            <a:r>
              <a:rPr sz="800" spc="-10" dirty="0">
                <a:solidFill>
                  <a:schemeClr val="bg1">
                    <a:lumMod val="50000"/>
                  </a:schemeClr>
                </a:solidFill>
                <a:ea typeface="MS PGothic" pitchFamily="34" charset="-128"/>
                <a:cs typeface="Arial"/>
              </a:rPr>
              <a:t>n=597): </a:t>
            </a:r>
            <a:r>
              <a:rPr sz="800" spc="-5" dirty="0">
                <a:solidFill>
                  <a:schemeClr val="bg1">
                    <a:lumMod val="50000"/>
                  </a:schemeClr>
                </a:solidFill>
                <a:ea typeface="MS PGothic" pitchFamily="34" charset="-128"/>
                <a:cs typeface="Arial"/>
              </a:rPr>
              <a:t>Recent </a:t>
            </a:r>
            <a:r>
              <a:rPr sz="800" spc="-10" dirty="0">
                <a:solidFill>
                  <a:schemeClr val="bg1">
                    <a:lumMod val="50000"/>
                  </a:schemeClr>
                </a:solidFill>
                <a:ea typeface="MS PGothic" pitchFamily="34" charset="-128"/>
                <a:cs typeface="Arial"/>
              </a:rPr>
              <a:t>(n=253); 10+  </a:t>
            </a:r>
            <a:r>
              <a:rPr sz="800" spc="5" dirty="0">
                <a:solidFill>
                  <a:schemeClr val="bg1">
                    <a:lumMod val="50000"/>
                  </a:schemeClr>
                </a:solidFill>
                <a:ea typeface="MS PGothic" pitchFamily="34" charset="-128"/>
                <a:cs typeface="Arial"/>
              </a:rPr>
              <a:t> </a:t>
            </a:r>
            <a:r>
              <a:rPr sz="800" spc="-10" dirty="0">
                <a:solidFill>
                  <a:schemeClr val="bg1">
                    <a:lumMod val="50000"/>
                  </a:schemeClr>
                </a:solidFill>
                <a:ea typeface="MS PGothic" pitchFamily="34" charset="-128"/>
                <a:cs typeface="Arial"/>
              </a:rPr>
              <a:t>(n=297)</a:t>
            </a:r>
            <a:endParaRPr sz="800" dirty="0">
              <a:solidFill>
                <a:schemeClr val="bg1">
                  <a:lumMod val="50000"/>
                </a:schemeClr>
              </a:solidFill>
              <a:ea typeface="MS PGothic" pitchFamily="34" charset="-128"/>
              <a:cs typeface="Arial"/>
            </a:endParaRPr>
          </a:p>
        </p:txBody>
      </p:sp>
      <p:grpSp>
        <p:nvGrpSpPr>
          <p:cNvPr id="6" name="Group 5">
            <a:extLst>
              <a:ext uri="{FF2B5EF4-FFF2-40B4-BE49-F238E27FC236}">
                <a16:creationId xmlns:a16="http://schemas.microsoft.com/office/drawing/2014/main" id="{1B4EC282-D636-E94D-97F8-0E226B964B22}"/>
              </a:ext>
            </a:extLst>
          </p:cNvPr>
          <p:cNvGrpSpPr/>
          <p:nvPr/>
        </p:nvGrpSpPr>
        <p:grpSpPr>
          <a:xfrm>
            <a:off x="6210300" y="4420985"/>
            <a:ext cx="2521001" cy="1041311"/>
            <a:chOff x="8304997" y="3648904"/>
            <a:chExt cx="2521001" cy="1041311"/>
          </a:xfrm>
        </p:grpSpPr>
        <p:grpSp>
          <p:nvGrpSpPr>
            <p:cNvPr id="46" name="Group 45">
              <a:extLst>
                <a:ext uri="{FF2B5EF4-FFF2-40B4-BE49-F238E27FC236}">
                  <a16:creationId xmlns:a16="http://schemas.microsoft.com/office/drawing/2014/main" id="{56088AC6-0846-C34C-B344-B172E7C96258}"/>
                </a:ext>
              </a:extLst>
            </p:cNvPr>
            <p:cNvGrpSpPr/>
            <p:nvPr/>
          </p:nvGrpSpPr>
          <p:grpSpPr>
            <a:xfrm>
              <a:off x="8304997" y="3648904"/>
              <a:ext cx="2521001" cy="1041311"/>
              <a:chOff x="11114588" y="945642"/>
              <a:chExt cx="2521001" cy="1041311"/>
            </a:xfrm>
          </p:grpSpPr>
          <p:sp>
            <p:nvSpPr>
              <p:cNvPr id="47" name="TextBox 46">
                <a:extLst>
                  <a:ext uri="{FF2B5EF4-FFF2-40B4-BE49-F238E27FC236}">
                    <a16:creationId xmlns:a16="http://schemas.microsoft.com/office/drawing/2014/main" id="{28545B0E-4B7D-E340-8B13-356347AB8C37}"/>
                  </a:ext>
                </a:extLst>
              </p:cNvPr>
              <p:cNvSpPr txBox="1"/>
              <p:nvPr/>
            </p:nvSpPr>
            <p:spPr>
              <a:xfrm>
                <a:off x="11255857" y="945642"/>
                <a:ext cx="2379732" cy="1041311"/>
              </a:xfrm>
              <a:prstGeom prst="rect">
                <a:avLst/>
              </a:prstGeom>
              <a:noFill/>
            </p:spPr>
            <p:txBody>
              <a:bodyPr wrap="square" rtlCol="0">
                <a:spAutoFit/>
              </a:bodyPr>
              <a:lstStyle/>
              <a:p>
                <a:pPr>
                  <a:spcBef>
                    <a:spcPts val="500"/>
                  </a:spcBef>
                  <a:buClr>
                    <a:srgbClr val="002577"/>
                  </a:buClr>
                  <a:buSzPct val="200000"/>
                </a:pPr>
                <a:r>
                  <a:rPr lang="en-US" sz="900" dirty="0">
                    <a:solidFill>
                      <a:srgbClr val="75787B"/>
                    </a:solidFill>
                    <a:latin typeface="Segoe UI" panose="020B0502040204020203" pitchFamily="34" charset="0"/>
                  </a:rPr>
                  <a:t>Much more than I expected</a:t>
                </a:r>
              </a:p>
              <a:p>
                <a:pPr>
                  <a:spcBef>
                    <a:spcPts val="500"/>
                  </a:spcBef>
                  <a:buClr>
                    <a:srgbClr val="002577"/>
                  </a:buClr>
                  <a:buSzPct val="200000"/>
                </a:pPr>
                <a:r>
                  <a:rPr lang="en-US" sz="900" dirty="0">
                    <a:solidFill>
                      <a:srgbClr val="75787B"/>
                    </a:solidFill>
                    <a:latin typeface="Segoe UI" panose="020B0502040204020203" pitchFamily="34" charset="0"/>
                  </a:rPr>
                  <a:t>More than I expected</a:t>
                </a:r>
              </a:p>
              <a:p>
                <a:pPr>
                  <a:spcBef>
                    <a:spcPts val="500"/>
                  </a:spcBef>
                  <a:buClr>
                    <a:srgbClr val="002577"/>
                  </a:buClr>
                  <a:buSzPct val="200000"/>
                </a:pPr>
                <a:r>
                  <a:rPr lang="en-US" sz="900" dirty="0">
                    <a:solidFill>
                      <a:srgbClr val="75787B"/>
                    </a:solidFill>
                    <a:latin typeface="Segoe UI" panose="020B0502040204020203" pitchFamily="34" charset="0"/>
                  </a:rPr>
                  <a:t>The Same as I expected</a:t>
                </a:r>
              </a:p>
              <a:p>
                <a:pPr>
                  <a:spcBef>
                    <a:spcPts val="500"/>
                  </a:spcBef>
                  <a:buClr>
                    <a:srgbClr val="002577"/>
                  </a:buClr>
                  <a:buSzPct val="200000"/>
                </a:pPr>
                <a:r>
                  <a:rPr lang="en-US" sz="900" dirty="0">
                    <a:solidFill>
                      <a:srgbClr val="75787B"/>
                    </a:solidFill>
                    <a:latin typeface="Segoe UI" panose="020B0502040204020203" pitchFamily="34" charset="0"/>
                  </a:rPr>
                  <a:t>Less than I expected</a:t>
                </a:r>
              </a:p>
              <a:p>
                <a:pPr>
                  <a:spcBef>
                    <a:spcPts val="500"/>
                  </a:spcBef>
                  <a:buClr>
                    <a:srgbClr val="002577"/>
                  </a:buClr>
                  <a:buSzPct val="200000"/>
                </a:pPr>
                <a:r>
                  <a:rPr lang="en-US" sz="900" dirty="0">
                    <a:solidFill>
                      <a:srgbClr val="75787B"/>
                    </a:solidFill>
                    <a:latin typeface="Segoe UI" panose="020B0502040204020203" pitchFamily="34" charset="0"/>
                  </a:rPr>
                  <a:t>Much less than I expected</a:t>
                </a:r>
              </a:p>
            </p:txBody>
          </p:sp>
          <p:sp>
            <p:nvSpPr>
              <p:cNvPr id="48" name="Oval 47">
                <a:extLst>
                  <a:ext uri="{FF2B5EF4-FFF2-40B4-BE49-F238E27FC236}">
                    <a16:creationId xmlns:a16="http://schemas.microsoft.com/office/drawing/2014/main" id="{E252DB43-59E5-8544-BD0D-653A316E0152}"/>
                  </a:ext>
                </a:extLst>
              </p:cNvPr>
              <p:cNvSpPr/>
              <p:nvPr/>
            </p:nvSpPr>
            <p:spPr>
              <a:xfrm>
                <a:off x="11117829" y="973155"/>
                <a:ext cx="144651" cy="144651"/>
              </a:xfrm>
              <a:prstGeom prst="ellipse">
                <a:avLst/>
              </a:prstGeom>
              <a:solidFill>
                <a:srgbClr val="E3F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FF15079C-709F-7E4D-9D46-7F12EC38632F}"/>
                  </a:ext>
                </a:extLst>
              </p:cNvPr>
              <p:cNvSpPr/>
              <p:nvPr/>
            </p:nvSpPr>
            <p:spPr>
              <a:xfrm>
                <a:off x="11114588" y="1182382"/>
                <a:ext cx="144651" cy="144651"/>
              </a:xfrm>
              <a:prstGeom prst="ellipse">
                <a:avLst/>
              </a:prstGeom>
              <a:solidFill>
                <a:srgbClr val="89D9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1F098E60-3100-C44C-A7FF-1E707A6ECF16}"/>
                  </a:ext>
                </a:extLst>
              </p:cNvPr>
              <p:cNvSpPr/>
              <p:nvPr/>
            </p:nvSpPr>
            <p:spPr>
              <a:xfrm>
                <a:off x="11126833" y="1394204"/>
                <a:ext cx="127533" cy="127533"/>
              </a:xfrm>
              <a:prstGeom prst="ellipse">
                <a:avLst/>
              </a:prstGeom>
              <a:solidFill>
                <a:srgbClr val="37B6FD"/>
              </a:solidFill>
              <a:ln w="22225">
                <a:solidFill>
                  <a:srgbClr val="37B6F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1" name="Oval 50">
              <a:extLst>
                <a:ext uri="{FF2B5EF4-FFF2-40B4-BE49-F238E27FC236}">
                  <a16:creationId xmlns:a16="http://schemas.microsoft.com/office/drawing/2014/main" id="{C7C1CEC6-C084-1F48-BF75-EC711A2B1077}"/>
                </a:ext>
              </a:extLst>
            </p:cNvPr>
            <p:cNvSpPr/>
            <p:nvPr/>
          </p:nvSpPr>
          <p:spPr>
            <a:xfrm>
              <a:off x="8314240" y="4303235"/>
              <a:ext cx="127533" cy="127533"/>
            </a:xfrm>
            <a:prstGeom prst="ellipse">
              <a:avLst/>
            </a:prstGeom>
            <a:solidFill>
              <a:srgbClr val="067ACB"/>
            </a:solidFill>
            <a:ln w="22225">
              <a:solidFill>
                <a:srgbClr val="067A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BE5D95E4-A20F-304C-A340-F9E93A666F9F}"/>
                </a:ext>
              </a:extLst>
            </p:cNvPr>
            <p:cNvSpPr/>
            <p:nvPr/>
          </p:nvSpPr>
          <p:spPr>
            <a:xfrm>
              <a:off x="8318181" y="4498924"/>
              <a:ext cx="127533" cy="127533"/>
            </a:xfrm>
            <a:prstGeom prst="ellipse">
              <a:avLst/>
            </a:prstGeom>
            <a:solidFill>
              <a:srgbClr val="002577"/>
            </a:solidFill>
            <a:ln w="22225">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3" name="TextBox 52">
            <a:extLst>
              <a:ext uri="{FF2B5EF4-FFF2-40B4-BE49-F238E27FC236}">
                <a16:creationId xmlns:a16="http://schemas.microsoft.com/office/drawing/2014/main" id="{84B1535B-B161-614F-B389-08F057379401}"/>
              </a:ext>
            </a:extLst>
          </p:cNvPr>
          <p:cNvSpPr txBox="1"/>
          <p:nvPr/>
        </p:nvSpPr>
        <p:spPr>
          <a:xfrm>
            <a:off x="400580" y="2124159"/>
            <a:ext cx="3653328" cy="307777"/>
          </a:xfrm>
          <a:prstGeom prst="rect">
            <a:avLst/>
          </a:prstGeom>
          <a:noFill/>
        </p:spPr>
        <p:txBody>
          <a:bodyPr wrap="square" rtlCol="0">
            <a:spAutoFit/>
          </a:bodyPr>
          <a:lstStyle/>
          <a:p>
            <a:r>
              <a:rPr lang="en-US" sz="1400" b="1" dirty="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rPr>
              <a:t>Is your SS payment what you expected?</a:t>
            </a:r>
          </a:p>
        </p:txBody>
      </p:sp>
      <p:cxnSp>
        <p:nvCxnSpPr>
          <p:cNvPr id="54" name="Straight Connector 53">
            <a:extLst>
              <a:ext uri="{FF2B5EF4-FFF2-40B4-BE49-F238E27FC236}">
                <a16:creationId xmlns:a16="http://schemas.microsoft.com/office/drawing/2014/main" id="{52E7BD6F-C49F-5043-8BA9-3C09D466754B}"/>
              </a:ext>
            </a:extLst>
          </p:cNvPr>
          <p:cNvCxnSpPr/>
          <p:nvPr/>
        </p:nvCxnSpPr>
        <p:spPr>
          <a:xfrm>
            <a:off x="409069" y="2455933"/>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62274E7-CB2B-5B42-BD65-FACC8C270CA9}"/>
              </a:ext>
            </a:extLst>
          </p:cNvPr>
          <p:cNvCxnSpPr/>
          <p:nvPr/>
        </p:nvCxnSpPr>
        <p:spPr>
          <a:xfrm>
            <a:off x="427192" y="5982710"/>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88114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718539" y="6363518"/>
            <a:ext cx="231295" cy="145566"/>
          </a:xfrm>
        </p:spPr>
        <p:txBody>
          <a:bodyPr/>
          <a:lstStyle/>
          <a:p>
            <a:fld id="{2C7AFF3D-0B71-614B-ACB6-7F45BDA6A838}" type="slidenum">
              <a:rPr lang="en-US" smtClean="0">
                <a:latin typeface="Segoe UI" panose="020B0502040204020203" pitchFamily="34" charset="0"/>
              </a:rPr>
              <a:pPr/>
              <a:t>4</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85751" y="381000"/>
            <a:ext cx="5624598"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Failure of Active Management</a:t>
            </a:r>
          </a:p>
        </p:txBody>
      </p:sp>
      <p:cxnSp>
        <p:nvCxnSpPr>
          <p:cNvPr id="27" name="Straight Connector 26">
            <a:extLst>
              <a:ext uri="{FF2B5EF4-FFF2-40B4-BE49-F238E27FC236}">
                <a16:creationId xmlns:a16="http://schemas.microsoft.com/office/drawing/2014/main" id="{20F1B9A8-C04B-1B46-BDBD-567944F5F387}"/>
              </a:ext>
            </a:extLst>
          </p:cNvPr>
          <p:cNvCxnSpPr>
            <a:cxnSpLocks/>
          </p:cNvCxnSpPr>
          <p:nvPr/>
        </p:nvCxnSpPr>
        <p:spPr>
          <a:xfrm>
            <a:off x="419100" y="4993326"/>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D4E046F-3D75-F343-94A2-87EF83513F87}"/>
              </a:ext>
            </a:extLst>
          </p:cNvPr>
          <p:cNvSpPr txBox="1"/>
          <p:nvPr/>
        </p:nvSpPr>
        <p:spPr>
          <a:xfrm>
            <a:off x="419101" y="6032253"/>
            <a:ext cx="8724899" cy="123111"/>
          </a:xfrm>
          <a:prstGeom prst="rect">
            <a:avLst/>
          </a:prstGeom>
          <a:noFill/>
        </p:spPr>
        <p:txBody>
          <a:bodyPr wrap="square" lIns="0" tIns="0" rIns="0" bIns="0" rtlCol="0">
            <a:spAutoFit/>
          </a:bodyPr>
          <a:lstStyle/>
          <a:p>
            <a:r>
              <a:rPr lang="en-US" sz="800" dirty="0">
                <a:solidFill>
                  <a:srgbClr val="75787B"/>
                </a:solidFill>
                <a:cs typeface="Arial" pitchFamily="34" charset="0"/>
              </a:rPr>
              <a:t>Past performance is not a guarantee of future results. Individuals cannot invest directly in an index.</a:t>
            </a:r>
          </a:p>
        </p:txBody>
      </p:sp>
      <p:sp>
        <p:nvSpPr>
          <p:cNvPr id="44" name="Text Placeholder 4">
            <a:extLst>
              <a:ext uri="{FF2B5EF4-FFF2-40B4-BE49-F238E27FC236}">
                <a16:creationId xmlns:a16="http://schemas.microsoft.com/office/drawing/2014/main" id="{42C019C0-B7BC-A948-964D-92097542049B}"/>
              </a:ext>
            </a:extLst>
          </p:cNvPr>
          <p:cNvSpPr txBox="1">
            <a:spLocks/>
          </p:cNvSpPr>
          <p:nvPr/>
        </p:nvSpPr>
        <p:spPr>
          <a:xfrm>
            <a:off x="341132" y="663159"/>
            <a:ext cx="3832602" cy="541466"/>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400" dirty="0">
                <a:solidFill>
                  <a:srgbClr val="3369FF"/>
                </a:solidFill>
                <a:latin typeface="Segoe UI" panose="020B0502040204020203" pitchFamily="34" charset="0"/>
                <a:ea typeface="Segoe UI" panose="020B0502040204020203" pitchFamily="34" charset="0"/>
                <a:cs typeface="Segoe UI" panose="020B0502040204020203" pitchFamily="34" charset="0"/>
              </a:rPr>
              <a:t>Falling Behind</a:t>
            </a:r>
            <a:endParaRPr lang="en-US" sz="1400" b="0" dirty="0">
              <a:solidFill>
                <a:srgbClr val="3369FF"/>
              </a:solidFill>
              <a:latin typeface="Segoe UI" panose="020B0502040204020203" pitchFamily="34" charset="0"/>
              <a:ea typeface="Segoe UI" panose="020B0502040204020203" pitchFamily="34" charset="0"/>
              <a:cs typeface="Segoe UI" panose="020B0502040204020203" pitchFamily="34" charset="0"/>
            </a:endParaRPr>
          </a:p>
        </p:txBody>
      </p:sp>
      <p:sp>
        <p:nvSpPr>
          <p:cNvPr id="40" name="TextBox 39">
            <a:extLst>
              <a:ext uri="{FF2B5EF4-FFF2-40B4-BE49-F238E27FC236}">
                <a16:creationId xmlns:a16="http://schemas.microsoft.com/office/drawing/2014/main" id="{EE98380A-5FC3-544E-B3D1-B8B246BCF3D3}"/>
              </a:ext>
            </a:extLst>
          </p:cNvPr>
          <p:cNvSpPr txBox="1"/>
          <p:nvPr/>
        </p:nvSpPr>
        <p:spPr>
          <a:xfrm>
            <a:off x="419101" y="5716820"/>
            <a:ext cx="8724899" cy="246221"/>
          </a:xfrm>
          <a:prstGeom prst="rect">
            <a:avLst/>
          </a:prstGeom>
          <a:noFill/>
        </p:spPr>
        <p:txBody>
          <a:bodyPr wrap="square" lIns="0" tIns="0" rIns="0" bIns="0" rtlCol="0">
            <a:spAutoFit/>
          </a:bodyPr>
          <a:lstStyle/>
          <a:p>
            <a:r>
              <a:rPr lang="en-US" sz="800" dirty="0">
                <a:solidFill>
                  <a:srgbClr val="75787B"/>
                </a:solidFill>
                <a:cs typeface="Arial" pitchFamily="34" charset="0"/>
              </a:rPr>
              <a:t>* Percentage of funds beating benchmarks.</a:t>
            </a:r>
          </a:p>
          <a:p>
            <a:r>
              <a:rPr lang="en-US" sz="800" dirty="0">
                <a:solidFill>
                  <a:srgbClr val="75787B"/>
                </a:solidFill>
                <a:cs typeface="Arial" pitchFamily="34" charset="0"/>
              </a:rPr>
              <a:t>   Source: Morningstar</a:t>
            </a:r>
          </a:p>
        </p:txBody>
      </p:sp>
      <p:graphicFrame>
        <p:nvGraphicFramePr>
          <p:cNvPr id="41" name="Table 40">
            <a:extLst>
              <a:ext uri="{FF2B5EF4-FFF2-40B4-BE49-F238E27FC236}">
                <a16:creationId xmlns:a16="http://schemas.microsoft.com/office/drawing/2014/main" id="{73D97D1E-CE57-5940-8039-ED01D345D34A}"/>
              </a:ext>
            </a:extLst>
          </p:cNvPr>
          <p:cNvGraphicFramePr>
            <a:graphicFrameLocks noGrp="1"/>
          </p:cNvGraphicFramePr>
          <p:nvPr>
            <p:extLst>
              <p:ext uri="{D42A27DB-BD31-4B8C-83A1-F6EECF244321}">
                <p14:modId xmlns:p14="http://schemas.microsoft.com/office/powerpoint/2010/main" val="1949072011"/>
              </p:ext>
            </p:extLst>
          </p:nvPr>
        </p:nvGraphicFramePr>
        <p:xfrm>
          <a:off x="419100" y="1527112"/>
          <a:ext cx="8439150" cy="3473306"/>
        </p:xfrm>
        <a:graphic>
          <a:graphicData uri="http://schemas.openxmlformats.org/drawingml/2006/table">
            <a:tbl>
              <a:tblPr firstRow="1" bandRow="1">
                <a:tableStyleId>{5C22544A-7EE6-4342-B048-85BDC9FD1C3A}</a:tableStyleId>
              </a:tblPr>
              <a:tblGrid>
                <a:gridCol w="2536751">
                  <a:extLst>
                    <a:ext uri="{9D8B030D-6E8A-4147-A177-3AD203B41FA5}">
                      <a16:colId xmlns:a16="http://schemas.microsoft.com/office/drawing/2014/main" val="3574736931"/>
                    </a:ext>
                  </a:extLst>
                </a:gridCol>
                <a:gridCol w="2601433">
                  <a:extLst>
                    <a:ext uri="{9D8B030D-6E8A-4147-A177-3AD203B41FA5}">
                      <a16:colId xmlns:a16="http://schemas.microsoft.com/office/drawing/2014/main" val="3741534565"/>
                    </a:ext>
                  </a:extLst>
                </a:gridCol>
                <a:gridCol w="3300966">
                  <a:extLst>
                    <a:ext uri="{9D8B030D-6E8A-4147-A177-3AD203B41FA5}">
                      <a16:colId xmlns:a16="http://schemas.microsoft.com/office/drawing/2014/main" val="497003334"/>
                    </a:ext>
                  </a:extLst>
                </a:gridCol>
              </a:tblGrid>
              <a:tr h="835206">
                <a:tc>
                  <a:txBody>
                    <a:bodyPr/>
                    <a:lstStyle/>
                    <a:p>
                      <a:r>
                        <a:rPr lang="en-US" sz="1400" b="1" dirty="0">
                          <a:solidFill>
                            <a:schemeClr val="bg1"/>
                          </a:solidFill>
                          <a:latin typeface="Segoe UI" panose="020B0502040204020203" pitchFamily="34" charset="0"/>
                          <a:ea typeface="Segoe UI" panose="020B0502040204020203" pitchFamily="34" charset="0"/>
                          <a:cs typeface="Segoe UI" panose="020B0502040204020203" pitchFamily="34" charset="0"/>
                        </a:rPr>
                        <a:t>Category</a:t>
                      </a:r>
                    </a:p>
                  </a:txBody>
                  <a:tcPr marL="274320" marR="4968" marT="4968" marB="0" anchor="ctr">
                    <a:lnB w="38100" cmpd="sng">
                      <a:noFill/>
                    </a:lnB>
                    <a:solidFill>
                      <a:srgbClr val="002577"/>
                    </a:solidFill>
                  </a:tcPr>
                </a:tc>
                <a:tc>
                  <a:txBody>
                    <a:bodyPr/>
                    <a:lstStyle/>
                    <a:p>
                      <a:pPr algn="r"/>
                      <a:r>
                        <a:rPr lang="en-US" sz="1600" b="1" dirty="0">
                          <a:solidFill>
                            <a:schemeClr val="bg1"/>
                          </a:solidFill>
                          <a:latin typeface="Segoe UI" panose="020B0502040204020203" pitchFamily="34" charset="0"/>
                          <a:ea typeface="Segoe UI" panose="020B0502040204020203" pitchFamily="34" charset="0"/>
                          <a:cs typeface="Segoe UI" panose="020B0502040204020203" pitchFamily="34" charset="0"/>
                        </a:rPr>
                        <a:t>Successful Rate, 2018</a:t>
                      </a:r>
                      <a:r>
                        <a:rPr lang="en-US" sz="1600" b="1" baseline="30000" dirty="0">
                          <a:solidFill>
                            <a:schemeClr val="bg1"/>
                          </a:solidFill>
                          <a:latin typeface="Segoe UI" panose="020B0502040204020203" pitchFamily="34" charset="0"/>
                          <a:ea typeface="Segoe UI" panose="020B0502040204020203" pitchFamily="34" charset="0"/>
                          <a:cs typeface="Segoe UI" panose="020B0502040204020203" pitchFamily="34" charset="0"/>
                        </a:rPr>
                        <a:t>*</a:t>
                      </a:r>
                    </a:p>
                  </a:txBody>
                  <a:tcPr marL="4968" marR="274320" marT="4968" marB="0" anchor="ctr">
                    <a:lnB w="38100" cmpd="sng">
                      <a:noFill/>
                    </a:lnB>
                    <a:solidFill>
                      <a:srgbClr val="002577"/>
                    </a:solidFill>
                  </a:tcPr>
                </a:tc>
                <a:tc>
                  <a:txBody>
                    <a:bodyPr/>
                    <a:lstStyle/>
                    <a:p>
                      <a:pPr algn="r"/>
                      <a:r>
                        <a:rPr lang="en-US" sz="1600" b="1" dirty="0">
                          <a:solidFill>
                            <a:schemeClr val="bg1"/>
                          </a:solidFill>
                          <a:latin typeface="Segoe UI" panose="020B0502040204020203" pitchFamily="34" charset="0"/>
                          <a:ea typeface="Segoe UI" panose="020B0502040204020203" pitchFamily="34" charset="0"/>
                          <a:cs typeface="Segoe UI" panose="020B0502040204020203" pitchFamily="34" charset="0"/>
                        </a:rPr>
                        <a:t>Successful Rate, 2017</a:t>
                      </a:r>
                      <a:endParaRPr lang="en-US" sz="1600" b="1" baseline="300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txBody>
                  <a:tcPr marL="4968" marR="274320" marT="4968" marB="0" anchor="ctr">
                    <a:lnB w="38100" cmpd="sng">
                      <a:noFill/>
                    </a:lnB>
                    <a:solidFill>
                      <a:srgbClr val="002577"/>
                    </a:solidFill>
                  </a:tcPr>
                </a:tc>
                <a:extLst>
                  <a:ext uri="{0D108BD9-81ED-4DB2-BD59-A6C34878D82A}">
                    <a16:rowId xmlns:a16="http://schemas.microsoft.com/office/drawing/2014/main" val="3906048409"/>
                  </a:ext>
                </a:extLst>
              </a:tr>
              <a:tr h="527620">
                <a:tc>
                  <a:txBody>
                    <a:bodyPr/>
                    <a:lstStyle/>
                    <a:p>
                      <a:pPr algn="l" fontAlgn="b"/>
                      <a:r>
                        <a:rPr lang="en-US" sz="1600" b="0" u="none" strike="noStrike" dirty="0">
                          <a:solidFill>
                            <a:srgbClr val="00008F"/>
                          </a:solidFill>
                          <a:effectLst/>
                        </a:rPr>
                        <a:t>Large Cap Blend</a:t>
                      </a:r>
                      <a:endParaRPr lang="en-US" sz="1600" b="0" i="0" u="none" strike="noStrike" dirty="0">
                        <a:solidFill>
                          <a:srgbClr val="00008F"/>
                        </a:solidFill>
                        <a:effectLst/>
                        <a:latin typeface="Calibri" panose="020F0502020204030204" pitchFamily="34" charset="0"/>
                      </a:endParaRPr>
                    </a:p>
                  </a:txBody>
                  <a:tcPr marL="274320" marR="4968" marT="4968" marB="0" anchor="ctr">
                    <a:lnL w="12700" cmpd="sng">
                      <a:noFill/>
                    </a:lnL>
                    <a:lnR w="12700" cmpd="sng">
                      <a:noFill/>
                    </a:lnR>
                    <a:lnT w="38100" cmpd="sng">
                      <a:noFill/>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rgbClr val="00008F"/>
                          </a:solidFill>
                          <a:effectLst/>
                        </a:rPr>
                        <a:t>36.2%</a:t>
                      </a:r>
                      <a:endParaRPr lang="en-US" sz="1600" b="0" i="0" u="none" strike="noStrike" dirty="0">
                        <a:solidFill>
                          <a:srgbClr val="00008F"/>
                        </a:solidFill>
                        <a:effectLst/>
                        <a:latin typeface="Calibri" panose="020F0502020204030204" pitchFamily="34" charset="0"/>
                      </a:endParaRPr>
                    </a:p>
                  </a:txBody>
                  <a:tcPr marL="4968" marR="274320" marT="4968" marB="0" anchor="ctr">
                    <a:lnL w="12700" cmpd="sng">
                      <a:noFill/>
                    </a:lnL>
                    <a:lnR w="12700" cmpd="sng">
                      <a:noFill/>
                    </a:lnR>
                    <a:lnT w="38100" cmpd="sng">
                      <a:noFill/>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rgbClr val="00008F"/>
                          </a:solidFill>
                          <a:effectLst/>
                        </a:rPr>
                        <a:t> 48.8%</a:t>
                      </a:r>
                      <a:endParaRPr lang="en-US" sz="1600" b="0" i="0" u="none" strike="noStrike" dirty="0">
                        <a:solidFill>
                          <a:srgbClr val="00008F"/>
                        </a:solidFill>
                        <a:effectLst/>
                        <a:latin typeface="Calibri" panose="020F0502020204030204" pitchFamily="34" charset="0"/>
                      </a:endParaRPr>
                    </a:p>
                  </a:txBody>
                  <a:tcPr marL="4968" marR="274320" marT="4968" marB="0" anchor="ctr">
                    <a:lnL w="12700" cmpd="sng">
                      <a:noFill/>
                    </a:lnL>
                    <a:lnR w="12700" cmpd="sng">
                      <a:noFill/>
                    </a:lnR>
                    <a:lnT w="38100" cmpd="sng">
                      <a:noFill/>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3569449"/>
                  </a:ext>
                </a:extLst>
              </a:tr>
              <a:tr h="527620">
                <a:tc>
                  <a:txBody>
                    <a:bodyPr/>
                    <a:lstStyle/>
                    <a:p>
                      <a:pPr algn="l" fontAlgn="b"/>
                      <a:r>
                        <a:rPr lang="en-US" sz="1600" b="0" u="none" strike="noStrike" dirty="0">
                          <a:solidFill>
                            <a:srgbClr val="00008F"/>
                          </a:solidFill>
                          <a:effectLst/>
                        </a:rPr>
                        <a:t>Small Cap Blend</a:t>
                      </a:r>
                      <a:endParaRPr lang="en-US" sz="1600" b="0" i="0" u="none" strike="noStrike" dirty="0">
                        <a:solidFill>
                          <a:srgbClr val="00008F"/>
                        </a:solidFill>
                        <a:effectLst/>
                        <a:latin typeface="Calibri" panose="020F0502020204030204" pitchFamily="34" charset="0"/>
                      </a:endParaRPr>
                    </a:p>
                  </a:txBody>
                  <a:tcPr marL="274320" marR="4968" marT="4968"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rgbClr val="00008F"/>
                          </a:solidFill>
                          <a:effectLst/>
                        </a:rPr>
                        <a:t>23.1</a:t>
                      </a:r>
                      <a:endParaRPr lang="en-US" sz="1600" b="0" i="0" u="none" strike="noStrike" dirty="0">
                        <a:solidFill>
                          <a:srgbClr val="00008F"/>
                        </a:solidFill>
                        <a:effectLst/>
                        <a:latin typeface="Calibri" panose="020F0502020204030204" pitchFamily="34" charset="0"/>
                      </a:endParaRPr>
                    </a:p>
                  </a:txBody>
                  <a:tcPr marL="4968" marR="274320" marT="4968"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rgbClr val="00008F"/>
                          </a:solidFill>
                          <a:effectLst/>
                        </a:rPr>
                        <a:t> 31.5</a:t>
                      </a:r>
                      <a:endParaRPr lang="en-US" sz="1600" b="0" i="0" u="none" strike="noStrike" dirty="0">
                        <a:solidFill>
                          <a:srgbClr val="00008F"/>
                        </a:solidFill>
                        <a:effectLst/>
                        <a:latin typeface="Calibri" panose="020F0502020204030204" pitchFamily="34" charset="0"/>
                      </a:endParaRPr>
                    </a:p>
                  </a:txBody>
                  <a:tcPr marL="4968" marR="274320" marT="4968"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6780630"/>
                  </a:ext>
                </a:extLst>
              </a:tr>
              <a:tr h="527620">
                <a:tc>
                  <a:txBody>
                    <a:bodyPr/>
                    <a:lstStyle/>
                    <a:p>
                      <a:pPr algn="l" fontAlgn="b"/>
                      <a:r>
                        <a:rPr lang="en-US" sz="1600" b="0" u="none" strike="noStrike" dirty="0">
                          <a:solidFill>
                            <a:srgbClr val="00008F"/>
                          </a:solidFill>
                          <a:effectLst/>
                        </a:rPr>
                        <a:t>Foreign Large Cap Blend</a:t>
                      </a:r>
                      <a:endParaRPr lang="en-US" sz="1600" b="0" i="0" u="none" strike="noStrike" dirty="0">
                        <a:solidFill>
                          <a:srgbClr val="00008F"/>
                        </a:solidFill>
                        <a:effectLst/>
                        <a:latin typeface="Calibri" panose="020F0502020204030204" pitchFamily="34" charset="0"/>
                      </a:endParaRPr>
                    </a:p>
                  </a:txBody>
                  <a:tcPr marL="274320" marR="4968" marT="4968"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rgbClr val="00008F"/>
                          </a:solidFill>
                          <a:effectLst/>
                        </a:rPr>
                        <a:t>30.1</a:t>
                      </a:r>
                      <a:endParaRPr lang="en-US" sz="1600" b="0" i="0" u="none" strike="noStrike" dirty="0">
                        <a:solidFill>
                          <a:srgbClr val="00008F"/>
                        </a:solidFill>
                        <a:effectLst/>
                        <a:latin typeface="Calibri" panose="020F0502020204030204" pitchFamily="34" charset="0"/>
                      </a:endParaRPr>
                    </a:p>
                  </a:txBody>
                  <a:tcPr marL="4968" marR="274320" marT="4968"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rgbClr val="00008F"/>
                          </a:solidFill>
                          <a:effectLst/>
                        </a:rPr>
                        <a:t> 53.8</a:t>
                      </a:r>
                      <a:endParaRPr lang="en-US" sz="1600" b="0" i="0" u="none" strike="noStrike" dirty="0">
                        <a:solidFill>
                          <a:srgbClr val="00008F"/>
                        </a:solidFill>
                        <a:effectLst/>
                        <a:latin typeface="Calibri" panose="020F0502020204030204" pitchFamily="34" charset="0"/>
                      </a:endParaRPr>
                    </a:p>
                  </a:txBody>
                  <a:tcPr marL="4968" marR="274320" marT="4968"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1897633"/>
                  </a:ext>
                </a:extLst>
              </a:tr>
              <a:tr h="527620">
                <a:tc>
                  <a:txBody>
                    <a:bodyPr/>
                    <a:lstStyle/>
                    <a:p>
                      <a:pPr algn="l" fontAlgn="b"/>
                      <a:r>
                        <a:rPr lang="en-US" sz="1600" b="0" u="none" strike="noStrike" dirty="0">
                          <a:solidFill>
                            <a:srgbClr val="00008F"/>
                          </a:solidFill>
                          <a:effectLst/>
                        </a:rPr>
                        <a:t>Intermediate-Term Bond</a:t>
                      </a:r>
                      <a:endParaRPr lang="en-US" sz="1600" b="0" i="0" u="none" strike="noStrike" dirty="0">
                        <a:solidFill>
                          <a:srgbClr val="00008F"/>
                        </a:solidFill>
                        <a:effectLst/>
                        <a:latin typeface="Calibri" panose="020F0502020204030204" pitchFamily="34" charset="0"/>
                      </a:endParaRPr>
                    </a:p>
                  </a:txBody>
                  <a:tcPr marL="274320" marR="4968" marT="4968"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rgbClr val="00008F"/>
                          </a:solidFill>
                          <a:effectLst/>
                        </a:rPr>
                        <a:t>70.9</a:t>
                      </a:r>
                      <a:endParaRPr lang="en-US" sz="1600" b="0" i="0" u="none" strike="noStrike" dirty="0">
                        <a:solidFill>
                          <a:srgbClr val="00008F"/>
                        </a:solidFill>
                        <a:effectLst/>
                        <a:latin typeface="Calibri" panose="020F0502020204030204" pitchFamily="34" charset="0"/>
                      </a:endParaRPr>
                    </a:p>
                  </a:txBody>
                  <a:tcPr marL="4968" marR="274320" marT="4968"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rgbClr val="00008F"/>
                          </a:solidFill>
                          <a:effectLst/>
                        </a:rPr>
                        <a:t> 85.1</a:t>
                      </a:r>
                      <a:endParaRPr lang="en-US" sz="1600" b="0" i="0" u="none" strike="noStrike" dirty="0">
                        <a:solidFill>
                          <a:srgbClr val="00008F"/>
                        </a:solidFill>
                        <a:effectLst/>
                        <a:latin typeface="Calibri" panose="020F0502020204030204" pitchFamily="34" charset="0"/>
                      </a:endParaRPr>
                    </a:p>
                  </a:txBody>
                  <a:tcPr marL="4968" marR="274320" marT="4968"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2926332"/>
                  </a:ext>
                </a:extLst>
              </a:tr>
              <a:tr h="527620">
                <a:tc>
                  <a:txBody>
                    <a:bodyPr/>
                    <a:lstStyle/>
                    <a:p>
                      <a:pPr algn="l" fontAlgn="b"/>
                      <a:r>
                        <a:rPr lang="en-US" sz="1600" b="0" u="none" strike="noStrike" dirty="0">
                          <a:solidFill>
                            <a:srgbClr val="00008F"/>
                          </a:solidFill>
                          <a:effectLst/>
                        </a:rPr>
                        <a:t>Corporate Bond</a:t>
                      </a:r>
                      <a:endParaRPr lang="en-US" sz="1600" b="0" i="0" u="none" strike="noStrike" dirty="0">
                        <a:solidFill>
                          <a:srgbClr val="00008F"/>
                        </a:solidFill>
                        <a:effectLst/>
                        <a:latin typeface="Calibri" panose="020F0502020204030204" pitchFamily="34" charset="0"/>
                      </a:endParaRPr>
                    </a:p>
                  </a:txBody>
                  <a:tcPr marL="274320" marR="4968" marT="4968"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rgbClr val="00008F"/>
                          </a:solidFill>
                          <a:effectLst/>
                        </a:rPr>
                        <a:t>48.1</a:t>
                      </a:r>
                      <a:endParaRPr lang="en-US" sz="1600" b="0" i="0" u="none" strike="noStrike" dirty="0">
                        <a:solidFill>
                          <a:srgbClr val="00008F"/>
                        </a:solidFill>
                        <a:effectLst/>
                        <a:latin typeface="Calibri" panose="020F0502020204030204" pitchFamily="34" charset="0"/>
                      </a:endParaRPr>
                    </a:p>
                  </a:txBody>
                  <a:tcPr marL="4968" marR="274320" marT="4968"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rgbClr val="00008F"/>
                          </a:solidFill>
                          <a:effectLst/>
                        </a:rPr>
                        <a:t>76.0</a:t>
                      </a:r>
                      <a:endParaRPr lang="en-US" sz="1600" b="0" i="0" u="none" strike="noStrike" dirty="0">
                        <a:solidFill>
                          <a:srgbClr val="00008F"/>
                        </a:solidFill>
                        <a:effectLst/>
                        <a:latin typeface="Calibri" panose="020F0502020204030204" pitchFamily="34" charset="0"/>
                      </a:endParaRPr>
                    </a:p>
                  </a:txBody>
                  <a:tcPr marL="4968" marR="274320" marT="4968" marB="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1615437"/>
                  </a:ext>
                </a:extLst>
              </a:tr>
            </a:tbl>
          </a:graphicData>
        </a:graphic>
      </p:graphicFrame>
    </p:spTree>
    <p:extLst>
      <p:ext uri="{BB962C8B-B14F-4D97-AF65-F5344CB8AC3E}">
        <p14:creationId xmlns:p14="http://schemas.microsoft.com/office/powerpoint/2010/main" val="15067114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object 6">
            <a:extLst>
              <a:ext uri="{FF2B5EF4-FFF2-40B4-BE49-F238E27FC236}">
                <a16:creationId xmlns:a16="http://schemas.microsoft.com/office/drawing/2014/main" id="{BDBE11E3-5A9A-3441-B358-3C8C871435D2}"/>
              </a:ext>
            </a:extLst>
          </p:cNvPr>
          <p:cNvSpPr/>
          <p:nvPr/>
        </p:nvSpPr>
        <p:spPr>
          <a:xfrm>
            <a:off x="1096645" y="3429000"/>
            <a:ext cx="7761605" cy="1663700"/>
          </a:xfrm>
          <a:prstGeom prst="rect">
            <a:avLst/>
          </a:prstGeom>
          <a:blipFill>
            <a:blip r:embed="rId3" cstate="print"/>
            <a:stretch>
              <a:fillRect/>
            </a:stretch>
          </a:blipFill>
        </p:spPr>
        <p:style>
          <a:lnRef idx="0">
            <a:scrgbClr r="0" g="0" b="0"/>
          </a:lnRef>
          <a:fillRef idx="0">
            <a:scrgbClr r="0" g="0" b="0"/>
          </a:fillRef>
          <a:effectRef idx="0">
            <a:scrgbClr r="0" g="0" b="0"/>
          </a:effectRef>
          <a:fontRef idx="major"/>
        </p:style>
        <p:txBody>
          <a:bodyPr lIns="0" tIns="0" rIns="0" b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defRPr/>
            </a:pPr>
            <a:endParaRPr>
              <a:solidFill>
                <a:prstClr val="black"/>
              </a:solidFill>
              <a:latin typeface="Calibri"/>
              <a:ea typeface="MS PGothic" pitchFamily="34" charset="-128"/>
            </a:endParaRPr>
          </a:p>
        </p:txBody>
      </p:sp>
      <p:sp>
        <p:nvSpPr>
          <p:cNvPr id="75" name="object 5">
            <a:extLst>
              <a:ext uri="{FF2B5EF4-FFF2-40B4-BE49-F238E27FC236}">
                <a16:creationId xmlns:a16="http://schemas.microsoft.com/office/drawing/2014/main" id="{EB1AD21B-458B-464F-A658-104F5D1A91FE}"/>
              </a:ext>
            </a:extLst>
          </p:cNvPr>
          <p:cNvSpPr/>
          <p:nvPr/>
        </p:nvSpPr>
        <p:spPr>
          <a:xfrm>
            <a:off x="760095" y="3594100"/>
            <a:ext cx="7763165" cy="1498600"/>
          </a:xfrm>
          <a:prstGeom prst="rect">
            <a:avLst/>
          </a:prstGeom>
          <a:blipFill>
            <a:blip r:embed="rId4" cstate="print"/>
            <a:stretch>
              <a:fillRect/>
            </a:stretch>
          </a:blipFill>
        </p:spPr>
        <p:style>
          <a:lnRef idx="0">
            <a:scrgbClr r="0" g="0" b="0"/>
          </a:lnRef>
          <a:fillRef idx="0">
            <a:scrgbClr r="0" g="0" b="0"/>
          </a:fillRef>
          <a:effectRef idx="0">
            <a:scrgbClr r="0" g="0" b="0"/>
          </a:effectRef>
          <a:fontRef idx="major"/>
        </p:style>
        <p:txBody>
          <a:bodyPr lIns="0" tIns="0" rIns="0" b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defRPr/>
            </a:pPr>
            <a:endParaRPr>
              <a:solidFill>
                <a:prstClr val="black"/>
              </a:solidFill>
              <a:latin typeface="Calibri"/>
              <a:ea typeface="MS PGothic" pitchFamily="34" charset="-128"/>
            </a:endParaRPr>
          </a:p>
        </p:txBody>
      </p:sp>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07287" y="6371405"/>
            <a:ext cx="327151" cy="178481"/>
          </a:xfrm>
        </p:spPr>
        <p:txBody>
          <a:bodyPr/>
          <a:lstStyle/>
          <a:p>
            <a:fld id="{2C7AFF3D-0B71-614B-ACB6-7F45BDA6A838}" type="slidenum">
              <a:rPr lang="en-US" smtClean="0">
                <a:latin typeface="Segoe UI" panose="020B0502040204020203" pitchFamily="34" charset="0"/>
              </a:rPr>
              <a:pPr/>
              <a:t>40</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51418" y="6360296"/>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0" y="381000"/>
            <a:ext cx="8594700"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Many Indicate Having Other Sources of </a:t>
            </a:r>
          </a:p>
          <a:p>
            <a:pPr lvl="0"/>
            <a:r>
              <a:rPr lang="en-US" sz="2400" dirty="0">
                <a:latin typeface="Segoe UI" panose="020B0502040204020203" pitchFamily="34" charset="0"/>
                <a:ea typeface="Segoe UI" panose="020B0502040204020203" pitchFamily="34" charset="0"/>
                <a:cs typeface="Segoe UI" panose="020B0502040204020203" pitchFamily="34" charset="0"/>
              </a:rPr>
              <a:t>Retirement Income</a:t>
            </a:r>
          </a:p>
        </p:txBody>
      </p:sp>
      <p:sp>
        <p:nvSpPr>
          <p:cNvPr id="7" name="object 34">
            <a:extLst>
              <a:ext uri="{FF2B5EF4-FFF2-40B4-BE49-F238E27FC236}">
                <a16:creationId xmlns:a16="http://schemas.microsoft.com/office/drawing/2014/main" id="{F3F6B1BA-8015-8143-BD98-B1605EAF473E}"/>
              </a:ext>
            </a:extLst>
          </p:cNvPr>
          <p:cNvSpPr txBox="1">
            <a:spLocks noChangeArrowheads="1"/>
          </p:cNvSpPr>
          <p:nvPr/>
        </p:nvSpPr>
        <p:spPr bwMode="auto">
          <a:xfrm>
            <a:off x="419100" y="1243475"/>
            <a:ext cx="804747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298450" indent="-285750">
              <a:spcBef>
                <a:spcPct val="20000"/>
              </a:spcBef>
              <a:buBlip>
                <a:blip r:embed="rId5"/>
              </a:buBlip>
              <a:tabLst>
                <a:tab pos="298450" algn="l"/>
              </a:tabLst>
              <a:defRPr>
                <a:solidFill>
                  <a:schemeClr val="tx1"/>
                </a:solidFill>
                <a:latin typeface="Arial" pitchFamily="34" charset="0"/>
                <a:ea typeface="MS PGothic" pitchFamily="34" charset="-128"/>
                <a:cs typeface="Arial" pitchFamily="34" charset="0"/>
              </a:defRPr>
            </a:lvl1pPr>
            <a:lvl2pPr marL="742950" indent="-285750">
              <a:spcBef>
                <a:spcPct val="20000"/>
              </a:spcBef>
              <a:buFont typeface="Arial" pitchFamily="34" charset="0"/>
              <a:tabLst>
                <a:tab pos="298450" algn="l"/>
              </a:tabLst>
              <a:defRPr b="1">
                <a:solidFill>
                  <a:schemeClr val="tx1"/>
                </a:solidFill>
                <a:latin typeface="Arial" pitchFamily="34" charset="0"/>
                <a:ea typeface="MS PGothic" pitchFamily="34" charset="-128"/>
                <a:cs typeface="Arial" pitchFamily="34" charset="0"/>
              </a:defRPr>
            </a:lvl2pPr>
            <a:lvl3pPr marL="1143000" indent="-228600">
              <a:spcBef>
                <a:spcPct val="20000"/>
              </a:spcBef>
              <a:buClr>
                <a:schemeClr val="tx2"/>
              </a:buClr>
              <a:buFont typeface="Wingdings" pitchFamily="2" charset="2"/>
              <a:buChar char=""/>
              <a:tabLst>
                <a:tab pos="298450" algn="l"/>
              </a:tabLst>
              <a:defRPr sz="1600">
                <a:solidFill>
                  <a:schemeClr val="tx1"/>
                </a:solidFill>
                <a:latin typeface="Arial" pitchFamily="34" charset="0"/>
                <a:ea typeface="MS PGothic" pitchFamily="34" charset="-128"/>
                <a:cs typeface="Arial" pitchFamily="34" charset="0"/>
              </a:defRPr>
            </a:lvl3pPr>
            <a:lvl4pPr marL="1600200" indent="-228600">
              <a:spcBef>
                <a:spcPct val="20000"/>
              </a:spcBef>
              <a:tabLst>
                <a:tab pos="298450" algn="l"/>
              </a:tabLst>
              <a:defRPr sz="1600">
                <a:solidFill>
                  <a:schemeClr val="tx1"/>
                </a:solidFill>
                <a:latin typeface="Arial" pitchFamily="34" charset="0"/>
                <a:ea typeface="MS PGothic" pitchFamily="34" charset="-128"/>
                <a:cs typeface="Arial" pitchFamily="34" charset="0"/>
              </a:defRPr>
            </a:lvl4pPr>
            <a:lvl5pPr marL="2057400" indent="-228600">
              <a:spcBef>
                <a:spcPct val="20000"/>
              </a:spcBef>
              <a:buClr>
                <a:schemeClr val="tx2"/>
              </a:buClr>
              <a:buFont typeface="Arial" pitchFamily="34" charset="0"/>
              <a:buChar char="­"/>
              <a:tabLst>
                <a:tab pos="298450" algn="l"/>
              </a:tabLst>
              <a:defRPr sz="1400">
                <a:solidFill>
                  <a:schemeClr val="tx1"/>
                </a:solidFill>
                <a:latin typeface="Arial" pitchFamily="34" charset="0"/>
                <a:ea typeface="MS PGothic"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tabLst>
                <a:tab pos="298450" algn="l"/>
              </a:tabLst>
              <a:defRPr sz="1400">
                <a:solidFill>
                  <a:schemeClr val="tx1"/>
                </a:solidFill>
                <a:latin typeface="Arial" pitchFamily="34" charset="0"/>
                <a:ea typeface="MS PGothic"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tabLst>
                <a:tab pos="298450" algn="l"/>
              </a:tabLst>
              <a:defRPr sz="1400">
                <a:solidFill>
                  <a:schemeClr val="tx1"/>
                </a:solidFill>
                <a:latin typeface="Arial" pitchFamily="34" charset="0"/>
                <a:ea typeface="MS PGothic"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tabLst>
                <a:tab pos="298450" algn="l"/>
              </a:tabLst>
              <a:defRPr sz="1400">
                <a:solidFill>
                  <a:schemeClr val="tx1"/>
                </a:solidFill>
                <a:latin typeface="Arial" pitchFamily="34" charset="0"/>
                <a:ea typeface="MS PGothic"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tabLst>
                <a:tab pos="298450" algn="l"/>
              </a:tabLst>
              <a:defRPr sz="1400">
                <a:solidFill>
                  <a:schemeClr val="tx1"/>
                </a:solidFill>
                <a:latin typeface="Arial" pitchFamily="34" charset="0"/>
                <a:ea typeface="MS PGothic" pitchFamily="34" charset="-128"/>
                <a:cs typeface="Arial" pitchFamily="34" charset="0"/>
              </a:defRPr>
            </a:lvl9pPr>
          </a:lstStyle>
          <a:p>
            <a:pPr marL="12700" indent="0" fontAlgn="base">
              <a:spcBef>
                <a:spcPct val="0"/>
              </a:spcBef>
              <a:spcAft>
                <a:spcPct val="0"/>
              </a:spcAft>
              <a:buClr>
                <a:srgbClr val="006666"/>
              </a:buClr>
              <a:buNone/>
            </a:pPr>
            <a:r>
              <a:rPr lang="en-US" alt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lthough all groups say that SS will cover more than half of their expenses, Future Retirees are more  likely than Recent or 10+ Retirees to supplement this with retirement accounts or employment, but are  less likely to say they will supplement with pension.</a:t>
            </a:r>
          </a:p>
        </p:txBody>
      </p:sp>
      <p:sp>
        <p:nvSpPr>
          <p:cNvPr id="45" name="object 33">
            <a:extLst>
              <a:ext uri="{FF2B5EF4-FFF2-40B4-BE49-F238E27FC236}">
                <a16:creationId xmlns:a16="http://schemas.microsoft.com/office/drawing/2014/main" id="{AA6C09B4-F342-B744-B9FF-34E9F72BFB52}"/>
              </a:ext>
            </a:extLst>
          </p:cNvPr>
          <p:cNvSpPr txBox="1"/>
          <p:nvPr/>
        </p:nvSpPr>
        <p:spPr>
          <a:xfrm>
            <a:off x="419100" y="5805249"/>
            <a:ext cx="3764280" cy="369332"/>
          </a:xfrm>
          <a:prstGeom prst="rect">
            <a:avLst/>
          </a:prstGeom>
        </p:spPr>
        <p:txBody>
          <a:bodyPr wrap="square" lIns="0" tIns="0" rIns="0" bIns="0">
            <a:spAutoFit/>
          </a:bodyPr>
          <a:lstStyle/>
          <a:p>
            <a:pPr marL="12700">
              <a:defRPr/>
            </a:pPr>
            <a:r>
              <a:rPr lang="en-US" sz="800" u="sng" spc="-5" dirty="0">
                <a:solidFill>
                  <a:schemeClr val="bg1">
                    <a:lumMod val="50000"/>
                  </a:schemeClr>
                </a:solidFill>
                <a:ea typeface="MS PGothic" pitchFamily="34" charset="-128"/>
                <a:cs typeface="Arial"/>
              </a:rPr>
              <a:t>Base: Qualified </a:t>
            </a:r>
            <a:r>
              <a:rPr lang="en-US" sz="800" u="sng" spc="-10" dirty="0">
                <a:solidFill>
                  <a:schemeClr val="bg1">
                    <a:lumMod val="50000"/>
                  </a:schemeClr>
                </a:solidFill>
                <a:ea typeface="MS PGothic" pitchFamily="34" charset="-128"/>
                <a:cs typeface="Arial"/>
              </a:rPr>
              <a:t>Respondents </a:t>
            </a:r>
            <a:r>
              <a:rPr lang="en-US" sz="800" u="sng" spc="-5" dirty="0">
                <a:solidFill>
                  <a:schemeClr val="bg1">
                    <a:lumMod val="50000"/>
                  </a:schemeClr>
                </a:solidFill>
                <a:ea typeface="MS PGothic" pitchFamily="34" charset="-128"/>
                <a:cs typeface="Arial"/>
              </a:rPr>
              <a:t>(Total </a:t>
            </a:r>
            <a:r>
              <a:rPr lang="en-US" sz="800" u="sng" spc="-10" dirty="0">
                <a:solidFill>
                  <a:schemeClr val="bg1">
                    <a:lumMod val="50000"/>
                  </a:schemeClr>
                </a:solidFill>
                <a:ea typeface="MS PGothic" pitchFamily="34" charset="-128"/>
                <a:cs typeface="Arial"/>
              </a:rPr>
              <a:t>n=909); Future (n=301); </a:t>
            </a:r>
            <a:r>
              <a:rPr lang="en-US" sz="800" u="sng" spc="-5" dirty="0">
                <a:solidFill>
                  <a:schemeClr val="bg1">
                    <a:lumMod val="50000"/>
                  </a:schemeClr>
                </a:solidFill>
                <a:ea typeface="MS PGothic" pitchFamily="34" charset="-128"/>
                <a:cs typeface="Arial"/>
              </a:rPr>
              <a:t>Recent </a:t>
            </a:r>
            <a:r>
              <a:rPr lang="en-US" sz="800" u="sng" spc="-10" dirty="0">
                <a:solidFill>
                  <a:schemeClr val="bg1">
                    <a:lumMod val="50000"/>
                  </a:schemeClr>
                </a:solidFill>
                <a:ea typeface="MS PGothic" pitchFamily="34" charset="-128"/>
                <a:cs typeface="Arial"/>
              </a:rPr>
              <a:t>(n=301); 10+  </a:t>
            </a:r>
            <a:r>
              <a:rPr lang="en-US" sz="800" u="sng" spc="100" dirty="0">
                <a:solidFill>
                  <a:schemeClr val="bg1">
                    <a:lumMod val="50000"/>
                  </a:schemeClr>
                </a:solidFill>
                <a:ea typeface="MS PGothic" pitchFamily="34" charset="-128"/>
                <a:cs typeface="Arial"/>
              </a:rPr>
              <a:t> </a:t>
            </a:r>
            <a:r>
              <a:rPr lang="en-US" sz="800" u="sng" spc="-10" dirty="0">
                <a:solidFill>
                  <a:schemeClr val="bg1">
                    <a:lumMod val="50000"/>
                  </a:schemeClr>
                </a:solidFill>
                <a:ea typeface="MS PGothic" pitchFamily="34" charset="-128"/>
                <a:cs typeface="Arial"/>
              </a:rPr>
              <a:t>(n=307)</a:t>
            </a:r>
            <a:endParaRPr lang="en-US" sz="800" dirty="0">
              <a:solidFill>
                <a:schemeClr val="bg1">
                  <a:lumMod val="50000"/>
                </a:schemeClr>
              </a:solidFill>
              <a:ea typeface="MS PGothic" pitchFamily="34" charset="-128"/>
              <a:cs typeface="Arial"/>
            </a:endParaRPr>
          </a:p>
          <a:p>
            <a:pPr marL="12700">
              <a:defRPr/>
            </a:pPr>
            <a:r>
              <a:rPr lang="en-US" sz="800" b="1" spc="-10" dirty="0">
                <a:solidFill>
                  <a:schemeClr val="bg1">
                    <a:lumMod val="50000"/>
                  </a:schemeClr>
                </a:solidFill>
                <a:ea typeface="MS PGothic" pitchFamily="34" charset="-128"/>
                <a:cs typeface="Arial"/>
              </a:rPr>
              <a:t>Q716 </a:t>
            </a:r>
            <a:r>
              <a:rPr lang="en-US" sz="800" spc="-10" dirty="0">
                <a:solidFill>
                  <a:schemeClr val="bg1">
                    <a:lumMod val="50000"/>
                  </a:schemeClr>
                </a:solidFill>
                <a:ea typeface="MS PGothic" pitchFamily="34" charset="-128"/>
                <a:cs typeface="Arial"/>
              </a:rPr>
              <a:t>In </a:t>
            </a:r>
            <a:r>
              <a:rPr lang="en-US" sz="800" spc="-5" dirty="0">
                <a:solidFill>
                  <a:schemeClr val="bg1">
                    <a:lumMod val="50000"/>
                  </a:schemeClr>
                </a:solidFill>
                <a:ea typeface="MS PGothic" pitchFamily="34" charset="-128"/>
                <a:cs typeface="Arial"/>
              </a:rPr>
              <a:t>addition to Social </a:t>
            </a:r>
            <a:r>
              <a:rPr lang="en-US" sz="800" spc="-10" dirty="0">
                <a:solidFill>
                  <a:schemeClr val="bg1">
                    <a:lumMod val="50000"/>
                  </a:schemeClr>
                </a:solidFill>
                <a:ea typeface="MS PGothic" pitchFamily="34" charset="-128"/>
                <a:cs typeface="Arial"/>
              </a:rPr>
              <a:t>Security, [do </a:t>
            </a:r>
            <a:r>
              <a:rPr lang="en-US" sz="800" spc="-15" dirty="0">
                <a:solidFill>
                  <a:schemeClr val="bg1">
                    <a:lumMod val="50000"/>
                  </a:schemeClr>
                </a:solidFill>
                <a:ea typeface="MS PGothic" pitchFamily="34" charset="-128"/>
                <a:cs typeface="Arial"/>
              </a:rPr>
              <a:t>you </a:t>
            </a:r>
            <a:r>
              <a:rPr lang="en-US" sz="800" spc="-10" dirty="0">
                <a:solidFill>
                  <a:schemeClr val="bg1">
                    <a:lumMod val="50000"/>
                  </a:schemeClr>
                </a:solidFill>
                <a:ea typeface="MS PGothic" pitchFamily="34" charset="-128"/>
                <a:cs typeface="Arial"/>
              </a:rPr>
              <a:t>have/will </a:t>
            </a:r>
            <a:r>
              <a:rPr lang="en-US" sz="800" spc="-15" dirty="0">
                <a:solidFill>
                  <a:schemeClr val="bg1">
                    <a:lumMod val="50000"/>
                  </a:schemeClr>
                </a:solidFill>
                <a:ea typeface="MS PGothic" pitchFamily="34" charset="-128"/>
                <a:cs typeface="Arial"/>
              </a:rPr>
              <a:t>you </a:t>
            </a:r>
            <a:r>
              <a:rPr lang="en-US" sz="800" spc="-5" dirty="0">
                <a:solidFill>
                  <a:schemeClr val="bg1">
                    <a:lumMod val="50000"/>
                  </a:schemeClr>
                </a:solidFill>
                <a:ea typeface="MS PGothic" pitchFamily="34" charset="-128"/>
                <a:cs typeface="Arial"/>
              </a:rPr>
              <a:t>have] </a:t>
            </a:r>
            <a:r>
              <a:rPr lang="en-US" sz="800" spc="-10" dirty="0">
                <a:solidFill>
                  <a:schemeClr val="bg1">
                    <a:lumMod val="50000"/>
                  </a:schemeClr>
                </a:solidFill>
                <a:ea typeface="MS PGothic" pitchFamily="34" charset="-128"/>
                <a:cs typeface="Arial"/>
              </a:rPr>
              <a:t>any </a:t>
            </a:r>
            <a:r>
              <a:rPr lang="en-US" sz="800" spc="-5" dirty="0">
                <a:solidFill>
                  <a:schemeClr val="bg1">
                    <a:lumMod val="50000"/>
                  </a:schemeClr>
                </a:solidFill>
                <a:ea typeface="MS PGothic" pitchFamily="34" charset="-128"/>
                <a:cs typeface="Arial"/>
              </a:rPr>
              <a:t>of </a:t>
            </a:r>
            <a:r>
              <a:rPr lang="en-US" sz="800" spc="-10" dirty="0">
                <a:solidFill>
                  <a:schemeClr val="bg1">
                    <a:lumMod val="50000"/>
                  </a:schemeClr>
                </a:solidFill>
                <a:ea typeface="MS PGothic" pitchFamily="34" charset="-128"/>
                <a:cs typeface="Arial"/>
              </a:rPr>
              <a:t>the following </a:t>
            </a:r>
            <a:r>
              <a:rPr lang="en-US" sz="800" spc="-5" dirty="0">
                <a:solidFill>
                  <a:schemeClr val="bg1">
                    <a:lumMod val="50000"/>
                  </a:schemeClr>
                </a:solidFill>
                <a:ea typeface="MS PGothic" pitchFamily="34" charset="-128"/>
                <a:cs typeface="Arial"/>
              </a:rPr>
              <a:t>sources of retirement income?     </a:t>
            </a:r>
            <a:r>
              <a:rPr lang="en-US" sz="800" dirty="0">
                <a:solidFill>
                  <a:schemeClr val="bg1">
                    <a:lumMod val="50000"/>
                  </a:schemeClr>
                </a:solidFill>
                <a:ea typeface="MS PGothic" pitchFamily="34" charset="-128"/>
                <a:cs typeface="Arial"/>
              </a:rPr>
              <a:t> </a:t>
            </a:r>
            <a:r>
              <a:rPr lang="en-US" sz="800" spc="-5" dirty="0">
                <a:solidFill>
                  <a:schemeClr val="bg1">
                    <a:lumMod val="50000"/>
                  </a:schemeClr>
                </a:solidFill>
                <a:ea typeface="MS PGothic" pitchFamily="34" charset="-128"/>
                <a:cs typeface="Arial"/>
              </a:rPr>
              <a:t>Please select all </a:t>
            </a:r>
            <a:r>
              <a:rPr lang="en-US" sz="800" spc="-10" dirty="0">
                <a:solidFill>
                  <a:schemeClr val="bg1">
                    <a:lumMod val="50000"/>
                  </a:schemeClr>
                </a:solidFill>
                <a:ea typeface="MS PGothic" pitchFamily="34" charset="-128"/>
                <a:cs typeface="Arial"/>
              </a:rPr>
              <a:t>that apply.</a:t>
            </a:r>
            <a:endParaRPr lang="en-US" sz="800" dirty="0">
              <a:solidFill>
                <a:schemeClr val="bg1">
                  <a:lumMod val="50000"/>
                </a:schemeClr>
              </a:solidFill>
              <a:ea typeface="MS PGothic" pitchFamily="34" charset="-128"/>
              <a:cs typeface="Arial"/>
            </a:endParaRPr>
          </a:p>
        </p:txBody>
      </p:sp>
      <p:grpSp>
        <p:nvGrpSpPr>
          <p:cNvPr id="24" name="Group 23">
            <a:extLst>
              <a:ext uri="{FF2B5EF4-FFF2-40B4-BE49-F238E27FC236}">
                <a16:creationId xmlns:a16="http://schemas.microsoft.com/office/drawing/2014/main" id="{A170E133-68B9-0E44-8BFE-F471D8A83A49}"/>
              </a:ext>
            </a:extLst>
          </p:cNvPr>
          <p:cNvGrpSpPr/>
          <p:nvPr/>
        </p:nvGrpSpPr>
        <p:grpSpPr>
          <a:xfrm>
            <a:off x="7233760" y="2413694"/>
            <a:ext cx="2521001" cy="1128872"/>
            <a:chOff x="4572000" y="2604030"/>
            <a:chExt cx="2521001" cy="1128872"/>
          </a:xfrm>
        </p:grpSpPr>
        <p:sp>
          <p:nvSpPr>
            <p:cNvPr id="42" name="object 42">
              <a:extLst>
                <a:ext uri="{FF2B5EF4-FFF2-40B4-BE49-F238E27FC236}">
                  <a16:creationId xmlns:a16="http://schemas.microsoft.com/office/drawing/2014/main" id="{33C60A95-38B6-5246-9B35-E221CB16307E}"/>
                </a:ext>
              </a:extLst>
            </p:cNvPr>
            <p:cNvSpPr txBox="1">
              <a:spLocks noChangeArrowheads="1"/>
            </p:cNvSpPr>
            <p:nvPr/>
          </p:nvSpPr>
          <p:spPr bwMode="auto">
            <a:xfrm>
              <a:off x="4805357" y="2604030"/>
              <a:ext cx="12718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spcBef>
                  <a:spcPts val="500"/>
                </a:spcBef>
                <a:buClr>
                  <a:srgbClr val="002577"/>
                </a:buClr>
                <a:buSzPct val="200000"/>
              </a:pPr>
              <a:r>
                <a:rPr lang="en-US" sz="900" dirty="0">
                  <a:solidFill>
                    <a:srgbClr val="75787B"/>
                  </a:solidFill>
                  <a:latin typeface="Segoe UI" panose="020B0502040204020203" pitchFamily="34" charset="0"/>
                </a:rPr>
                <a:t>Average % of Expenses Expect SS to Cover:</a:t>
              </a:r>
            </a:p>
          </p:txBody>
        </p:sp>
        <p:grpSp>
          <p:nvGrpSpPr>
            <p:cNvPr id="46" name="Group 45">
              <a:extLst>
                <a:ext uri="{FF2B5EF4-FFF2-40B4-BE49-F238E27FC236}">
                  <a16:creationId xmlns:a16="http://schemas.microsoft.com/office/drawing/2014/main" id="{56088AC6-0846-C34C-B344-B172E7C96258}"/>
                </a:ext>
              </a:extLst>
            </p:cNvPr>
            <p:cNvGrpSpPr/>
            <p:nvPr/>
          </p:nvGrpSpPr>
          <p:grpSpPr>
            <a:xfrm>
              <a:off x="4572000" y="2894211"/>
              <a:ext cx="2521001" cy="838691"/>
              <a:chOff x="11114588" y="945642"/>
              <a:chExt cx="2521001" cy="838691"/>
            </a:xfrm>
          </p:grpSpPr>
          <p:sp>
            <p:nvSpPr>
              <p:cNvPr id="48" name="Oval 47">
                <a:extLst>
                  <a:ext uri="{FF2B5EF4-FFF2-40B4-BE49-F238E27FC236}">
                    <a16:creationId xmlns:a16="http://schemas.microsoft.com/office/drawing/2014/main" id="{E252DB43-59E5-8544-BD0D-653A316E0152}"/>
                  </a:ext>
                </a:extLst>
              </p:cNvPr>
              <p:cNvSpPr/>
              <p:nvPr/>
            </p:nvSpPr>
            <p:spPr>
              <a:xfrm>
                <a:off x="11117829" y="973155"/>
                <a:ext cx="144651" cy="144651"/>
              </a:xfrm>
              <a:prstGeom prst="ellipse">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FF15079C-709F-7E4D-9D46-7F12EC38632F}"/>
                  </a:ext>
                </a:extLst>
              </p:cNvPr>
              <p:cNvSpPr/>
              <p:nvPr/>
            </p:nvSpPr>
            <p:spPr>
              <a:xfrm>
                <a:off x="11114588" y="1182382"/>
                <a:ext cx="144651" cy="144651"/>
              </a:xfrm>
              <a:prstGeom prst="ellipse">
                <a:avLst/>
              </a:prstGeom>
              <a:solidFill>
                <a:srgbClr val="067A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1F098E60-3100-C44C-A7FF-1E707A6ECF16}"/>
                  </a:ext>
                </a:extLst>
              </p:cNvPr>
              <p:cNvSpPr/>
              <p:nvPr/>
            </p:nvSpPr>
            <p:spPr>
              <a:xfrm>
                <a:off x="11126833" y="1394204"/>
                <a:ext cx="127533" cy="127533"/>
              </a:xfrm>
              <a:prstGeom prst="ellipse">
                <a:avLst/>
              </a:prstGeom>
              <a:solidFill>
                <a:srgbClr val="37B6FD"/>
              </a:solidFill>
              <a:ln w="22225">
                <a:solidFill>
                  <a:srgbClr val="37B6F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a:extLst>
                  <a:ext uri="{FF2B5EF4-FFF2-40B4-BE49-F238E27FC236}">
                    <a16:creationId xmlns:a16="http://schemas.microsoft.com/office/drawing/2014/main" id="{28545B0E-4B7D-E340-8B13-356347AB8C37}"/>
                  </a:ext>
                </a:extLst>
              </p:cNvPr>
              <p:cNvSpPr txBox="1"/>
              <p:nvPr/>
            </p:nvSpPr>
            <p:spPr>
              <a:xfrm>
                <a:off x="11255857" y="945642"/>
                <a:ext cx="2379732" cy="838691"/>
              </a:xfrm>
              <a:prstGeom prst="rect">
                <a:avLst/>
              </a:prstGeom>
              <a:noFill/>
            </p:spPr>
            <p:txBody>
              <a:bodyPr wrap="square" rtlCol="0">
                <a:spAutoFit/>
              </a:bodyPr>
              <a:lstStyle/>
              <a:p>
                <a:pPr>
                  <a:spcBef>
                    <a:spcPts val="500"/>
                  </a:spcBef>
                  <a:buClr>
                    <a:srgbClr val="002577"/>
                  </a:buClr>
                  <a:buSzPct val="200000"/>
                </a:pPr>
                <a:r>
                  <a:rPr lang="en-US" sz="900" dirty="0">
                    <a:solidFill>
                      <a:srgbClr val="75787B"/>
                    </a:solidFill>
                    <a:latin typeface="Segoe UI" panose="020B0502040204020203" pitchFamily="34" charset="0"/>
                  </a:rPr>
                  <a:t>Future Retirees – 57%</a:t>
                </a:r>
              </a:p>
              <a:p>
                <a:pPr>
                  <a:spcBef>
                    <a:spcPts val="500"/>
                  </a:spcBef>
                  <a:buClr>
                    <a:srgbClr val="002577"/>
                  </a:buClr>
                  <a:buSzPct val="200000"/>
                </a:pPr>
                <a:r>
                  <a:rPr lang="en-US" sz="900" dirty="0">
                    <a:solidFill>
                      <a:srgbClr val="75787B"/>
                    </a:solidFill>
                    <a:latin typeface="Segoe UI" panose="020B0502040204020203" pitchFamily="34" charset="0"/>
                  </a:rPr>
                  <a:t>Recent Retirees – 57%</a:t>
                </a:r>
              </a:p>
              <a:p>
                <a:pPr>
                  <a:spcBef>
                    <a:spcPts val="500"/>
                  </a:spcBef>
                  <a:buClr>
                    <a:srgbClr val="002577"/>
                  </a:buClr>
                  <a:buSzPct val="200000"/>
                </a:pPr>
                <a:r>
                  <a:rPr lang="en-US" sz="900" dirty="0">
                    <a:solidFill>
                      <a:srgbClr val="75787B"/>
                    </a:solidFill>
                    <a:latin typeface="Segoe UI" panose="020B0502040204020203" pitchFamily="34" charset="0"/>
                  </a:rPr>
                  <a:t>10+ Retirees – 55%</a:t>
                </a:r>
              </a:p>
              <a:p>
                <a:pPr>
                  <a:spcBef>
                    <a:spcPts val="500"/>
                  </a:spcBef>
                  <a:buClr>
                    <a:srgbClr val="002577"/>
                  </a:buClr>
                  <a:buSzPct val="200000"/>
                </a:pPr>
                <a:endParaRPr lang="en-US" sz="900" dirty="0">
                  <a:solidFill>
                    <a:srgbClr val="75787B"/>
                  </a:solidFill>
                  <a:latin typeface="Segoe UI" panose="020B0502040204020203" pitchFamily="34" charset="0"/>
                </a:endParaRPr>
              </a:p>
            </p:txBody>
          </p:sp>
        </p:grpSp>
      </p:grpSp>
      <p:sp>
        <p:nvSpPr>
          <p:cNvPr id="41" name="TextBox 40">
            <a:extLst>
              <a:ext uri="{FF2B5EF4-FFF2-40B4-BE49-F238E27FC236}">
                <a16:creationId xmlns:a16="http://schemas.microsoft.com/office/drawing/2014/main" id="{CF24162C-C851-034B-A073-282EFFDCA029}"/>
              </a:ext>
            </a:extLst>
          </p:cNvPr>
          <p:cNvSpPr txBox="1"/>
          <p:nvPr/>
        </p:nvSpPr>
        <p:spPr>
          <a:xfrm>
            <a:off x="347173" y="1992519"/>
            <a:ext cx="3653328" cy="307777"/>
          </a:xfrm>
          <a:prstGeom prst="rect">
            <a:avLst/>
          </a:prstGeom>
          <a:noFill/>
        </p:spPr>
        <p:txBody>
          <a:bodyPr wrap="square" rtlCol="0">
            <a:spAutoFit/>
          </a:bodyPr>
          <a:lstStyle/>
          <a:p>
            <a:r>
              <a:rPr lang="en-US" sz="1400" b="1" dirty="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rPr>
              <a:t>Sources of Retirement Income</a:t>
            </a:r>
          </a:p>
        </p:txBody>
      </p:sp>
      <p:sp>
        <p:nvSpPr>
          <p:cNvPr id="53" name="object 4">
            <a:extLst>
              <a:ext uri="{FF2B5EF4-FFF2-40B4-BE49-F238E27FC236}">
                <a16:creationId xmlns:a16="http://schemas.microsoft.com/office/drawing/2014/main" id="{804E3C4C-5B89-5C41-9ABD-C2C47626B36D}"/>
              </a:ext>
            </a:extLst>
          </p:cNvPr>
          <p:cNvSpPr/>
          <p:nvPr/>
        </p:nvSpPr>
        <p:spPr>
          <a:xfrm>
            <a:off x="425134" y="3402013"/>
            <a:ext cx="7763164" cy="1690687"/>
          </a:xfrm>
          <a:prstGeom prst="rect">
            <a:avLst/>
          </a:prstGeom>
          <a:blipFill>
            <a:blip r:embed="rId6" cstate="print"/>
            <a:stretch>
              <a:fillRect/>
            </a:stretch>
          </a:blipFill>
        </p:spPr>
        <p:style>
          <a:lnRef idx="0">
            <a:scrgbClr r="0" g="0" b="0"/>
          </a:lnRef>
          <a:fillRef idx="0">
            <a:scrgbClr r="0" g="0" b="0"/>
          </a:fillRef>
          <a:effectRef idx="0">
            <a:scrgbClr r="0" g="0" b="0"/>
          </a:effectRef>
          <a:fontRef idx="major"/>
        </p:style>
        <p:txBody>
          <a:bodyPr lIns="0" tIns="0" rIns="0" b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defRPr/>
            </a:pPr>
            <a:endParaRPr>
              <a:solidFill>
                <a:prstClr val="black"/>
              </a:solidFill>
              <a:latin typeface="Calibri"/>
              <a:ea typeface="MS PGothic" pitchFamily="34" charset="-128"/>
            </a:endParaRPr>
          </a:p>
        </p:txBody>
      </p:sp>
      <p:sp>
        <p:nvSpPr>
          <p:cNvPr id="55" name="object 9">
            <a:extLst>
              <a:ext uri="{FF2B5EF4-FFF2-40B4-BE49-F238E27FC236}">
                <a16:creationId xmlns:a16="http://schemas.microsoft.com/office/drawing/2014/main" id="{FABC7B87-FB3E-6640-B83D-5A6FC39AA91F}"/>
              </a:ext>
            </a:extLst>
          </p:cNvPr>
          <p:cNvSpPr txBox="1"/>
          <p:nvPr/>
        </p:nvSpPr>
        <p:spPr>
          <a:xfrm>
            <a:off x="4774883" y="4381500"/>
            <a:ext cx="272966" cy="153988"/>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prstClr val="black"/>
                </a:solidFill>
                <a:ea typeface="MS PGothic" pitchFamily="34" charset="-128"/>
                <a:cs typeface="Arial"/>
              </a:rPr>
              <a:t>18%</a:t>
            </a:r>
            <a:endParaRPr sz="1000">
              <a:solidFill>
                <a:prstClr val="black"/>
              </a:solidFill>
              <a:ea typeface="MS PGothic" pitchFamily="34" charset="-128"/>
              <a:cs typeface="Arial"/>
            </a:endParaRPr>
          </a:p>
        </p:txBody>
      </p:sp>
      <p:sp>
        <p:nvSpPr>
          <p:cNvPr id="56" name="object 11">
            <a:extLst>
              <a:ext uri="{FF2B5EF4-FFF2-40B4-BE49-F238E27FC236}">
                <a16:creationId xmlns:a16="http://schemas.microsoft.com/office/drawing/2014/main" id="{D8474E2B-FE24-2546-9549-72DFDDE6B592}"/>
              </a:ext>
            </a:extLst>
          </p:cNvPr>
          <p:cNvSpPr txBox="1"/>
          <p:nvPr/>
        </p:nvSpPr>
        <p:spPr>
          <a:xfrm>
            <a:off x="6968808" y="4629150"/>
            <a:ext cx="204334" cy="153988"/>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prstClr val="black"/>
                </a:solidFill>
                <a:ea typeface="MS PGothic" pitchFamily="34" charset="-128"/>
                <a:cs typeface="Arial"/>
              </a:rPr>
              <a:t>9%</a:t>
            </a:r>
            <a:endParaRPr sz="1000">
              <a:solidFill>
                <a:prstClr val="black"/>
              </a:solidFill>
              <a:ea typeface="MS PGothic" pitchFamily="34" charset="-128"/>
              <a:cs typeface="Arial"/>
            </a:endParaRPr>
          </a:p>
        </p:txBody>
      </p:sp>
      <p:sp>
        <p:nvSpPr>
          <p:cNvPr id="57" name="object 12">
            <a:extLst>
              <a:ext uri="{FF2B5EF4-FFF2-40B4-BE49-F238E27FC236}">
                <a16:creationId xmlns:a16="http://schemas.microsoft.com/office/drawing/2014/main" id="{B2DBC417-C15E-DF4F-8CE7-282B92824D8C}"/>
              </a:ext>
            </a:extLst>
          </p:cNvPr>
          <p:cNvSpPr txBox="1"/>
          <p:nvPr/>
        </p:nvSpPr>
        <p:spPr>
          <a:xfrm>
            <a:off x="8048308" y="4629150"/>
            <a:ext cx="205895" cy="153988"/>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prstClr val="black"/>
                </a:solidFill>
                <a:ea typeface="MS PGothic" pitchFamily="34" charset="-128"/>
                <a:cs typeface="Arial"/>
              </a:rPr>
              <a:t>9%</a:t>
            </a:r>
            <a:endParaRPr sz="1000">
              <a:solidFill>
                <a:prstClr val="black"/>
              </a:solidFill>
              <a:ea typeface="MS PGothic" pitchFamily="34" charset="-128"/>
              <a:cs typeface="Arial"/>
            </a:endParaRPr>
          </a:p>
        </p:txBody>
      </p:sp>
      <p:sp>
        <p:nvSpPr>
          <p:cNvPr id="58" name="object 13">
            <a:extLst>
              <a:ext uri="{FF2B5EF4-FFF2-40B4-BE49-F238E27FC236}">
                <a16:creationId xmlns:a16="http://schemas.microsoft.com/office/drawing/2014/main" id="{FAC9CAD4-4B42-EE4D-8D71-D32C03A4081D}"/>
              </a:ext>
            </a:extLst>
          </p:cNvPr>
          <p:cNvSpPr txBox="1">
            <a:spLocks noChangeArrowheads="1"/>
          </p:cNvSpPr>
          <p:nvPr/>
        </p:nvSpPr>
        <p:spPr bwMode="auto">
          <a:xfrm>
            <a:off x="791845" y="3386138"/>
            <a:ext cx="2065186"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fontAlgn="base">
              <a:spcBef>
                <a:spcPct val="0"/>
              </a:spcBef>
              <a:spcAft>
                <a:spcPct val="0"/>
              </a:spcAft>
              <a:buFontTx/>
              <a:buNone/>
            </a:pPr>
            <a:r>
              <a:rPr lang="en-US" altLang="en-US" sz="1000" dirty="0">
                <a:solidFill>
                  <a:schemeClr val="accent6">
                    <a:lumMod val="75000"/>
                  </a:schemeClr>
                </a:solidFill>
              </a:rPr>
              <a:t>54%</a:t>
            </a:r>
          </a:p>
          <a:p>
            <a:pPr algn="r" fontAlgn="base">
              <a:spcBef>
                <a:spcPts val="100"/>
              </a:spcBef>
              <a:spcAft>
                <a:spcPct val="0"/>
              </a:spcAft>
              <a:buFontTx/>
              <a:buNone/>
            </a:pPr>
            <a:r>
              <a:rPr lang="en-US" altLang="en-US" sz="1000" dirty="0">
                <a:solidFill>
                  <a:srgbClr val="002577"/>
                </a:solidFill>
              </a:rPr>
              <a:t>48%</a:t>
            </a:r>
          </a:p>
        </p:txBody>
      </p:sp>
      <p:sp>
        <p:nvSpPr>
          <p:cNvPr id="59" name="object 14">
            <a:extLst>
              <a:ext uri="{FF2B5EF4-FFF2-40B4-BE49-F238E27FC236}">
                <a16:creationId xmlns:a16="http://schemas.microsoft.com/office/drawing/2014/main" id="{A4AE87A1-E231-4142-84AD-8769C8663DFF}"/>
              </a:ext>
            </a:extLst>
          </p:cNvPr>
          <p:cNvSpPr txBox="1"/>
          <p:nvPr/>
        </p:nvSpPr>
        <p:spPr>
          <a:xfrm>
            <a:off x="1871345" y="3938588"/>
            <a:ext cx="272967" cy="153987"/>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srgbClr val="C00000"/>
                </a:solidFill>
                <a:ea typeface="MS PGothic" pitchFamily="34" charset="-128"/>
                <a:cs typeface="Arial"/>
              </a:rPr>
              <a:t>34%</a:t>
            </a:r>
            <a:endParaRPr sz="1000" dirty="0">
              <a:solidFill>
                <a:srgbClr val="C00000"/>
              </a:solidFill>
              <a:ea typeface="MS PGothic" pitchFamily="34" charset="-128"/>
              <a:cs typeface="Arial"/>
            </a:endParaRPr>
          </a:p>
        </p:txBody>
      </p:sp>
      <p:sp>
        <p:nvSpPr>
          <p:cNvPr id="60" name="object 15">
            <a:extLst>
              <a:ext uri="{FF2B5EF4-FFF2-40B4-BE49-F238E27FC236}">
                <a16:creationId xmlns:a16="http://schemas.microsoft.com/office/drawing/2014/main" id="{E48544C8-D0DD-9949-881F-37454BE43B81}"/>
              </a:ext>
            </a:extLst>
          </p:cNvPr>
          <p:cNvSpPr txBox="1"/>
          <p:nvPr/>
        </p:nvSpPr>
        <p:spPr>
          <a:xfrm>
            <a:off x="2950845" y="3994150"/>
            <a:ext cx="272967" cy="153988"/>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srgbClr val="C00000"/>
                </a:solidFill>
                <a:ea typeface="MS PGothic" pitchFamily="34" charset="-128"/>
                <a:cs typeface="Arial"/>
              </a:rPr>
              <a:t>32%</a:t>
            </a:r>
            <a:endParaRPr sz="1000">
              <a:solidFill>
                <a:srgbClr val="C00000"/>
              </a:solidFill>
              <a:ea typeface="MS PGothic" pitchFamily="34" charset="-128"/>
              <a:cs typeface="Arial"/>
            </a:endParaRPr>
          </a:p>
        </p:txBody>
      </p:sp>
      <p:sp>
        <p:nvSpPr>
          <p:cNvPr id="61" name="object 16">
            <a:extLst>
              <a:ext uri="{FF2B5EF4-FFF2-40B4-BE49-F238E27FC236}">
                <a16:creationId xmlns:a16="http://schemas.microsoft.com/office/drawing/2014/main" id="{4C3EE3C0-D680-4840-B344-CE9F94A2A9FC}"/>
              </a:ext>
            </a:extLst>
          </p:cNvPr>
          <p:cNvSpPr txBox="1"/>
          <p:nvPr/>
        </p:nvSpPr>
        <p:spPr>
          <a:xfrm>
            <a:off x="3695384" y="4270375"/>
            <a:ext cx="602086" cy="153988"/>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prstClr val="black"/>
                </a:solidFill>
                <a:ea typeface="MS PGothic" pitchFamily="34" charset="-128"/>
                <a:cs typeface="Arial"/>
              </a:rPr>
              <a:t>22% </a:t>
            </a:r>
            <a:r>
              <a:rPr sz="1000" spc="15" dirty="0">
                <a:solidFill>
                  <a:prstClr val="black"/>
                </a:solidFill>
                <a:ea typeface="MS PGothic" pitchFamily="34" charset="-128"/>
                <a:cs typeface="Arial"/>
              </a:rPr>
              <a:t> </a:t>
            </a:r>
            <a:r>
              <a:rPr sz="1500" spc="-15" baseline="-11111" dirty="0">
                <a:solidFill>
                  <a:prstClr val="black"/>
                </a:solidFill>
                <a:ea typeface="MS PGothic" pitchFamily="34" charset="-128"/>
                <a:cs typeface="Arial"/>
              </a:rPr>
              <a:t>21%</a:t>
            </a:r>
            <a:endParaRPr sz="1500" baseline="-11111">
              <a:solidFill>
                <a:prstClr val="black"/>
              </a:solidFill>
              <a:ea typeface="MS PGothic" pitchFamily="34" charset="-128"/>
              <a:cs typeface="Arial"/>
            </a:endParaRPr>
          </a:p>
        </p:txBody>
      </p:sp>
      <p:sp>
        <p:nvSpPr>
          <p:cNvPr id="62" name="object 17">
            <a:extLst>
              <a:ext uri="{FF2B5EF4-FFF2-40B4-BE49-F238E27FC236}">
                <a16:creationId xmlns:a16="http://schemas.microsoft.com/office/drawing/2014/main" id="{DF6B818D-B1C0-284C-9787-D836062AEEE6}"/>
              </a:ext>
            </a:extLst>
          </p:cNvPr>
          <p:cNvSpPr txBox="1"/>
          <p:nvPr/>
        </p:nvSpPr>
        <p:spPr>
          <a:xfrm>
            <a:off x="6224270" y="4795838"/>
            <a:ext cx="205895" cy="153987"/>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srgbClr val="C00000"/>
                </a:solidFill>
                <a:ea typeface="MS PGothic" pitchFamily="34" charset="-128"/>
                <a:cs typeface="Arial"/>
              </a:rPr>
              <a:t>3%</a:t>
            </a:r>
            <a:endParaRPr sz="1000">
              <a:solidFill>
                <a:srgbClr val="C00000"/>
              </a:solidFill>
              <a:ea typeface="MS PGothic" pitchFamily="34" charset="-128"/>
              <a:cs typeface="Arial"/>
            </a:endParaRPr>
          </a:p>
        </p:txBody>
      </p:sp>
      <p:sp>
        <p:nvSpPr>
          <p:cNvPr id="63" name="object 18">
            <a:extLst>
              <a:ext uri="{FF2B5EF4-FFF2-40B4-BE49-F238E27FC236}">
                <a16:creationId xmlns:a16="http://schemas.microsoft.com/office/drawing/2014/main" id="{577C0900-F867-0541-A9B6-4245049CA5CF}"/>
              </a:ext>
            </a:extLst>
          </p:cNvPr>
          <p:cNvSpPr txBox="1"/>
          <p:nvPr/>
        </p:nvSpPr>
        <p:spPr>
          <a:xfrm>
            <a:off x="7303770" y="4657725"/>
            <a:ext cx="205895" cy="153988"/>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prstClr val="black"/>
                </a:solidFill>
                <a:ea typeface="MS PGothic" pitchFamily="34" charset="-128"/>
                <a:cs typeface="Arial"/>
              </a:rPr>
              <a:t>8%</a:t>
            </a:r>
            <a:endParaRPr sz="1000">
              <a:solidFill>
                <a:prstClr val="black"/>
              </a:solidFill>
              <a:ea typeface="MS PGothic" pitchFamily="34" charset="-128"/>
              <a:cs typeface="Arial"/>
            </a:endParaRPr>
          </a:p>
        </p:txBody>
      </p:sp>
      <p:sp>
        <p:nvSpPr>
          <p:cNvPr id="64" name="object 19">
            <a:extLst>
              <a:ext uri="{FF2B5EF4-FFF2-40B4-BE49-F238E27FC236}">
                <a16:creationId xmlns:a16="http://schemas.microsoft.com/office/drawing/2014/main" id="{B1AE6B5B-6639-5041-93BC-569B0F30EEF9}"/>
              </a:ext>
            </a:extLst>
          </p:cNvPr>
          <p:cNvSpPr txBox="1"/>
          <p:nvPr/>
        </p:nvSpPr>
        <p:spPr>
          <a:xfrm>
            <a:off x="8348345" y="4298950"/>
            <a:ext cx="274526" cy="152400"/>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srgbClr val="00B050"/>
                </a:solidFill>
                <a:ea typeface="MS PGothic" pitchFamily="34" charset="-128"/>
                <a:cs typeface="Arial"/>
              </a:rPr>
              <a:t>21%</a:t>
            </a:r>
            <a:endParaRPr sz="1000">
              <a:solidFill>
                <a:prstClr val="black"/>
              </a:solidFill>
              <a:ea typeface="MS PGothic" pitchFamily="34" charset="-128"/>
              <a:cs typeface="Arial"/>
            </a:endParaRPr>
          </a:p>
        </p:txBody>
      </p:sp>
      <p:sp>
        <p:nvSpPr>
          <p:cNvPr id="65" name="object 21">
            <a:extLst>
              <a:ext uri="{FF2B5EF4-FFF2-40B4-BE49-F238E27FC236}">
                <a16:creationId xmlns:a16="http://schemas.microsoft.com/office/drawing/2014/main" id="{035C45D7-6606-AA4D-820C-AA2EDC8C315C}"/>
              </a:ext>
            </a:extLst>
          </p:cNvPr>
          <p:cNvSpPr txBox="1"/>
          <p:nvPr/>
        </p:nvSpPr>
        <p:spPr>
          <a:xfrm>
            <a:off x="2206308" y="3717925"/>
            <a:ext cx="272966" cy="153988"/>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srgbClr val="C00000"/>
                </a:solidFill>
                <a:ea typeface="MS PGothic" pitchFamily="34" charset="-128"/>
                <a:cs typeface="Arial"/>
              </a:rPr>
              <a:t>42%</a:t>
            </a:r>
            <a:endParaRPr sz="1000">
              <a:solidFill>
                <a:srgbClr val="C00000"/>
              </a:solidFill>
              <a:ea typeface="MS PGothic" pitchFamily="34" charset="-128"/>
              <a:cs typeface="Arial"/>
            </a:endParaRPr>
          </a:p>
        </p:txBody>
      </p:sp>
      <p:sp>
        <p:nvSpPr>
          <p:cNvPr id="66" name="object 22">
            <a:extLst>
              <a:ext uri="{FF2B5EF4-FFF2-40B4-BE49-F238E27FC236}">
                <a16:creationId xmlns:a16="http://schemas.microsoft.com/office/drawing/2014/main" id="{9302C5EB-EF84-EF48-8606-E48F643CC301}"/>
              </a:ext>
            </a:extLst>
          </p:cNvPr>
          <p:cNvSpPr txBox="1"/>
          <p:nvPr/>
        </p:nvSpPr>
        <p:spPr>
          <a:xfrm>
            <a:off x="3285808" y="3744913"/>
            <a:ext cx="272966" cy="153987"/>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prstClr val="black"/>
                </a:solidFill>
                <a:ea typeface="MS PGothic" pitchFamily="34" charset="-128"/>
                <a:cs typeface="Arial"/>
              </a:rPr>
              <a:t>41%</a:t>
            </a:r>
            <a:endParaRPr sz="1000">
              <a:solidFill>
                <a:prstClr val="black"/>
              </a:solidFill>
              <a:ea typeface="MS PGothic" pitchFamily="34" charset="-128"/>
              <a:cs typeface="Arial"/>
            </a:endParaRPr>
          </a:p>
        </p:txBody>
      </p:sp>
      <p:sp>
        <p:nvSpPr>
          <p:cNvPr id="67" name="object 23">
            <a:extLst>
              <a:ext uri="{FF2B5EF4-FFF2-40B4-BE49-F238E27FC236}">
                <a16:creationId xmlns:a16="http://schemas.microsoft.com/office/drawing/2014/main" id="{C0DA87B8-CDB3-3F47-9BDB-B0BA682ACD22}"/>
              </a:ext>
            </a:extLst>
          </p:cNvPr>
          <p:cNvSpPr txBox="1"/>
          <p:nvPr/>
        </p:nvSpPr>
        <p:spPr>
          <a:xfrm>
            <a:off x="4365308" y="4132263"/>
            <a:ext cx="274526" cy="153987"/>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prstClr val="black"/>
                </a:solidFill>
                <a:ea typeface="MS PGothic" pitchFamily="34" charset="-128"/>
                <a:cs typeface="Arial"/>
              </a:rPr>
              <a:t>27%</a:t>
            </a:r>
            <a:endParaRPr sz="1000">
              <a:solidFill>
                <a:prstClr val="black"/>
              </a:solidFill>
              <a:ea typeface="MS PGothic" pitchFamily="34" charset="-128"/>
              <a:cs typeface="Arial"/>
            </a:endParaRPr>
          </a:p>
        </p:txBody>
      </p:sp>
      <p:sp>
        <p:nvSpPr>
          <p:cNvPr id="68" name="object 24">
            <a:extLst>
              <a:ext uri="{FF2B5EF4-FFF2-40B4-BE49-F238E27FC236}">
                <a16:creationId xmlns:a16="http://schemas.microsoft.com/office/drawing/2014/main" id="{F4A867C7-8785-D64F-8DA9-728AFB52A6E1}"/>
              </a:ext>
            </a:extLst>
          </p:cNvPr>
          <p:cNvSpPr txBox="1"/>
          <p:nvPr/>
        </p:nvSpPr>
        <p:spPr>
          <a:xfrm>
            <a:off x="5109846" y="4243388"/>
            <a:ext cx="603646" cy="153987"/>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prstClr val="black"/>
                </a:solidFill>
                <a:ea typeface="MS PGothic" pitchFamily="34" charset="-128"/>
                <a:cs typeface="Arial"/>
              </a:rPr>
              <a:t>23% </a:t>
            </a:r>
            <a:r>
              <a:rPr sz="1000" spc="15" dirty="0">
                <a:solidFill>
                  <a:prstClr val="black"/>
                </a:solidFill>
                <a:ea typeface="MS PGothic" pitchFamily="34" charset="-128"/>
                <a:cs typeface="Arial"/>
              </a:rPr>
              <a:t> </a:t>
            </a:r>
            <a:r>
              <a:rPr sz="1000" spc="-10" dirty="0">
                <a:solidFill>
                  <a:prstClr val="black"/>
                </a:solidFill>
                <a:ea typeface="MS PGothic" pitchFamily="34" charset="-128"/>
                <a:cs typeface="Arial"/>
              </a:rPr>
              <a:t>23%</a:t>
            </a:r>
            <a:endParaRPr sz="1000">
              <a:solidFill>
                <a:prstClr val="black"/>
              </a:solidFill>
              <a:ea typeface="MS PGothic" pitchFamily="34" charset="-128"/>
              <a:cs typeface="Arial"/>
            </a:endParaRPr>
          </a:p>
        </p:txBody>
      </p:sp>
      <p:sp>
        <p:nvSpPr>
          <p:cNvPr id="69" name="object 25">
            <a:extLst>
              <a:ext uri="{FF2B5EF4-FFF2-40B4-BE49-F238E27FC236}">
                <a16:creationId xmlns:a16="http://schemas.microsoft.com/office/drawing/2014/main" id="{75186797-0E81-8A4C-B15F-4445B87ABBA8}"/>
              </a:ext>
            </a:extLst>
          </p:cNvPr>
          <p:cNvSpPr txBox="1"/>
          <p:nvPr/>
        </p:nvSpPr>
        <p:spPr>
          <a:xfrm>
            <a:off x="6560820" y="4851400"/>
            <a:ext cx="204335" cy="153988"/>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srgbClr val="C00000"/>
                </a:solidFill>
                <a:ea typeface="MS PGothic" pitchFamily="34" charset="-128"/>
                <a:cs typeface="Arial"/>
              </a:rPr>
              <a:t>1%</a:t>
            </a:r>
            <a:endParaRPr sz="1000">
              <a:solidFill>
                <a:srgbClr val="C00000"/>
              </a:solidFill>
              <a:ea typeface="MS PGothic" pitchFamily="34" charset="-128"/>
              <a:cs typeface="Arial"/>
            </a:endParaRPr>
          </a:p>
        </p:txBody>
      </p:sp>
      <p:sp>
        <p:nvSpPr>
          <p:cNvPr id="70" name="object 26">
            <a:extLst>
              <a:ext uri="{FF2B5EF4-FFF2-40B4-BE49-F238E27FC236}">
                <a16:creationId xmlns:a16="http://schemas.microsoft.com/office/drawing/2014/main" id="{893D1411-914B-B447-8DF0-9A76EA6D46A5}"/>
              </a:ext>
            </a:extLst>
          </p:cNvPr>
          <p:cNvSpPr txBox="1"/>
          <p:nvPr/>
        </p:nvSpPr>
        <p:spPr>
          <a:xfrm>
            <a:off x="7640320" y="4767263"/>
            <a:ext cx="204335" cy="153987"/>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prstClr val="black"/>
                </a:solidFill>
                <a:ea typeface="MS PGothic" pitchFamily="34" charset="-128"/>
                <a:cs typeface="Arial"/>
              </a:rPr>
              <a:t>4%</a:t>
            </a:r>
            <a:endParaRPr sz="1000">
              <a:solidFill>
                <a:prstClr val="black"/>
              </a:solidFill>
              <a:ea typeface="MS PGothic" pitchFamily="34" charset="-128"/>
              <a:cs typeface="Arial"/>
            </a:endParaRPr>
          </a:p>
        </p:txBody>
      </p:sp>
      <p:sp>
        <p:nvSpPr>
          <p:cNvPr id="71" name="object 27">
            <a:extLst>
              <a:ext uri="{FF2B5EF4-FFF2-40B4-BE49-F238E27FC236}">
                <a16:creationId xmlns:a16="http://schemas.microsoft.com/office/drawing/2014/main" id="{40C3E4BF-37DB-DE48-9D80-FFB8FBE03B78}"/>
              </a:ext>
            </a:extLst>
          </p:cNvPr>
          <p:cNvSpPr txBox="1"/>
          <p:nvPr/>
        </p:nvSpPr>
        <p:spPr>
          <a:xfrm>
            <a:off x="8684895" y="4491038"/>
            <a:ext cx="272967" cy="153987"/>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prstClr val="black"/>
                </a:solidFill>
                <a:ea typeface="MS PGothic" pitchFamily="34" charset="-128"/>
                <a:cs typeface="Arial"/>
              </a:rPr>
              <a:t>14%</a:t>
            </a:r>
            <a:endParaRPr sz="1000">
              <a:solidFill>
                <a:prstClr val="black"/>
              </a:solidFill>
              <a:ea typeface="MS PGothic" pitchFamily="34" charset="-128"/>
              <a:cs typeface="Arial"/>
            </a:endParaRPr>
          </a:p>
        </p:txBody>
      </p:sp>
      <p:sp>
        <p:nvSpPr>
          <p:cNvPr id="72" name="object 44">
            <a:extLst>
              <a:ext uri="{FF2B5EF4-FFF2-40B4-BE49-F238E27FC236}">
                <a16:creationId xmlns:a16="http://schemas.microsoft.com/office/drawing/2014/main" id="{4999693A-C0A1-7342-8644-E07D6F68BC25}"/>
              </a:ext>
            </a:extLst>
          </p:cNvPr>
          <p:cNvSpPr/>
          <p:nvPr/>
        </p:nvSpPr>
        <p:spPr>
          <a:xfrm>
            <a:off x="5687695" y="3754438"/>
            <a:ext cx="561531" cy="544512"/>
          </a:xfrm>
          <a:prstGeom prst="rect">
            <a:avLst/>
          </a:prstGeom>
          <a:blipFill>
            <a:blip r:embed="rId7" cstate="print"/>
            <a:stretch>
              <a:fillRect/>
            </a:stretch>
          </a:blipFill>
        </p:spPr>
        <p:style>
          <a:lnRef idx="0">
            <a:scrgbClr r="0" g="0" b="0"/>
          </a:lnRef>
          <a:fillRef idx="0">
            <a:scrgbClr r="0" g="0" b="0"/>
          </a:fillRef>
          <a:effectRef idx="0">
            <a:scrgbClr r="0" g="0" b="0"/>
          </a:effectRef>
          <a:fontRef idx="major"/>
        </p:style>
        <p:txBody>
          <a:bodyPr lIns="0" tIns="0" rIns="0" b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defRPr/>
            </a:pPr>
            <a:endParaRPr>
              <a:solidFill>
                <a:prstClr val="black"/>
              </a:solidFill>
              <a:latin typeface="Calibri"/>
              <a:ea typeface="MS PGothic" pitchFamily="34" charset="-128"/>
            </a:endParaRPr>
          </a:p>
        </p:txBody>
      </p:sp>
      <p:sp>
        <p:nvSpPr>
          <p:cNvPr id="73" name="object 45">
            <a:extLst>
              <a:ext uri="{FF2B5EF4-FFF2-40B4-BE49-F238E27FC236}">
                <a16:creationId xmlns:a16="http://schemas.microsoft.com/office/drawing/2014/main" id="{D38BDFFD-94B4-7E47-B250-0F76F8635D2A}"/>
              </a:ext>
            </a:extLst>
          </p:cNvPr>
          <p:cNvSpPr/>
          <p:nvPr/>
        </p:nvSpPr>
        <p:spPr>
          <a:xfrm>
            <a:off x="1382395" y="3003550"/>
            <a:ext cx="561531" cy="544513"/>
          </a:xfrm>
          <a:prstGeom prst="rect">
            <a:avLst/>
          </a:prstGeom>
          <a:blipFill>
            <a:blip r:embed="rId7" cstate="print"/>
            <a:stretch>
              <a:fillRect/>
            </a:stretch>
          </a:blipFill>
        </p:spPr>
        <p:style>
          <a:lnRef idx="0">
            <a:scrgbClr r="0" g="0" b="0"/>
          </a:lnRef>
          <a:fillRef idx="0">
            <a:scrgbClr r="0" g="0" b="0"/>
          </a:fillRef>
          <a:effectRef idx="0">
            <a:scrgbClr r="0" g="0" b="0"/>
          </a:effectRef>
          <a:fontRef idx="major"/>
        </p:style>
        <p:txBody>
          <a:bodyPr lIns="0" tIns="0" rIns="0" b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defRPr/>
            </a:pPr>
            <a:endParaRPr>
              <a:solidFill>
                <a:prstClr val="black"/>
              </a:solidFill>
              <a:latin typeface="Calibri"/>
              <a:ea typeface="MS PGothic" pitchFamily="34" charset="-128"/>
            </a:endParaRPr>
          </a:p>
        </p:txBody>
      </p:sp>
      <p:sp>
        <p:nvSpPr>
          <p:cNvPr id="74" name="object 46">
            <a:extLst>
              <a:ext uri="{FF2B5EF4-FFF2-40B4-BE49-F238E27FC236}">
                <a16:creationId xmlns:a16="http://schemas.microsoft.com/office/drawing/2014/main" id="{ED0ACCCB-35E7-B440-96AB-AD1B818E4D5A}"/>
              </a:ext>
            </a:extLst>
          </p:cNvPr>
          <p:cNvSpPr/>
          <p:nvPr/>
        </p:nvSpPr>
        <p:spPr>
          <a:xfrm>
            <a:off x="163195" y="2936525"/>
            <a:ext cx="1428784" cy="1347787"/>
          </a:xfrm>
          <a:prstGeom prst="rect">
            <a:avLst/>
          </a:prstGeom>
          <a:blipFill>
            <a:blip r:embed="rId8" cstate="print"/>
            <a:stretch>
              <a:fillRect/>
            </a:stretch>
          </a:blipFill>
        </p:spPr>
        <p:style>
          <a:lnRef idx="0">
            <a:scrgbClr r="0" g="0" b="0"/>
          </a:lnRef>
          <a:fillRef idx="0">
            <a:scrgbClr r="0" g="0" b="0"/>
          </a:fillRef>
          <a:effectRef idx="0">
            <a:scrgbClr r="0" g="0" b="0"/>
          </a:effectRef>
          <a:fontRef idx="major"/>
        </p:style>
        <p:txBody>
          <a:bodyPr lIns="0" tIns="0" rIns="0" bIns="0"/>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defRPr/>
            </a:pPr>
            <a:endParaRPr dirty="0">
              <a:solidFill>
                <a:prstClr val="black"/>
              </a:solidFill>
              <a:latin typeface="Calibri"/>
              <a:ea typeface="MS PGothic" pitchFamily="34" charset="-128"/>
            </a:endParaRPr>
          </a:p>
        </p:txBody>
      </p:sp>
      <p:sp>
        <p:nvSpPr>
          <p:cNvPr id="76" name="object 7">
            <a:extLst>
              <a:ext uri="{FF2B5EF4-FFF2-40B4-BE49-F238E27FC236}">
                <a16:creationId xmlns:a16="http://schemas.microsoft.com/office/drawing/2014/main" id="{AF248B30-D9F2-0649-B2A4-F2A5E1B32197}"/>
              </a:ext>
            </a:extLst>
          </p:cNvPr>
          <p:cNvSpPr txBox="1"/>
          <p:nvPr/>
        </p:nvSpPr>
        <p:spPr>
          <a:xfrm>
            <a:off x="456883" y="3884613"/>
            <a:ext cx="272966" cy="152400"/>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prstClr val="black"/>
                </a:solidFill>
                <a:ea typeface="MS PGothic" pitchFamily="34" charset="-128"/>
                <a:cs typeface="Arial"/>
              </a:rPr>
              <a:t>36%</a:t>
            </a:r>
            <a:endParaRPr sz="1000" dirty="0">
              <a:solidFill>
                <a:prstClr val="black"/>
              </a:solidFill>
              <a:ea typeface="MS PGothic" pitchFamily="34" charset="-128"/>
              <a:cs typeface="Arial"/>
            </a:endParaRPr>
          </a:p>
        </p:txBody>
      </p:sp>
      <p:sp>
        <p:nvSpPr>
          <p:cNvPr id="77" name="object 8">
            <a:extLst>
              <a:ext uri="{FF2B5EF4-FFF2-40B4-BE49-F238E27FC236}">
                <a16:creationId xmlns:a16="http://schemas.microsoft.com/office/drawing/2014/main" id="{6160AAC5-001A-E14A-8124-43D1613C9966}"/>
              </a:ext>
            </a:extLst>
          </p:cNvPr>
          <p:cNvSpPr txBox="1"/>
          <p:nvPr/>
        </p:nvSpPr>
        <p:spPr>
          <a:xfrm>
            <a:off x="1536383" y="3192463"/>
            <a:ext cx="272966" cy="153987"/>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prstClr val="black"/>
                </a:solidFill>
                <a:ea typeface="MS PGothic" pitchFamily="34" charset="-128"/>
                <a:cs typeface="Arial"/>
              </a:rPr>
              <a:t>61%</a:t>
            </a:r>
            <a:endParaRPr sz="1000">
              <a:solidFill>
                <a:prstClr val="black"/>
              </a:solidFill>
              <a:ea typeface="MS PGothic" pitchFamily="34" charset="-128"/>
              <a:cs typeface="Arial"/>
            </a:endParaRPr>
          </a:p>
        </p:txBody>
      </p:sp>
      <p:sp>
        <p:nvSpPr>
          <p:cNvPr id="78" name="object 10">
            <a:extLst>
              <a:ext uri="{FF2B5EF4-FFF2-40B4-BE49-F238E27FC236}">
                <a16:creationId xmlns:a16="http://schemas.microsoft.com/office/drawing/2014/main" id="{5C63D6A9-6FF5-3F41-A474-A616AD2AB7F6}"/>
              </a:ext>
            </a:extLst>
          </p:cNvPr>
          <p:cNvSpPr txBox="1"/>
          <p:nvPr/>
        </p:nvSpPr>
        <p:spPr>
          <a:xfrm>
            <a:off x="5854383" y="3967163"/>
            <a:ext cx="272966" cy="153987"/>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prstClr val="black"/>
                </a:solidFill>
                <a:ea typeface="MS PGothic" pitchFamily="34" charset="-128"/>
                <a:cs typeface="Arial"/>
              </a:rPr>
              <a:t>33%</a:t>
            </a:r>
            <a:endParaRPr sz="1000">
              <a:solidFill>
                <a:prstClr val="black"/>
              </a:solidFill>
              <a:ea typeface="MS PGothic" pitchFamily="34" charset="-128"/>
              <a:cs typeface="Arial"/>
            </a:endParaRPr>
          </a:p>
        </p:txBody>
      </p:sp>
      <p:sp>
        <p:nvSpPr>
          <p:cNvPr id="79" name="object 20">
            <a:extLst>
              <a:ext uri="{FF2B5EF4-FFF2-40B4-BE49-F238E27FC236}">
                <a16:creationId xmlns:a16="http://schemas.microsoft.com/office/drawing/2014/main" id="{A6226134-D817-4C40-B3A2-2EF57D6B7093}"/>
              </a:ext>
            </a:extLst>
          </p:cNvPr>
          <p:cNvSpPr txBox="1"/>
          <p:nvPr/>
        </p:nvSpPr>
        <p:spPr>
          <a:xfrm>
            <a:off x="1126808" y="3221038"/>
            <a:ext cx="272966" cy="153987"/>
          </a:xfrm>
          <a:prstGeom prst="rect">
            <a:avLst/>
          </a:prstGeom>
        </p:spPr>
        <p:style>
          <a:lnRef idx="0">
            <a:scrgbClr r="0" g="0" b="0"/>
          </a:lnRef>
          <a:fillRef idx="0">
            <a:scrgbClr r="0" g="0" b="0"/>
          </a:fillRef>
          <a:effectRef idx="0">
            <a:scrgbClr r="0" g="0" b="0"/>
          </a:effectRef>
          <a:fontRef idx="major"/>
        </p:style>
        <p:txBody>
          <a:bodyPr wrap="square" lIns="0" tIns="0" rIns="0" bIns="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2700">
              <a:defRPr/>
            </a:pPr>
            <a:r>
              <a:rPr sz="1000" spc="-10" dirty="0">
                <a:solidFill>
                  <a:schemeClr val="accent6">
                    <a:lumMod val="75000"/>
                  </a:schemeClr>
                </a:solidFill>
                <a:ea typeface="MS PGothic" pitchFamily="34" charset="-128"/>
                <a:cs typeface="Arial"/>
              </a:rPr>
              <a:t>60%</a:t>
            </a:r>
            <a:endParaRPr sz="1000" dirty="0">
              <a:solidFill>
                <a:schemeClr val="accent6">
                  <a:lumMod val="75000"/>
                </a:schemeClr>
              </a:solidFill>
              <a:ea typeface="MS PGothic" pitchFamily="34" charset="-128"/>
              <a:cs typeface="Arial"/>
            </a:endParaRPr>
          </a:p>
        </p:txBody>
      </p:sp>
      <p:cxnSp>
        <p:nvCxnSpPr>
          <p:cNvPr id="8" name="Straight Connector 7">
            <a:extLst>
              <a:ext uri="{FF2B5EF4-FFF2-40B4-BE49-F238E27FC236}">
                <a16:creationId xmlns:a16="http://schemas.microsoft.com/office/drawing/2014/main" id="{45500D16-0B3B-C44C-853E-B00D9AEE9AE0}"/>
              </a:ext>
            </a:extLst>
          </p:cNvPr>
          <p:cNvCxnSpPr/>
          <p:nvPr/>
        </p:nvCxnSpPr>
        <p:spPr>
          <a:xfrm>
            <a:off x="406400" y="5090160"/>
            <a:ext cx="8439150" cy="0"/>
          </a:xfrm>
          <a:prstGeom prst="line">
            <a:avLst/>
          </a:prstGeom>
          <a:ln w="9525">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B55CA80-FDFE-8240-8B24-8686DF373954}"/>
              </a:ext>
            </a:extLst>
          </p:cNvPr>
          <p:cNvCxnSpPr>
            <a:cxnSpLocks/>
          </p:cNvCxnSpPr>
          <p:nvPr/>
        </p:nvCxnSpPr>
        <p:spPr>
          <a:xfrm>
            <a:off x="453154" y="2286000"/>
            <a:ext cx="8338421"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83" name="object 35">
            <a:extLst>
              <a:ext uri="{FF2B5EF4-FFF2-40B4-BE49-F238E27FC236}">
                <a16:creationId xmlns:a16="http://schemas.microsoft.com/office/drawing/2014/main" id="{256C5143-0AE0-014A-8319-31A71131127E}"/>
              </a:ext>
            </a:extLst>
          </p:cNvPr>
          <p:cNvSpPr txBox="1">
            <a:spLocks noChangeArrowheads="1"/>
          </p:cNvSpPr>
          <p:nvPr/>
        </p:nvSpPr>
        <p:spPr bwMode="auto">
          <a:xfrm>
            <a:off x="1133066" y="2384687"/>
            <a:ext cx="185696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2700">
              <a:spcBef>
                <a:spcPct val="20000"/>
              </a:spcBef>
              <a:buBlip>
                <a:blip r:embed="rId5"/>
              </a:buBlip>
              <a:defRPr>
                <a:solidFill>
                  <a:schemeClr val="tx1"/>
                </a:solidFill>
                <a:latin typeface="Arial" pitchFamily="34" charset="0"/>
                <a:ea typeface="MS PGothic" pitchFamily="34" charset="-128"/>
                <a:cs typeface="Arial" pitchFamily="34" charset="0"/>
              </a:defRPr>
            </a:lvl1pPr>
            <a:lvl2pPr marL="742950" indent="-285750">
              <a:spcBef>
                <a:spcPct val="20000"/>
              </a:spcBef>
              <a:buFont typeface="Arial" pitchFamily="34" charset="0"/>
              <a:defRPr b="1">
                <a:solidFill>
                  <a:schemeClr val="tx1"/>
                </a:solidFill>
                <a:latin typeface="Arial" pitchFamily="34" charset="0"/>
                <a:ea typeface="MS PGothic" pitchFamily="34" charset="-128"/>
                <a:cs typeface="Arial" pitchFamily="34" charset="0"/>
              </a:defRPr>
            </a:lvl2pPr>
            <a:lvl3pPr marL="1143000" indent="-228600">
              <a:spcBef>
                <a:spcPct val="20000"/>
              </a:spcBef>
              <a:buClr>
                <a:schemeClr val="tx2"/>
              </a:buClr>
              <a:buFont typeface="Wingdings" pitchFamily="2" charset="2"/>
              <a:buChar char=""/>
              <a:defRPr sz="1600">
                <a:solidFill>
                  <a:schemeClr val="tx1"/>
                </a:solidFill>
                <a:latin typeface="Arial" pitchFamily="34" charset="0"/>
                <a:ea typeface="MS PGothic" pitchFamily="34" charset="-128"/>
                <a:cs typeface="Arial" pitchFamily="34" charset="0"/>
              </a:defRPr>
            </a:lvl3pPr>
            <a:lvl4pPr marL="1600200" indent="-228600">
              <a:spcBef>
                <a:spcPct val="20000"/>
              </a:spcBef>
              <a:defRPr sz="1600">
                <a:solidFill>
                  <a:schemeClr val="tx1"/>
                </a:solidFill>
                <a:latin typeface="Arial" pitchFamily="34" charset="0"/>
                <a:ea typeface="MS PGothic" pitchFamily="34" charset="-128"/>
                <a:cs typeface="Arial" pitchFamily="34" charset="0"/>
              </a:defRPr>
            </a:lvl4pPr>
            <a:lvl5pPr marL="2057400" indent="-228600">
              <a:spcBef>
                <a:spcPct val="20000"/>
              </a:spcBef>
              <a:buClr>
                <a:schemeClr val="tx2"/>
              </a:buClr>
              <a:buFont typeface="Arial" pitchFamily="34" charset="0"/>
              <a:buChar char="­"/>
              <a:defRPr sz="1400">
                <a:solidFill>
                  <a:schemeClr val="tx1"/>
                </a:solidFill>
                <a:latin typeface="Arial" pitchFamily="34" charset="0"/>
                <a:ea typeface="MS PGothic"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MS PGothic"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MS PGothic"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MS PGothic"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MS PGothic" pitchFamily="34" charset="-128"/>
                <a:cs typeface="Arial" pitchFamily="34" charset="0"/>
              </a:defRPr>
            </a:lvl9pPr>
          </a:lstStyle>
          <a:p>
            <a:pPr fontAlgn="base">
              <a:spcBef>
                <a:spcPct val="0"/>
              </a:spcBef>
              <a:spcAft>
                <a:spcPct val="0"/>
              </a:spcAft>
              <a:buFontTx/>
              <a:buNone/>
            </a:pPr>
            <a:r>
              <a:rPr lang="en-US" altLang="en-US" sz="9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In 2016, fewer Future  Retirees say they will  have retirement  accounts, compared to  2015 or 2014</a:t>
            </a:r>
          </a:p>
          <a:p>
            <a:pPr fontAlgn="base">
              <a:spcBef>
                <a:spcPct val="0"/>
              </a:spcBef>
              <a:spcAft>
                <a:spcPct val="0"/>
              </a:spcAft>
              <a:buFontTx/>
              <a:buNone/>
            </a:pPr>
            <a:r>
              <a:rPr lang="en-US" altLang="en-US" sz="9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61% vs. 73% or 73%)</a:t>
            </a:r>
          </a:p>
        </p:txBody>
      </p:sp>
      <p:cxnSp>
        <p:nvCxnSpPr>
          <p:cNvPr id="26" name="Straight Arrow Connector 25">
            <a:extLst>
              <a:ext uri="{FF2B5EF4-FFF2-40B4-BE49-F238E27FC236}">
                <a16:creationId xmlns:a16="http://schemas.microsoft.com/office/drawing/2014/main" id="{2ADBCC62-4DF0-8348-B0F1-3CA0ABCFB226}"/>
              </a:ext>
            </a:extLst>
          </p:cNvPr>
          <p:cNvCxnSpPr/>
          <p:nvPr/>
        </p:nvCxnSpPr>
        <p:spPr>
          <a:xfrm>
            <a:off x="1646238" y="2905885"/>
            <a:ext cx="0" cy="252442"/>
          </a:xfrm>
          <a:prstGeom prst="straightConnector1">
            <a:avLst/>
          </a:prstGeom>
          <a:ln w="9525">
            <a:solidFill>
              <a:schemeClr val="bg1">
                <a:lumMod val="50000"/>
              </a:schemeClr>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0FAD65C-2391-BC49-B014-B0CF43B6A8EA}"/>
              </a:ext>
            </a:extLst>
          </p:cNvPr>
          <p:cNvSpPr txBox="1"/>
          <p:nvPr/>
        </p:nvSpPr>
        <p:spPr>
          <a:xfrm>
            <a:off x="629392" y="5189518"/>
            <a:ext cx="8378042" cy="337785"/>
          </a:xfrm>
          <a:prstGeom prst="rect">
            <a:avLst/>
          </a:prstGeom>
          <a:noFill/>
        </p:spPr>
        <p:txBody>
          <a:bodyPr wrap="square" rtlCol="0">
            <a:spAutoFit/>
          </a:bodyPr>
          <a:lstStyle/>
          <a:p>
            <a:pPr>
              <a:lnSpc>
                <a:spcPct val="50000"/>
              </a:lnSpc>
            </a:pPr>
            <a:r>
              <a:rPr lang="en-US" sz="1000" dirty="0"/>
              <a:t>Pension	    	Retirement	         Savings Accounts		Stocks		Annuities or		   Employment	    Inheritance	        None of These	 </a:t>
            </a:r>
            <a:br>
              <a:rPr lang="en-US" sz="1000" dirty="0"/>
            </a:br>
            <a:r>
              <a:rPr lang="en-US" sz="1000" dirty="0"/>
              <a:t>			Accounts									Insurance</a:t>
            </a:r>
          </a:p>
        </p:txBody>
      </p:sp>
      <p:sp>
        <p:nvSpPr>
          <p:cNvPr id="85" name="object 40">
            <a:extLst>
              <a:ext uri="{FF2B5EF4-FFF2-40B4-BE49-F238E27FC236}">
                <a16:creationId xmlns:a16="http://schemas.microsoft.com/office/drawing/2014/main" id="{4FA7D725-1DBE-FA4C-BFF6-BECBF7BA1FDA}"/>
              </a:ext>
            </a:extLst>
          </p:cNvPr>
          <p:cNvSpPr txBox="1">
            <a:spLocks noChangeArrowheads="1"/>
          </p:cNvSpPr>
          <p:nvPr/>
        </p:nvSpPr>
        <p:spPr bwMode="auto">
          <a:xfrm>
            <a:off x="3931865" y="5766171"/>
            <a:ext cx="4458052" cy="398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796925">
              <a:spcBef>
                <a:spcPct val="20000"/>
              </a:spcBef>
              <a:buBlip>
                <a:blip r:embed="rId5"/>
              </a:buBlip>
              <a:defRPr>
                <a:solidFill>
                  <a:schemeClr val="tx1"/>
                </a:solidFill>
                <a:latin typeface="Arial" pitchFamily="34" charset="0"/>
                <a:ea typeface="MS PGothic" pitchFamily="34" charset="-128"/>
                <a:cs typeface="Arial" pitchFamily="34" charset="0"/>
              </a:defRPr>
            </a:lvl1pPr>
            <a:lvl2pPr marL="742950" indent="-285750">
              <a:spcBef>
                <a:spcPct val="20000"/>
              </a:spcBef>
              <a:buFont typeface="Arial" pitchFamily="34" charset="0"/>
              <a:defRPr b="1">
                <a:solidFill>
                  <a:schemeClr val="tx1"/>
                </a:solidFill>
                <a:latin typeface="Arial" pitchFamily="34" charset="0"/>
                <a:ea typeface="MS PGothic" pitchFamily="34" charset="-128"/>
                <a:cs typeface="Arial" pitchFamily="34" charset="0"/>
              </a:defRPr>
            </a:lvl2pPr>
            <a:lvl3pPr marL="1143000" indent="-228600">
              <a:spcBef>
                <a:spcPct val="20000"/>
              </a:spcBef>
              <a:buClr>
                <a:schemeClr val="tx2"/>
              </a:buClr>
              <a:buFont typeface="Wingdings" pitchFamily="2" charset="2"/>
              <a:buChar char=""/>
              <a:defRPr sz="1600">
                <a:solidFill>
                  <a:schemeClr val="tx1"/>
                </a:solidFill>
                <a:latin typeface="Arial" pitchFamily="34" charset="0"/>
                <a:ea typeface="MS PGothic" pitchFamily="34" charset="-128"/>
                <a:cs typeface="Arial" pitchFamily="34" charset="0"/>
              </a:defRPr>
            </a:lvl3pPr>
            <a:lvl4pPr marL="1600200" indent="-228600">
              <a:spcBef>
                <a:spcPct val="20000"/>
              </a:spcBef>
              <a:defRPr sz="1600">
                <a:solidFill>
                  <a:schemeClr val="tx1"/>
                </a:solidFill>
                <a:latin typeface="Arial" pitchFamily="34" charset="0"/>
                <a:ea typeface="MS PGothic" pitchFamily="34" charset="-128"/>
                <a:cs typeface="Arial" pitchFamily="34" charset="0"/>
              </a:defRPr>
            </a:lvl4pPr>
            <a:lvl5pPr marL="2057400" indent="-228600">
              <a:spcBef>
                <a:spcPct val="20000"/>
              </a:spcBef>
              <a:buClr>
                <a:schemeClr val="tx2"/>
              </a:buClr>
              <a:buFont typeface="Arial" pitchFamily="34" charset="0"/>
              <a:buChar char="­"/>
              <a:defRPr sz="1400">
                <a:solidFill>
                  <a:schemeClr val="tx1"/>
                </a:solidFill>
                <a:latin typeface="Arial" pitchFamily="34" charset="0"/>
                <a:ea typeface="MS PGothic" pitchFamily="34" charset="-128"/>
                <a:cs typeface="Arial"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MS PGothic" pitchFamily="34" charset="-128"/>
                <a:cs typeface="Arial"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MS PGothic" pitchFamily="34" charset="-128"/>
                <a:cs typeface="Arial"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MS PGothic" pitchFamily="34" charset="-128"/>
                <a:cs typeface="Arial"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Arial" pitchFamily="34" charset="0"/>
                <a:ea typeface="MS PGothic" pitchFamily="34" charset="-128"/>
                <a:cs typeface="Arial" pitchFamily="34" charset="0"/>
              </a:defRPr>
            </a:lvl9pPr>
          </a:lstStyle>
          <a:p>
            <a:pPr fontAlgn="base">
              <a:spcBef>
                <a:spcPct val="0"/>
              </a:spcBef>
              <a:spcAft>
                <a:spcPct val="0"/>
              </a:spcAft>
              <a:buFontTx/>
              <a:buNone/>
            </a:pPr>
            <a:r>
              <a:rPr lang="en-US" altLang="en-US" sz="800" i="1" dirty="0">
                <a:solidFill>
                  <a:schemeClr val="bg1">
                    <a:lumMod val="50000"/>
                  </a:schemeClr>
                </a:solidFill>
                <a:latin typeface="+mn-lt"/>
              </a:rPr>
              <a:t>Note: Only responses &gt;3% among Total are reported</a:t>
            </a:r>
          </a:p>
          <a:p>
            <a:pPr fontAlgn="base">
              <a:lnSpc>
                <a:spcPct val="105000"/>
              </a:lnSpc>
              <a:spcBef>
                <a:spcPts val="163"/>
              </a:spcBef>
              <a:spcAft>
                <a:spcPct val="0"/>
              </a:spcAft>
              <a:buFontTx/>
              <a:buNone/>
            </a:pPr>
            <a:r>
              <a:rPr lang="en-US" altLang="en-US" sz="800" dirty="0">
                <a:solidFill>
                  <a:srgbClr val="000000"/>
                </a:solidFill>
                <a:latin typeface="Wingdings" pitchFamily="2" charset="2"/>
              </a:rPr>
              <a:t></a:t>
            </a:r>
            <a:r>
              <a:rPr lang="en-US" altLang="en-US" sz="800" dirty="0">
                <a:solidFill>
                  <a:srgbClr val="000000"/>
                </a:solidFill>
                <a:latin typeface="Times New Roman" pitchFamily="18" charset="0"/>
                <a:cs typeface="Times New Roman" pitchFamily="18" charset="0"/>
              </a:rPr>
              <a:t> </a:t>
            </a:r>
            <a:r>
              <a:rPr lang="en-US" altLang="en-US" sz="800" dirty="0">
                <a:solidFill>
                  <a:srgbClr val="000000"/>
                </a:solidFill>
                <a:latin typeface="Wingdings" pitchFamily="2" charset="2"/>
                <a:cs typeface="Times New Roman" pitchFamily="18" charset="0"/>
              </a:rPr>
              <a:t></a:t>
            </a:r>
            <a:r>
              <a:rPr lang="en-US" altLang="en-US" sz="800" dirty="0">
                <a:solidFill>
                  <a:srgbClr val="000000"/>
                </a:solidFill>
                <a:cs typeface="Times New Roman" pitchFamily="18" charset="0"/>
              </a:rPr>
              <a:t>: </a:t>
            </a:r>
            <a:r>
              <a:rPr lang="en-US" altLang="en-US" sz="800" dirty="0">
                <a:solidFill>
                  <a:schemeClr val="bg1">
                    <a:lumMod val="50000"/>
                  </a:schemeClr>
                </a:solidFill>
                <a:latin typeface="+mn-lt"/>
                <a:cs typeface="Times New Roman" pitchFamily="18" charset="0"/>
              </a:rPr>
              <a:t>Recent Retiree significantly higher/lower than 10+ Retiree @ 95%  </a:t>
            </a:r>
            <a:br>
              <a:rPr lang="en-US" altLang="en-US" sz="800" dirty="0">
                <a:solidFill>
                  <a:schemeClr val="bg1">
                    <a:lumMod val="50000"/>
                  </a:schemeClr>
                </a:solidFill>
                <a:latin typeface="+mn-lt"/>
                <a:cs typeface="Times New Roman" pitchFamily="18" charset="0"/>
              </a:rPr>
            </a:br>
            <a:r>
              <a:rPr lang="en-US" altLang="en-US" sz="800" dirty="0">
                <a:solidFill>
                  <a:schemeClr val="accent6">
                    <a:lumMod val="50000"/>
                  </a:schemeClr>
                </a:solidFill>
                <a:latin typeface="+mn-lt"/>
                <a:cs typeface="Times New Roman" pitchFamily="18" charset="0"/>
              </a:rPr>
              <a:t>Green</a:t>
            </a:r>
            <a:r>
              <a:rPr lang="en-US" altLang="en-US" sz="800" dirty="0">
                <a:solidFill>
                  <a:schemeClr val="bg1">
                    <a:lumMod val="50000"/>
                  </a:schemeClr>
                </a:solidFill>
                <a:latin typeface="+mn-lt"/>
                <a:cs typeface="Times New Roman" pitchFamily="18" charset="0"/>
              </a:rPr>
              <a:t>/</a:t>
            </a:r>
            <a:r>
              <a:rPr lang="en-US" altLang="en-US" sz="800" dirty="0">
                <a:solidFill>
                  <a:srgbClr val="C00000"/>
                </a:solidFill>
                <a:latin typeface="+mn-lt"/>
                <a:cs typeface="Times New Roman" pitchFamily="18" charset="0"/>
              </a:rPr>
              <a:t>Red </a:t>
            </a:r>
            <a:r>
              <a:rPr lang="en-US" altLang="en-US" sz="800" dirty="0">
                <a:solidFill>
                  <a:schemeClr val="bg1">
                    <a:lumMod val="50000"/>
                  </a:schemeClr>
                </a:solidFill>
                <a:latin typeface="+mn-lt"/>
                <a:cs typeface="Times New Roman" pitchFamily="18" charset="0"/>
              </a:rPr>
              <a:t>= significantly </a:t>
            </a:r>
            <a:r>
              <a:rPr lang="en-US" altLang="en-US" sz="800" dirty="0">
                <a:solidFill>
                  <a:schemeClr val="accent6">
                    <a:lumMod val="50000"/>
                  </a:schemeClr>
                </a:solidFill>
                <a:latin typeface="+mn-lt"/>
                <a:cs typeface="Times New Roman" pitchFamily="18" charset="0"/>
              </a:rPr>
              <a:t>higher/</a:t>
            </a:r>
            <a:r>
              <a:rPr lang="en-US" altLang="en-US" sz="800" dirty="0">
                <a:solidFill>
                  <a:srgbClr val="C00000"/>
                </a:solidFill>
                <a:latin typeface="+mn-lt"/>
                <a:cs typeface="Times New Roman" pitchFamily="18" charset="0"/>
              </a:rPr>
              <a:t>lower</a:t>
            </a:r>
            <a:r>
              <a:rPr lang="en-US" altLang="en-US" sz="800" dirty="0">
                <a:solidFill>
                  <a:schemeClr val="bg1">
                    <a:lumMod val="50000"/>
                  </a:schemeClr>
                </a:solidFill>
                <a:latin typeface="+mn-lt"/>
                <a:cs typeface="Times New Roman" pitchFamily="18" charset="0"/>
              </a:rPr>
              <a:t> than Future Retirees @ 95%</a:t>
            </a:r>
          </a:p>
        </p:txBody>
      </p:sp>
      <p:cxnSp>
        <p:nvCxnSpPr>
          <p:cNvPr id="86" name="Straight Connector 85">
            <a:extLst>
              <a:ext uri="{FF2B5EF4-FFF2-40B4-BE49-F238E27FC236}">
                <a16:creationId xmlns:a16="http://schemas.microsoft.com/office/drawing/2014/main" id="{0A59A36B-098F-4049-93E1-8687160FBADA}"/>
              </a:ext>
            </a:extLst>
          </p:cNvPr>
          <p:cNvCxnSpPr/>
          <p:nvPr/>
        </p:nvCxnSpPr>
        <p:spPr>
          <a:xfrm>
            <a:off x="419100" y="5699489"/>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99658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a:xfrm>
            <a:off x="273202" y="2416356"/>
            <a:ext cx="8585048" cy="1898069"/>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Thank You</a:t>
            </a:r>
          </a:p>
        </p:txBody>
      </p:sp>
      <p:sp>
        <p:nvSpPr>
          <p:cNvPr id="5" name="Slide Number Placeholder 5">
            <a:extLst>
              <a:ext uri="{FF2B5EF4-FFF2-40B4-BE49-F238E27FC236}">
                <a16:creationId xmlns:a16="http://schemas.microsoft.com/office/drawing/2014/main" id="{AF5BB7C1-DE3F-364A-81C7-3011CE52406B}"/>
              </a:ext>
            </a:extLst>
          </p:cNvPr>
          <p:cNvSpPr>
            <a:spLocks noGrp="1"/>
          </p:cNvSpPr>
          <p:nvPr>
            <p:ph type="sldNum" sz="quarter" idx="4"/>
          </p:nvPr>
        </p:nvSpPr>
        <p:spPr>
          <a:xfrm>
            <a:off x="8531750" y="6346584"/>
            <a:ext cx="414260" cy="213126"/>
          </a:xfrm>
          <a:prstGeom prst="rect">
            <a:avLst/>
          </a:prstGeom>
          <a:noFill/>
        </p:spPr>
        <p:txBody>
          <a:bodyPr/>
          <a:lstStyle>
            <a:lvl1pPr algn="r">
              <a:defRPr sz="600" b="1" i="0">
                <a:solidFill>
                  <a:srgbClr val="FFFFFF"/>
                </a:solidFill>
                <a:latin typeface="Segoe UI" panose="020B0502040204020203" pitchFamily="34" charset="0"/>
              </a:defRPr>
            </a:lvl1pPr>
          </a:lstStyle>
          <a:p>
            <a:pPr defTabSz="285750">
              <a:defRPr/>
            </a:pPr>
            <a:fld id="{2C7AFF3D-0B71-614B-ACB6-7F45BDA6A838}" type="slidenum">
              <a:rPr lang="en-US">
                <a:ea typeface="Segoe UI" panose="020B0502040204020203" pitchFamily="34" charset="0"/>
                <a:cs typeface="Segoe UI" panose="020B0502040204020203" pitchFamily="34" charset="0"/>
              </a:rPr>
              <a:pPr defTabSz="285750">
                <a:defRPr/>
              </a:pPr>
              <a:t>41</a:t>
            </a:fld>
            <a:endParaRPr lang="en-US" dirty="0">
              <a:ea typeface="Segoe UI" panose="020B0502040204020203" pitchFamily="34" charset="0"/>
              <a:cs typeface="Segoe UI" panose="020B0502040204020203" pitchFamily="34" charset="0"/>
            </a:endParaRPr>
          </a:p>
        </p:txBody>
      </p:sp>
      <p:sp>
        <p:nvSpPr>
          <p:cNvPr id="6" name="Footer Placeholder 3">
            <a:extLst>
              <a:ext uri="{FF2B5EF4-FFF2-40B4-BE49-F238E27FC236}">
                <a16:creationId xmlns:a16="http://schemas.microsoft.com/office/drawing/2014/main" id="{5976D55B-6258-4849-8B5F-5584D9E2AE00}"/>
              </a:ext>
            </a:extLst>
          </p:cNvPr>
          <p:cNvSpPr>
            <a:spLocks noGrp="1"/>
          </p:cNvSpPr>
          <p:nvPr>
            <p:ph type="ftr" sz="quarter" idx="3"/>
          </p:nvPr>
        </p:nvSpPr>
        <p:spPr>
          <a:xfrm>
            <a:off x="5440491" y="6385330"/>
            <a:ext cx="3086100" cy="136824"/>
          </a:xfrm>
          <a:prstGeom prst="rect">
            <a:avLst/>
          </a:prstGeom>
        </p:spPr>
        <p:txBody>
          <a:bodyPr vert="horz" lIns="57150" tIns="28575" rIns="57150" bIns="28575" rtlCol="0" anchor="ctr"/>
          <a:lstStyle>
            <a:lvl1pPr algn="r">
              <a:defRPr sz="600" b="1" i="0">
                <a:solidFill>
                  <a:srgbClr val="FFFFFF"/>
                </a:solidFill>
                <a:latin typeface="Segoe UI" panose="020B0502040204020203" pitchFamily="34" charset="0"/>
              </a:defRPr>
            </a:lvl1pPr>
          </a:lstStyle>
          <a:p>
            <a:pPr lvl="0">
              <a:defRPr/>
            </a:pPr>
            <a:r>
              <a:rPr lang="en-US" dirty="0">
                <a:solidFill>
                  <a:schemeClr val="bg1"/>
                </a:solidFill>
              </a:rPr>
              <a:t>Considerations for a Successful Retirement</a:t>
            </a:r>
          </a:p>
        </p:txBody>
      </p:sp>
      <p:pic>
        <p:nvPicPr>
          <p:cNvPr id="2" name="Picture 1">
            <a:extLst>
              <a:ext uri="{FF2B5EF4-FFF2-40B4-BE49-F238E27FC236}">
                <a16:creationId xmlns:a16="http://schemas.microsoft.com/office/drawing/2014/main" id="{EE9DA891-66BF-406B-A793-DB9DE0BD0E79}"/>
              </a:ext>
            </a:extLst>
          </p:cNvPr>
          <p:cNvPicPr>
            <a:picLocks noChangeAspect="1"/>
          </p:cNvPicPr>
          <p:nvPr/>
        </p:nvPicPr>
        <p:blipFill>
          <a:blip r:embed="rId2"/>
          <a:stretch>
            <a:fillRect/>
          </a:stretch>
        </p:blipFill>
        <p:spPr>
          <a:xfrm>
            <a:off x="2313797" y="6074479"/>
            <a:ext cx="1847850" cy="447675"/>
          </a:xfrm>
          <a:prstGeom prst="rect">
            <a:avLst/>
          </a:prstGeom>
        </p:spPr>
      </p:pic>
    </p:spTree>
    <p:extLst>
      <p:ext uri="{BB962C8B-B14F-4D97-AF65-F5344CB8AC3E}">
        <p14:creationId xmlns:p14="http://schemas.microsoft.com/office/powerpoint/2010/main" val="37459155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B7DBA2-F819-CF45-AC4F-A86D2D46DF3F}"/>
              </a:ext>
            </a:extLst>
          </p:cNvPr>
          <p:cNvSpPr>
            <a:spLocks noGrp="1"/>
          </p:cNvSpPr>
          <p:nvPr>
            <p:ph type="sldNum" sz="quarter" idx="4"/>
          </p:nvPr>
        </p:nvSpPr>
        <p:spPr>
          <a:xfrm>
            <a:off x="8460189" y="6343898"/>
            <a:ext cx="410610" cy="133102"/>
          </a:xfrm>
        </p:spPr>
        <p:txBody>
          <a:bodyPr/>
          <a:lstStyle/>
          <a:p>
            <a:fld id="{2C7AFF3D-0B71-614B-ACB6-7F45BDA6A838}" type="slidenum">
              <a:rPr lang="en-US" smtClean="0"/>
              <a:pPr/>
              <a:t>42</a:t>
            </a:fld>
            <a:endParaRPr lang="en-US" dirty="0"/>
          </a:p>
        </p:txBody>
      </p:sp>
      <p:sp>
        <p:nvSpPr>
          <p:cNvPr id="4" name="Footer Placeholder 3">
            <a:extLst>
              <a:ext uri="{FF2B5EF4-FFF2-40B4-BE49-F238E27FC236}">
                <a16:creationId xmlns:a16="http://schemas.microsoft.com/office/drawing/2014/main" id="{C78861CE-7FB1-CD41-B252-401539608B77}"/>
              </a:ext>
            </a:extLst>
          </p:cNvPr>
          <p:cNvSpPr>
            <a:spLocks noGrp="1"/>
          </p:cNvSpPr>
          <p:nvPr>
            <p:ph type="ftr" sz="quarter" idx="3"/>
          </p:nvPr>
        </p:nvSpPr>
        <p:spPr>
          <a:xfrm>
            <a:off x="5508404" y="6346332"/>
            <a:ext cx="3086100" cy="182432"/>
          </a:xfrm>
        </p:spPr>
        <p:txBody>
          <a:bodyPr/>
          <a:lstStyle/>
          <a:p>
            <a:pPr lvl="0">
              <a:defRPr/>
            </a:pPr>
            <a:r>
              <a:rPr lang="en-US" dirty="0">
                <a:solidFill>
                  <a:schemeClr val="bg1"/>
                </a:solidFill>
              </a:rPr>
              <a:t>Considerations for a Successful Retirement</a:t>
            </a:r>
          </a:p>
        </p:txBody>
      </p:sp>
      <p:sp>
        <p:nvSpPr>
          <p:cNvPr id="5" name="Subtitle 4">
            <a:extLst>
              <a:ext uri="{FF2B5EF4-FFF2-40B4-BE49-F238E27FC236}">
                <a16:creationId xmlns:a16="http://schemas.microsoft.com/office/drawing/2014/main" id="{F207E70F-E708-6041-8CD7-DD14CDEFFDFD}"/>
              </a:ext>
            </a:extLst>
          </p:cNvPr>
          <p:cNvSpPr>
            <a:spLocks noGrp="1"/>
          </p:cNvSpPr>
          <p:nvPr/>
        </p:nvSpPr>
        <p:spPr>
          <a:xfrm>
            <a:off x="355269" y="317389"/>
            <a:ext cx="4213887" cy="707280"/>
          </a:xfrm>
          <a:prstGeom prst="rect">
            <a:avLst/>
          </a:prstGeom>
        </p:spPr>
        <p:style>
          <a:lnRef idx="0">
            <a:scrgbClr r="0" g="0" b="0"/>
          </a:lnRef>
          <a:fillRef idx="0">
            <a:scrgbClr r="0" g="0" b="0"/>
          </a:fillRef>
          <a:effectRef idx="0">
            <a:scrgbClr r="0" g="0" b="0"/>
          </a:effectRef>
          <a:fontRef idx="major"/>
        </p:style>
        <p:txBody>
          <a:bodyPr anchor="ctr" anchorCtr="0">
            <a:noAutofit/>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FFFFFF"/>
                </a:solidFill>
                <a:latin typeface="IBM Eliot Sans Medium" panose="020B0703050000000000" pitchFamily="34" charset="0"/>
                <a:ea typeface="+mj-ea"/>
                <a:cs typeface="+mj-cs"/>
              </a:defRPr>
            </a:lvl1pPr>
            <a:lvl2pPr marL="548600" indent="0" algn="ctr" defTabSz="1097253" rtl="0" eaLnBrk="1" latinLnBrk="0" hangingPunct="1">
              <a:lnSpc>
                <a:spcPct val="90000"/>
              </a:lnSpc>
              <a:spcBef>
                <a:spcPts val="600"/>
              </a:spcBef>
              <a:buFont typeface="Arial" panose="020B0604020202020204" pitchFamily="34" charset="0"/>
              <a:buNone/>
              <a:defRPr sz="2400" kern="1200">
                <a:solidFill>
                  <a:schemeClr val="tx1"/>
                </a:solidFill>
                <a:latin typeface="+mj-lt"/>
                <a:ea typeface="+mj-ea"/>
                <a:cs typeface="+mj-cs"/>
              </a:defRPr>
            </a:lvl2pPr>
            <a:lvl3pPr marL="1097198" indent="0" algn="ctr" defTabSz="1097253" rtl="0" eaLnBrk="1" latinLnBrk="0" hangingPunct="1">
              <a:lnSpc>
                <a:spcPct val="90000"/>
              </a:lnSpc>
              <a:spcBef>
                <a:spcPts val="600"/>
              </a:spcBef>
              <a:buFont typeface="Arial" panose="020B0604020202020204" pitchFamily="34" charset="0"/>
              <a:buNone/>
              <a:defRPr sz="2160" kern="1200">
                <a:solidFill>
                  <a:schemeClr val="tx1"/>
                </a:solidFill>
                <a:latin typeface="+mj-lt"/>
                <a:ea typeface="+mj-ea"/>
                <a:cs typeface="+mj-cs"/>
              </a:defRPr>
            </a:lvl3pPr>
            <a:lvl4pPr marL="1645798" indent="0" algn="ctr" defTabSz="1097253" rtl="0" eaLnBrk="1" latinLnBrk="0" hangingPunct="1">
              <a:lnSpc>
                <a:spcPct val="90000"/>
              </a:lnSpc>
              <a:spcBef>
                <a:spcPts val="600"/>
              </a:spcBef>
              <a:buFont typeface="Arial" panose="020B0604020202020204" pitchFamily="34" charset="0"/>
              <a:buNone/>
              <a:defRPr sz="1920" kern="1200">
                <a:solidFill>
                  <a:schemeClr val="tx1"/>
                </a:solidFill>
                <a:latin typeface="+mj-lt"/>
                <a:ea typeface="+mj-ea"/>
                <a:cs typeface="+mj-cs"/>
              </a:defRPr>
            </a:lvl4pPr>
            <a:lvl5pPr marL="2194396" indent="0" algn="ctr" defTabSz="1097253" rtl="0" eaLnBrk="1" latinLnBrk="0" hangingPunct="1">
              <a:lnSpc>
                <a:spcPct val="90000"/>
              </a:lnSpc>
              <a:spcBef>
                <a:spcPts val="600"/>
              </a:spcBef>
              <a:buFont typeface="Arial" panose="020B0604020202020204" pitchFamily="34" charset="0"/>
              <a:buNone/>
              <a:defRPr sz="1920" kern="1200">
                <a:solidFill>
                  <a:schemeClr val="tx1"/>
                </a:solidFill>
                <a:latin typeface="+mj-lt"/>
                <a:ea typeface="+mj-ea"/>
                <a:cs typeface="+mj-cs"/>
              </a:defRPr>
            </a:lvl5pPr>
            <a:lvl6pPr marL="2742994" indent="0" algn="ctr" defTabSz="1097253" rtl="0" eaLnBrk="1" latinLnBrk="0" hangingPunct="1">
              <a:lnSpc>
                <a:spcPct val="90000"/>
              </a:lnSpc>
              <a:spcBef>
                <a:spcPts val="600"/>
              </a:spcBef>
              <a:buFont typeface="Arial" panose="020B0604020202020204" pitchFamily="34" charset="0"/>
              <a:buNone/>
              <a:defRPr sz="1920" kern="1200">
                <a:solidFill>
                  <a:schemeClr val="tx1"/>
                </a:solidFill>
                <a:latin typeface="+mj-lt"/>
                <a:ea typeface="+mj-ea"/>
                <a:cs typeface="+mj-cs"/>
              </a:defRPr>
            </a:lvl6pPr>
            <a:lvl7pPr marL="3291592" indent="0" algn="ctr" defTabSz="1097253" rtl="0" eaLnBrk="1" latinLnBrk="0" hangingPunct="1">
              <a:lnSpc>
                <a:spcPct val="90000"/>
              </a:lnSpc>
              <a:spcBef>
                <a:spcPts val="600"/>
              </a:spcBef>
              <a:buFont typeface="Arial" panose="020B0604020202020204" pitchFamily="34" charset="0"/>
              <a:buNone/>
              <a:defRPr sz="1920" kern="1200">
                <a:solidFill>
                  <a:schemeClr val="tx1"/>
                </a:solidFill>
                <a:latin typeface="+mj-lt"/>
                <a:ea typeface="+mj-ea"/>
                <a:cs typeface="+mj-cs"/>
              </a:defRPr>
            </a:lvl7pPr>
            <a:lvl8pPr marL="3840192" indent="0" algn="ctr" defTabSz="1097253" rtl="0" eaLnBrk="1" latinLnBrk="0" hangingPunct="1">
              <a:lnSpc>
                <a:spcPct val="90000"/>
              </a:lnSpc>
              <a:spcBef>
                <a:spcPts val="600"/>
              </a:spcBef>
              <a:buFont typeface="Arial" panose="020B0604020202020204" pitchFamily="34" charset="0"/>
              <a:buNone/>
              <a:defRPr sz="1920" kern="1200">
                <a:solidFill>
                  <a:schemeClr val="tx1"/>
                </a:solidFill>
                <a:latin typeface="+mj-lt"/>
                <a:ea typeface="+mj-ea"/>
                <a:cs typeface="+mj-cs"/>
              </a:defRPr>
            </a:lvl8pPr>
            <a:lvl9pPr marL="4388792" indent="0" algn="ctr" defTabSz="1097253" rtl="0" eaLnBrk="1" latinLnBrk="0" hangingPunct="1">
              <a:lnSpc>
                <a:spcPct val="90000"/>
              </a:lnSpc>
              <a:spcBef>
                <a:spcPts val="600"/>
              </a:spcBef>
              <a:buFont typeface="Arial" panose="020B0604020202020204" pitchFamily="34" charset="0"/>
              <a:buNone/>
              <a:defRPr sz="1920" kern="1200">
                <a:solidFill>
                  <a:schemeClr val="tx1"/>
                </a:solidFill>
                <a:latin typeface="+mj-lt"/>
                <a:ea typeface="+mj-ea"/>
                <a:cs typeface="+mj-cs"/>
              </a:defRPr>
            </a:lvl9pPr>
          </a:lstStyle>
          <a:p>
            <a:r>
              <a:rPr lang="en-US" sz="2400" dirty="0">
                <a:latin typeface="Segoe UI" panose="020B0502040204020203" pitchFamily="34" charset="0"/>
                <a:ea typeface="Segoe UI" panose="020B0502040204020203" pitchFamily="34" charset="0"/>
                <a:cs typeface="Segoe UI" panose="020B0502040204020203" pitchFamily="34" charset="0"/>
              </a:rPr>
              <a:t>Important Information</a:t>
            </a:r>
          </a:p>
          <a:p>
            <a:r>
              <a:rPr lang="en-US" sz="1600" b="0" dirty="0">
                <a:solidFill>
                  <a:srgbClr val="73C0FF"/>
                </a:solidFill>
                <a:latin typeface="Segoe UI" panose="020B0502040204020203" pitchFamily="34" charset="0"/>
                <a:ea typeface="Segoe UI" panose="020B0502040204020203" pitchFamily="34" charset="0"/>
                <a:cs typeface="Segoe UI" panose="020B0502040204020203" pitchFamily="34" charset="0"/>
              </a:rPr>
              <a:t>Important Note</a:t>
            </a:r>
          </a:p>
        </p:txBody>
      </p:sp>
      <p:sp>
        <p:nvSpPr>
          <p:cNvPr id="7" name="Rectangle 6">
            <a:extLst>
              <a:ext uri="{FF2B5EF4-FFF2-40B4-BE49-F238E27FC236}">
                <a16:creationId xmlns:a16="http://schemas.microsoft.com/office/drawing/2014/main" id="{C8DF3978-8E1A-F04A-B16C-F6B5EA302012}"/>
              </a:ext>
            </a:extLst>
          </p:cNvPr>
          <p:cNvSpPr/>
          <p:nvPr/>
        </p:nvSpPr>
        <p:spPr>
          <a:xfrm>
            <a:off x="376655" y="1397000"/>
            <a:ext cx="8481596" cy="2862322"/>
          </a:xfrm>
          <a:prstGeom prst="rect">
            <a:avLst/>
          </a:prstGeom>
          <a:noFill/>
        </p:spPr>
        <p:txBody>
          <a:bodyPr wrap="square">
            <a:spAutoFit/>
          </a:bodyPr>
          <a:lstStyle/>
          <a:p>
            <a:r>
              <a:rPr lang="en-US" sz="900" dirty="0">
                <a:solidFill>
                  <a:schemeClr val="bg1"/>
                </a:solidFill>
              </a:rPr>
              <a:t>The information and opinions in this report as detailed in slides 7, 8, 10, 17, 18, 23 were prepared by IRI and AXA Equitable. This report is not investment advice and should not be relied on for such advice or as a substitute for consultation with professional accountants, tax, legal or financial advisors. IRI and AXA Equitable have made every effort to use reliable, up-to-date and comprehensive information and analysis, but all information is provided without warranty of any kind, express or implied. IRI and AXA Equitable accept no liability for any loss arising from any action taken or refrained from as a result of information contained in this report or any reports for sources of information referred to herein, or for any consequential, special or similar damages even if advised of the possibility of such damages. The report is not an offer to buy or sell securities or a solicitation of an offer to buy or sell securities. </a:t>
            </a:r>
          </a:p>
          <a:p>
            <a:endParaRPr lang="en-US" sz="900" dirty="0">
              <a:solidFill>
                <a:schemeClr val="bg1"/>
              </a:solidFill>
            </a:endParaRPr>
          </a:p>
          <a:p>
            <a:r>
              <a:rPr lang="en-US" sz="900" dirty="0">
                <a:solidFill>
                  <a:schemeClr val="bg1"/>
                </a:solidFill>
              </a:rPr>
              <a:t>The use of the term of "financial advisor" or "advisor" for purposes of the survey questions and responses by both the consumers and the financial advisors queried does not necessarily imply that the individual is a registered investment adviser (RIA). The use of these two terms is meant in a general sense of the word or phrase to describe working with an investment advisor, a licensed insurance agent or other financial professionals which may sell annuity products. </a:t>
            </a:r>
          </a:p>
          <a:p>
            <a:endParaRPr lang="en-US" sz="900" dirty="0">
              <a:solidFill>
                <a:schemeClr val="bg1"/>
              </a:solidFill>
            </a:endParaRPr>
          </a:p>
          <a:p>
            <a:r>
              <a:rPr lang="en-US" sz="900" dirty="0">
                <a:solidFill>
                  <a:schemeClr val="bg1"/>
                </a:solidFill>
              </a:rPr>
              <a:t>Variable annuities are long-term, tax-deferred investments designed for retirement, involve investment risks and may lose value. Earnings are taxable as ordinary income when distributed and may be subject to a 10% additional tax if withdrawn before age 59½.</a:t>
            </a:r>
            <a:r>
              <a:rPr lang="en-US" sz="900" baseline="30000" dirty="0">
                <a:solidFill>
                  <a:schemeClr val="bg1"/>
                </a:solidFill>
              </a:rPr>
              <a:t>1</a:t>
            </a:r>
            <a:r>
              <a:rPr lang="en-US" sz="900" dirty="0">
                <a:solidFill>
                  <a:schemeClr val="bg1"/>
                </a:solidFill>
              </a:rPr>
              <a:t> </a:t>
            </a:r>
          </a:p>
          <a:p>
            <a:endParaRPr lang="en-US" sz="900" dirty="0">
              <a:solidFill>
                <a:schemeClr val="bg1"/>
              </a:solidFill>
            </a:endParaRPr>
          </a:p>
          <a:p>
            <a:r>
              <a:rPr lang="en-US" sz="900" dirty="0">
                <a:solidFill>
                  <a:schemeClr val="bg1"/>
                </a:solidFill>
              </a:rPr>
              <a:t>Optional benefits are available for an extra charge in addition to the ongoing fees and expenses of the variable annuity. </a:t>
            </a:r>
          </a:p>
          <a:p>
            <a:r>
              <a:rPr lang="en-US" sz="900" dirty="0">
                <a:solidFill>
                  <a:schemeClr val="bg1"/>
                </a:solidFill>
              </a:rPr>
              <a:t>Tax deferral offers no additional value if an annuity is used to fund a qualified plan, such as a 401(k) or IRA. It also may not be available if the annuity is owned by a "non-natural person" such as a corporation or certain types of trusts. </a:t>
            </a:r>
          </a:p>
          <a:p>
            <a:endParaRPr lang="en-US" sz="900" dirty="0">
              <a:solidFill>
                <a:schemeClr val="bg1"/>
              </a:solidFill>
            </a:endParaRPr>
          </a:p>
          <a:p>
            <a:r>
              <a:rPr lang="en-US" sz="900" dirty="0">
                <a:solidFill>
                  <a:schemeClr val="bg1"/>
                </a:solidFill>
              </a:rPr>
              <a:t>The investor should take other considerations when purchasing variable annuities. There are fees and penalties associated with variable annuities that may not be suitable for the investor depending on their needs. </a:t>
            </a:r>
          </a:p>
        </p:txBody>
      </p:sp>
    </p:spTree>
    <p:extLst>
      <p:ext uri="{BB962C8B-B14F-4D97-AF65-F5344CB8AC3E}">
        <p14:creationId xmlns:p14="http://schemas.microsoft.com/office/powerpoint/2010/main" val="9494454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B7DBA2-F819-CF45-AC4F-A86D2D46DF3F}"/>
              </a:ext>
            </a:extLst>
          </p:cNvPr>
          <p:cNvSpPr>
            <a:spLocks noGrp="1"/>
          </p:cNvSpPr>
          <p:nvPr>
            <p:ph type="sldNum" sz="quarter" idx="4"/>
          </p:nvPr>
        </p:nvSpPr>
        <p:spPr>
          <a:xfrm>
            <a:off x="8532761" y="6358412"/>
            <a:ext cx="410610" cy="133102"/>
          </a:xfrm>
        </p:spPr>
        <p:txBody>
          <a:bodyPr/>
          <a:lstStyle/>
          <a:p>
            <a:fld id="{2C7AFF3D-0B71-614B-ACB6-7F45BDA6A838}" type="slidenum">
              <a:rPr lang="en-US" smtClean="0"/>
              <a:pPr/>
              <a:t>43</a:t>
            </a:fld>
            <a:endParaRPr lang="en-US" dirty="0"/>
          </a:p>
        </p:txBody>
      </p:sp>
      <p:sp>
        <p:nvSpPr>
          <p:cNvPr id="4" name="Footer Placeholder 3">
            <a:extLst>
              <a:ext uri="{FF2B5EF4-FFF2-40B4-BE49-F238E27FC236}">
                <a16:creationId xmlns:a16="http://schemas.microsoft.com/office/drawing/2014/main" id="{C78861CE-7FB1-CD41-B252-401539608B77}"/>
              </a:ext>
            </a:extLst>
          </p:cNvPr>
          <p:cNvSpPr>
            <a:spLocks noGrp="1"/>
          </p:cNvSpPr>
          <p:nvPr>
            <p:ph type="ftr" sz="quarter" idx="3"/>
          </p:nvPr>
        </p:nvSpPr>
        <p:spPr>
          <a:xfrm>
            <a:off x="5508404" y="6346332"/>
            <a:ext cx="3086100" cy="182432"/>
          </a:xfrm>
        </p:spPr>
        <p:txBody>
          <a:bodyPr/>
          <a:lstStyle/>
          <a:p>
            <a:pPr lvl="0">
              <a:defRPr/>
            </a:pPr>
            <a:r>
              <a:rPr lang="en-US" dirty="0">
                <a:solidFill>
                  <a:schemeClr val="bg1"/>
                </a:solidFill>
              </a:rPr>
              <a:t>Considerations for a Successful Retirement</a:t>
            </a:r>
          </a:p>
        </p:txBody>
      </p:sp>
      <p:sp>
        <p:nvSpPr>
          <p:cNvPr id="5" name="Subtitle 4">
            <a:extLst>
              <a:ext uri="{FF2B5EF4-FFF2-40B4-BE49-F238E27FC236}">
                <a16:creationId xmlns:a16="http://schemas.microsoft.com/office/drawing/2014/main" id="{F207E70F-E708-6041-8CD7-DD14CDEFFDFD}"/>
              </a:ext>
            </a:extLst>
          </p:cNvPr>
          <p:cNvSpPr>
            <a:spLocks noGrp="1"/>
          </p:cNvSpPr>
          <p:nvPr/>
        </p:nvSpPr>
        <p:spPr>
          <a:xfrm>
            <a:off x="355269" y="317389"/>
            <a:ext cx="4213887" cy="707280"/>
          </a:xfrm>
          <a:prstGeom prst="rect">
            <a:avLst/>
          </a:prstGeom>
        </p:spPr>
        <p:style>
          <a:lnRef idx="0">
            <a:scrgbClr r="0" g="0" b="0"/>
          </a:lnRef>
          <a:fillRef idx="0">
            <a:scrgbClr r="0" g="0" b="0"/>
          </a:fillRef>
          <a:effectRef idx="0">
            <a:scrgbClr r="0" g="0" b="0"/>
          </a:effectRef>
          <a:fontRef idx="major"/>
        </p:style>
        <p:txBody>
          <a:bodyPr anchor="ctr" anchorCtr="0">
            <a:noAutofit/>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FFFFFF"/>
                </a:solidFill>
                <a:latin typeface="IBM Eliot Sans Medium" panose="020B0703050000000000" pitchFamily="34" charset="0"/>
                <a:ea typeface="+mj-ea"/>
                <a:cs typeface="+mj-cs"/>
              </a:defRPr>
            </a:lvl1pPr>
            <a:lvl2pPr marL="548600" indent="0" algn="ctr" defTabSz="1097253" rtl="0" eaLnBrk="1" latinLnBrk="0" hangingPunct="1">
              <a:lnSpc>
                <a:spcPct val="90000"/>
              </a:lnSpc>
              <a:spcBef>
                <a:spcPts val="600"/>
              </a:spcBef>
              <a:buFont typeface="Arial" panose="020B0604020202020204" pitchFamily="34" charset="0"/>
              <a:buNone/>
              <a:defRPr sz="2400" kern="1200">
                <a:solidFill>
                  <a:schemeClr val="tx1"/>
                </a:solidFill>
                <a:latin typeface="+mj-lt"/>
                <a:ea typeface="+mj-ea"/>
                <a:cs typeface="+mj-cs"/>
              </a:defRPr>
            </a:lvl2pPr>
            <a:lvl3pPr marL="1097198" indent="0" algn="ctr" defTabSz="1097253" rtl="0" eaLnBrk="1" latinLnBrk="0" hangingPunct="1">
              <a:lnSpc>
                <a:spcPct val="90000"/>
              </a:lnSpc>
              <a:spcBef>
                <a:spcPts val="600"/>
              </a:spcBef>
              <a:buFont typeface="Arial" panose="020B0604020202020204" pitchFamily="34" charset="0"/>
              <a:buNone/>
              <a:defRPr sz="2160" kern="1200">
                <a:solidFill>
                  <a:schemeClr val="tx1"/>
                </a:solidFill>
                <a:latin typeface="+mj-lt"/>
                <a:ea typeface="+mj-ea"/>
                <a:cs typeface="+mj-cs"/>
              </a:defRPr>
            </a:lvl3pPr>
            <a:lvl4pPr marL="1645798" indent="0" algn="ctr" defTabSz="1097253" rtl="0" eaLnBrk="1" latinLnBrk="0" hangingPunct="1">
              <a:lnSpc>
                <a:spcPct val="90000"/>
              </a:lnSpc>
              <a:spcBef>
                <a:spcPts val="600"/>
              </a:spcBef>
              <a:buFont typeface="Arial" panose="020B0604020202020204" pitchFamily="34" charset="0"/>
              <a:buNone/>
              <a:defRPr sz="1920" kern="1200">
                <a:solidFill>
                  <a:schemeClr val="tx1"/>
                </a:solidFill>
                <a:latin typeface="+mj-lt"/>
                <a:ea typeface="+mj-ea"/>
                <a:cs typeface="+mj-cs"/>
              </a:defRPr>
            </a:lvl4pPr>
            <a:lvl5pPr marL="2194396" indent="0" algn="ctr" defTabSz="1097253" rtl="0" eaLnBrk="1" latinLnBrk="0" hangingPunct="1">
              <a:lnSpc>
                <a:spcPct val="90000"/>
              </a:lnSpc>
              <a:spcBef>
                <a:spcPts val="600"/>
              </a:spcBef>
              <a:buFont typeface="Arial" panose="020B0604020202020204" pitchFamily="34" charset="0"/>
              <a:buNone/>
              <a:defRPr sz="1920" kern="1200">
                <a:solidFill>
                  <a:schemeClr val="tx1"/>
                </a:solidFill>
                <a:latin typeface="+mj-lt"/>
                <a:ea typeface="+mj-ea"/>
                <a:cs typeface="+mj-cs"/>
              </a:defRPr>
            </a:lvl5pPr>
            <a:lvl6pPr marL="2742994" indent="0" algn="ctr" defTabSz="1097253" rtl="0" eaLnBrk="1" latinLnBrk="0" hangingPunct="1">
              <a:lnSpc>
                <a:spcPct val="90000"/>
              </a:lnSpc>
              <a:spcBef>
                <a:spcPts val="600"/>
              </a:spcBef>
              <a:buFont typeface="Arial" panose="020B0604020202020204" pitchFamily="34" charset="0"/>
              <a:buNone/>
              <a:defRPr sz="1920" kern="1200">
                <a:solidFill>
                  <a:schemeClr val="tx1"/>
                </a:solidFill>
                <a:latin typeface="+mj-lt"/>
                <a:ea typeface="+mj-ea"/>
                <a:cs typeface="+mj-cs"/>
              </a:defRPr>
            </a:lvl6pPr>
            <a:lvl7pPr marL="3291592" indent="0" algn="ctr" defTabSz="1097253" rtl="0" eaLnBrk="1" latinLnBrk="0" hangingPunct="1">
              <a:lnSpc>
                <a:spcPct val="90000"/>
              </a:lnSpc>
              <a:spcBef>
                <a:spcPts val="600"/>
              </a:spcBef>
              <a:buFont typeface="Arial" panose="020B0604020202020204" pitchFamily="34" charset="0"/>
              <a:buNone/>
              <a:defRPr sz="1920" kern="1200">
                <a:solidFill>
                  <a:schemeClr val="tx1"/>
                </a:solidFill>
                <a:latin typeface="+mj-lt"/>
                <a:ea typeface="+mj-ea"/>
                <a:cs typeface="+mj-cs"/>
              </a:defRPr>
            </a:lvl7pPr>
            <a:lvl8pPr marL="3840192" indent="0" algn="ctr" defTabSz="1097253" rtl="0" eaLnBrk="1" latinLnBrk="0" hangingPunct="1">
              <a:lnSpc>
                <a:spcPct val="90000"/>
              </a:lnSpc>
              <a:spcBef>
                <a:spcPts val="600"/>
              </a:spcBef>
              <a:buFont typeface="Arial" panose="020B0604020202020204" pitchFamily="34" charset="0"/>
              <a:buNone/>
              <a:defRPr sz="1920" kern="1200">
                <a:solidFill>
                  <a:schemeClr val="tx1"/>
                </a:solidFill>
                <a:latin typeface="+mj-lt"/>
                <a:ea typeface="+mj-ea"/>
                <a:cs typeface="+mj-cs"/>
              </a:defRPr>
            </a:lvl8pPr>
            <a:lvl9pPr marL="4388792" indent="0" algn="ctr" defTabSz="1097253" rtl="0" eaLnBrk="1" latinLnBrk="0" hangingPunct="1">
              <a:lnSpc>
                <a:spcPct val="90000"/>
              </a:lnSpc>
              <a:spcBef>
                <a:spcPts val="600"/>
              </a:spcBef>
              <a:buFont typeface="Arial" panose="020B0604020202020204" pitchFamily="34" charset="0"/>
              <a:buNone/>
              <a:defRPr sz="1920" kern="1200">
                <a:solidFill>
                  <a:schemeClr val="tx1"/>
                </a:solidFill>
                <a:latin typeface="+mj-lt"/>
                <a:ea typeface="+mj-ea"/>
                <a:cs typeface="+mj-cs"/>
              </a:defRPr>
            </a:lvl9pPr>
          </a:lstStyle>
          <a:p>
            <a:r>
              <a:rPr lang="en-US" sz="2400" dirty="0">
                <a:latin typeface="Segoe UI" panose="020B0502040204020203" pitchFamily="34" charset="0"/>
                <a:ea typeface="Segoe UI" panose="020B0502040204020203" pitchFamily="34" charset="0"/>
                <a:cs typeface="Segoe UI" panose="020B0502040204020203" pitchFamily="34" charset="0"/>
              </a:rPr>
              <a:t>Important Information</a:t>
            </a:r>
          </a:p>
          <a:p>
            <a:r>
              <a:rPr lang="en-US" sz="1600" b="0" dirty="0">
                <a:solidFill>
                  <a:srgbClr val="73C0FF"/>
                </a:solidFill>
                <a:latin typeface="Segoe UI" panose="020B0502040204020203" pitchFamily="34" charset="0"/>
                <a:ea typeface="Segoe UI" panose="020B0502040204020203" pitchFamily="34" charset="0"/>
                <a:cs typeface="Segoe UI" panose="020B0502040204020203" pitchFamily="34" charset="0"/>
              </a:rPr>
              <a:t>Important Note </a:t>
            </a:r>
            <a:r>
              <a:rPr lang="en-US" sz="1000" b="0" dirty="0">
                <a:solidFill>
                  <a:srgbClr val="73C0FF"/>
                </a:solidFill>
                <a:latin typeface="+mn-lt"/>
                <a:ea typeface="Segoe UI" panose="020B0502040204020203" pitchFamily="34" charset="0"/>
                <a:cs typeface="Segoe UI" panose="020B0502040204020203" pitchFamily="34" charset="0"/>
              </a:rPr>
              <a:t>(continued) </a:t>
            </a:r>
          </a:p>
        </p:txBody>
      </p:sp>
      <p:sp>
        <p:nvSpPr>
          <p:cNvPr id="7" name="Rectangle 6">
            <a:extLst>
              <a:ext uri="{FF2B5EF4-FFF2-40B4-BE49-F238E27FC236}">
                <a16:creationId xmlns:a16="http://schemas.microsoft.com/office/drawing/2014/main" id="{C0C20A74-104F-8C48-AF39-E1E19163D9C9}"/>
              </a:ext>
            </a:extLst>
          </p:cNvPr>
          <p:cNvSpPr/>
          <p:nvPr/>
        </p:nvSpPr>
        <p:spPr>
          <a:xfrm>
            <a:off x="360751" y="1397000"/>
            <a:ext cx="8449963" cy="2169825"/>
          </a:xfrm>
          <a:prstGeom prst="rect">
            <a:avLst/>
          </a:prstGeom>
          <a:noFill/>
        </p:spPr>
        <p:txBody>
          <a:bodyPr wrap="square">
            <a:spAutoFit/>
          </a:bodyPr>
          <a:lstStyle/>
          <a:p>
            <a:pPr>
              <a:defRPr/>
            </a:pPr>
            <a:r>
              <a:rPr lang="en-GB" sz="900" kern="0" dirty="0">
                <a:solidFill>
                  <a:schemeClr val="bg1"/>
                </a:solidFill>
                <a:ea typeface="ＭＳ Ｐゴシック" charset="0"/>
                <a:cs typeface="ＭＳ Ｐゴシック" charset="0"/>
              </a:rPr>
              <a:t>Variable annuities and mutual funds are sold by prospectus. Please consider the charges, risks, expenses and investment objectives both carefully before investing. For prospectuses containing this and other information, please call your financial professional. Read it carefully before you invest or send money.</a:t>
            </a:r>
          </a:p>
          <a:p>
            <a:pPr>
              <a:defRPr/>
            </a:pPr>
            <a:endParaRPr lang="en-GB" sz="900" kern="0" dirty="0">
              <a:solidFill>
                <a:schemeClr val="bg1"/>
              </a:solidFill>
              <a:ea typeface="ＭＳ Ｐゴシック" charset="0"/>
              <a:cs typeface="ＭＳ Ｐゴシック" charset="0"/>
            </a:endParaRPr>
          </a:p>
          <a:p>
            <a:pPr>
              <a:defRPr/>
            </a:pPr>
            <a:r>
              <a:rPr lang="en-GB" sz="900" kern="0" dirty="0">
                <a:solidFill>
                  <a:schemeClr val="bg1"/>
                </a:solidFill>
                <a:ea typeface="ＭＳ Ｐゴシック" charset="0"/>
                <a:cs typeface="ＭＳ Ｐゴシック" charset="0"/>
              </a:rPr>
              <a:t>AXA Equitable Life Insurance Company (NY, NY)  is an issuer of variable annuities. Distributors: AXA Distributors, LLC and AXA Advisors, LLC (member FINRA, SIPC).</a:t>
            </a:r>
          </a:p>
          <a:p>
            <a:pPr>
              <a:defRPr/>
            </a:pPr>
            <a:endParaRPr lang="en-GB" sz="900" kern="0" dirty="0">
              <a:solidFill>
                <a:schemeClr val="bg1"/>
              </a:solidFill>
              <a:ea typeface="ＭＳ Ｐゴシック" charset="0"/>
              <a:cs typeface="ＭＳ Ｐゴシック" charset="0"/>
            </a:endParaRPr>
          </a:p>
          <a:p>
            <a:pPr>
              <a:defRPr/>
            </a:pPr>
            <a:r>
              <a:rPr lang="en-GB" sz="900" kern="0" dirty="0">
                <a:solidFill>
                  <a:schemeClr val="bg1"/>
                </a:solidFill>
                <a:ea typeface="ＭＳ Ｐゴシック" charset="0"/>
                <a:cs typeface="ＭＳ Ｐゴシック" charset="0"/>
              </a:rPr>
              <a:t>AXA Equitable, AXA Advisors, and AXA Distributors are affiliated companies and do not provide tax or legal advice.</a:t>
            </a:r>
          </a:p>
          <a:p>
            <a:pPr>
              <a:defRPr/>
            </a:pPr>
            <a:endParaRPr lang="en-GB" sz="900" kern="0" dirty="0">
              <a:solidFill>
                <a:schemeClr val="bg1"/>
              </a:solidFill>
              <a:ea typeface="ＭＳ Ｐゴシック" charset="0"/>
              <a:cs typeface="ＭＳ Ｐゴシック" charset="0"/>
            </a:endParaRPr>
          </a:p>
          <a:p>
            <a:pPr>
              <a:defRPr/>
            </a:pPr>
            <a:r>
              <a:rPr lang="en-GB" sz="900" kern="0" dirty="0">
                <a:solidFill>
                  <a:schemeClr val="bg1"/>
                </a:solidFill>
                <a:ea typeface="ＭＳ Ｐゴシック" charset="0"/>
                <a:cs typeface="ＭＳ Ｐゴシック" charset="0"/>
              </a:rPr>
              <a:t>Guarantees are based on the claims-paying ability of issuing insurance company.</a:t>
            </a:r>
          </a:p>
          <a:p>
            <a:pPr>
              <a:defRPr/>
            </a:pPr>
            <a:endParaRPr lang="en-GB" sz="900" kern="0" dirty="0">
              <a:solidFill>
                <a:schemeClr val="bg1"/>
              </a:solidFill>
              <a:ea typeface="ＭＳ Ｐゴシック" charset="0"/>
              <a:cs typeface="ＭＳ Ｐゴシック" charset="0"/>
            </a:endParaRPr>
          </a:p>
          <a:p>
            <a:pPr>
              <a:defRPr/>
            </a:pPr>
            <a:r>
              <a:rPr lang="en-GB" sz="900" kern="0" dirty="0">
                <a:solidFill>
                  <a:schemeClr val="bg1"/>
                </a:solidFill>
                <a:ea typeface="ＭＳ Ｐゴシック" charset="0"/>
                <a:cs typeface="ＭＳ Ｐゴシック" charset="0"/>
              </a:rPr>
              <a:t>AXA Equitable, its distributors and their respective representatives do not provide tax, accounting or legal advice. Any tax statements contained herein were not intended or written to be used, and cannot be used for the purpose of avoiding U.S. federal, state or local tax penalties. Please consult your own independent advisor as to any tax, accounting or legal statements made herein.</a:t>
            </a:r>
          </a:p>
          <a:p>
            <a:pPr>
              <a:defRPr/>
            </a:pPr>
            <a:endParaRPr lang="en-GB" sz="900" kern="0" dirty="0">
              <a:solidFill>
                <a:schemeClr val="bg1"/>
              </a:solidFill>
              <a:ea typeface="ＭＳ Ｐゴシック" charset="0"/>
              <a:cs typeface="ＭＳ Ｐゴシック" charset="0"/>
            </a:endParaRPr>
          </a:p>
          <a:p>
            <a:pPr>
              <a:defRPr/>
            </a:pPr>
            <a:r>
              <a:rPr lang="en-GB" sz="900" kern="0" dirty="0">
                <a:solidFill>
                  <a:schemeClr val="bg1"/>
                </a:solidFill>
                <a:ea typeface="ＭＳ Ｐゴシック" charset="0"/>
                <a:cs typeface="ＭＳ Ｐゴシック" charset="0"/>
              </a:rPr>
              <a:t>©2018 AXA Equitable Life Insurance Company. All rights reserved.</a:t>
            </a:r>
          </a:p>
          <a:p>
            <a:pPr>
              <a:defRPr/>
            </a:pPr>
            <a:endParaRPr lang="en-GB" sz="900" kern="0" dirty="0">
              <a:solidFill>
                <a:schemeClr val="bg1"/>
              </a:solidFill>
              <a:ea typeface="ＭＳ Ｐゴシック" charset="0"/>
              <a:cs typeface="ＭＳ Ｐゴシック" charset="0"/>
            </a:endParaRPr>
          </a:p>
        </p:txBody>
      </p:sp>
      <p:sp>
        <p:nvSpPr>
          <p:cNvPr id="8" name="TextBox 7">
            <a:extLst>
              <a:ext uri="{FF2B5EF4-FFF2-40B4-BE49-F238E27FC236}">
                <a16:creationId xmlns:a16="http://schemas.microsoft.com/office/drawing/2014/main" id="{F2031EAC-03E6-4E59-8C88-7EBC89AFC033}"/>
              </a:ext>
            </a:extLst>
          </p:cNvPr>
          <p:cNvSpPr txBox="1"/>
          <p:nvPr/>
        </p:nvSpPr>
        <p:spPr>
          <a:xfrm>
            <a:off x="285749" y="6475114"/>
            <a:ext cx="1632063" cy="230832"/>
          </a:xfrm>
          <a:prstGeom prst="rect">
            <a:avLst/>
          </a:prstGeom>
          <a:noFill/>
        </p:spPr>
        <p:txBody>
          <a:bodyPr wrap="square" rtlCol="0">
            <a:spAutoFit/>
          </a:bodyPr>
          <a:lstStyle/>
          <a:p>
            <a:r>
              <a:rPr lang="en-US" sz="900" dirty="0">
                <a:solidFill>
                  <a:schemeClr val="bg1"/>
                </a:solidFill>
              </a:rPr>
              <a:t>GE-139054 (1/20) (Exp. 8/20)</a:t>
            </a:r>
          </a:p>
        </p:txBody>
      </p:sp>
    </p:spTree>
    <p:extLst>
      <p:ext uri="{BB962C8B-B14F-4D97-AF65-F5344CB8AC3E}">
        <p14:creationId xmlns:p14="http://schemas.microsoft.com/office/powerpoint/2010/main" val="11358584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682518" y="6384470"/>
            <a:ext cx="231295" cy="113165"/>
          </a:xfrm>
        </p:spPr>
        <p:txBody>
          <a:bodyPr/>
          <a:lstStyle/>
          <a:p>
            <a:fld id="{2C7AFF3D-0B71-614B-ACB6-7F45BDA6A838}" type="slidenum">
              <a:rPr lang="en-US" smtClean="0">
                <a:latin typeface="Segoe UI" panose="020B0502040204020203" pitchFamily="34" charset="0"/>
              </a:rPr>
              <a:pPr/>
              <a:t>5</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173695" y="371361"/>
            <a:ext cx="6012136" cy="340521"/>
          </a:xfrm>
        </p:spPr>
        <p:txBody>
          <a:bodyPr wrap="square" lIns="201168"/>
          <a:lstStyle/>
          <a:p>
            <a:pPr lvl="0"/>
            <a:r>
              <a:rPr lang="en-US" sz="2400" dirty="0">
                <a:latin typeface="Segoe UI" panose="020B0502040204020203" pitchFamily="34" charset="0"/>
                <a:ea typeface="Segoe UI" panose="020B0502040204020203" pitchFamily="34" charset="0"/>
                <a:cs typeface="Segoe UI" panose="020B0502040204020203" pitchFamily="34" charset="0"/>
              </a:rPr>
              <a:t>Never a straight line</a:t>
            </a:r>
          </a:p>
        </p:txBody>
      </p:sp>
      <p:sp>
        <p:nvSpPr>
          <p:cNvPr id="9" name="TextBox 8">
            <a:extLst>
              <a:ext uri="{FF2B5EF4-FFF2-40B4-BE49-F238E27FC236}">
                <a16:creationId xmlns:a16="http://schemas.microsoft.com/office/drawing/2014/main" id="{926AC75B-3ECC-D745-8C95-68132A985AF6}"/>
              </a:ext>
            </a:extLst>
          </p:cNvPr>
          <p:cNvSpPr txBox="1"/>
          <p:nvPr/>
        </p:nvSpPr>
        <p:spPr>
          <a:xfrm>
            <a:off x="457200" y="5554795"/>
            <a:ext cx="8401050" cy="777136"/>
          </a:xfrm>
          <a:prstGeom prst="rect">
            <a:avLst/>
          </a:prstGeom>
          <a:noFill/>
        </p:spPr>
        <p:txBody>
          <a:bodyPr wrap="square" lIns="0" tIns="0" rIns="0" bIns="0" rtlCol="0">
            <a:spAutoFit/>
          </a:bodyPr>
          <a:lstStyle/>
          <a:p>
            <a:r>
              <a:rPr lang="en-US" sz="800" dirty="0">
                <a:solidFill>
                  <a:srgbClr val="75787B"/>
                </a:solidFill>
              </a:rPr>
              <a:t>Source: FactSet, Standard &amp; Poor’s, J.P. Morgan Asset Management.</a:t>
            </a:r>
          </a:p>
          <a:p>
            <a:r>
              <a:rPr lang="en-US" sz="800" dirty="0">
                <a:solidFill>
                  <a:srgbClr val="75787B"/>
                </a:solidFill>
              </a:rPr>
              <a:t>Returns are based on price index only and do not include dividends. Intra-year drops refers to the largest market drops from a peak to a trough during the year. For illustrative purposes only. Returns shown are calendar year returns from 1980 to 2018, over which time period the average annual return was 8.8%.</a:t>
            </a:r>
          </a:p>
          <a:p>
            <a:r>
              <a:rPr lang="en-US" sz="800" i="1" dirty="0">
                <a:solidFill>
                  <a:srgbClr val="75787B"/>
                </a:solidFill>
              </a:rPr>
              <a:t>Guide to the Markets – U.S. </a:t>
            </a:r>
            <a:r>
              <a:rPr lang="en-US" sz="800" dirty="0">
                <a:solidFill>
                  <a:srgbClr val="75787B"/>
                </a:solidFill>
              </a:rPr>
              <a:t>Data are as of March 31, 2018.</a:t>
            </a:r>
          </a:p>
          <a:p>
            <a:r>
              <a:rPr lang="en-US" sz="800" dirty="0">
                <a:solidFill>
                  <a:srgbClr val="75787B"/>
                </a:solidFill>
              </a:rPr>
              <a:t>Individuals cannot invest directly in an index.</a:t>
            </a:r>
            <a:endParaRPr lang="en-US" sz="800" dirty="0">
              <a:solidFill>
                <a:srgbClr val="75787B"/>
              </a:solidFill>
              <a:cs typeface="Arial" pitchFamily="34" charset="0"/>
            </a:endParaRPr>
          </a:p>
          <a:p>
            <a:endParaRPr lang="en-US" sz="1050" dirty="0">
              <a:solidFill>
                <a:srgbClr val="75787B"/>
              </a:solidFill>
              <a:cs typeface="Arial" pitchFamily="34" charset="0"/>
            </a:endParaRPr>
          </a:p>
        </p:txBody>
      </p:sp>
      <p:sp>
        <p:nvSpPr>
          <p:cNvPr id="36" name="Text Placeholder 4">
            <a:extLst>
              <a:ext uri="{FF2B5EF4-FFF2-40B4-BE49-F238E27FC236}">
                <a16:creationId xmlns:a16="http://schemas.microsoft.com/office/drawing/2014/main" id="{945DCC3C-9887-9040-A5D0-8168230C1F75}"/>
              </a:ext>
            </a:extLst>
          </p:cNvPr>
          <p:cNvSpPr txBox="1">
            <a:spLocks/>
          </p:cNvSpPr>
          <p:nvPr/>
        </p:nvSpPr>
        <p:spPr>
          <a:xfrm>
            <a:off x="351639" y="3275577"/>
            <a:ext cx="1131066" cy="798488"/>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200"/>
              </a:lnSpc>
              <a:spcBef>
                <a:spcPts val="0"/>
              </a:spcBef>
            </a:pPr>
            <a:r>
              <a:rPr lang="en-US" sz="1200" dirty="0">
                <a:solidFill>
                  <a:srgbClr val="75787B"/>
                </a:solidFill>
                <a:latin typeface="Segoe UI" panose="020B0502040204020203" pitchFamily="34" charset="0"/>
                <a:ea typeface="Segoe UI" panose="020B0502040204020203" pitchFamily="34" charset="0"/>
                <a:cs typeface="Segoe UI" panose="020B0502040204020203" pitchFamily="34" charset="0"/>
              </a:rPr>
              <a:t>S&amp;P 500</a:t>
            </a:r>
            <a:r>
              <a:rPr lang="en-US" sz="1200" baseline="30000" dirty="0">
                <a:solidFill>
                  <a:srgbClr val="75787B"/>
                </a:solidFill>
                <a:latin typeface="Segoe UI" panose="020B0502040204020203" pitchFamily="34" charset="0"/>
                <a:ea typeface="Segoe UI" panose="020B0502040204020203" pitchFamily="34" charset="0"/>
                <a:cs typeface="Segoe UI" panose="020B0502040204020203" pitchFamily="34" charset="0"/>
              </a:rPr>
              <a:t>®</a:t>
            </a:r>
            <a:r>
              <a:rPr lang="en-US" sz="1200" dirty="0">
                <a:solidFill>
                  <a:srgbClr val="75787B"/>
                </a:solidFill>
                <a:latin typeface="Segoe UI" panose="020B0502040204020203" pitchFamily="34" charset="0"/>
                <a:ea typeface="Segoe UI" panose="020B0502040204020203" pitchFamily="34" charset="0"/>
                <a:cs typeface="Segoe UI" panose="020B0502040204020203" pitchFamily="34" charset="0"/>
              </a:rPr>
              <a:t> </a:t>
            </a:r>
            <a:br>
              <a:rPr lang="en-US" sz="1200" dirty="0">
                <a:solidFill>
                  <a:srgbClr val="75787B"/>
                </a:solidFill>
                <a:latin typeface="Segoe UI" panose="020B0502040204020203" pitchFamily="34" charset="0"/>
                <a:ea typeface="Segoe UI" panose="020B0502040204020203" pitchFamily="34" charset="0"/>
                <a:cs typeface="Segoe UI" panose="020B0502040204020203" pitchFamily="34" charset="0"/>
              </a:rPr>
            </a:br>
            <a:r>
              <a:rPr lang="en-US" sz="1200" dirty="0">
                <a:solidFill>
                  <a:srgbClr val="75787B"/>
                </a:solidFill>
                <a:latin typeface="Segoe UI" panose="020B0502040204020203" pitchFamily="34" charset="0"/>
                <a:ea typeface="Segoe UI" panose="020B0502040204020203" pitchFamily="34" charset="0"/>
                <a:cs typeface="Segoe UI" panose="020B0502040204020203" pitchFamily="34" charset="0"/>
              </a:rPr>
              <a:t>Annual Price Return </a:t>
            </a:r>
          </a:p>
        </p:txBody>
      </p:sp>
      <p:graphicFrame>
        <p:nvGraphicFramePr>
          <p:cNvPr id="37" name="Chart 36">
            <a:extLst>
              <a:ext uri="{FF2B5EF4-FFF2-40B4-BE49-F238E27FC236}">
                <a16:creationId xmlns:a16="http://schemas.microsoft.com/office/drawing/2014/main" id="{FBD9D2E4-262C-594F-88BE-FABCB4307112}"/>
              </a:ext>
            </a:extLst>
          </p:cNvPr>
          <p:cNvGraphicFramePr/>
          <p:nvPr>
            <p:extLst>
              <p:ext uri="{D42A27DB-BD31-4B8C-83A1-F6EECF244321}">
                <p14:modId xmlns:p14="http://schemas.microsoft.com/office/powerpoint/2010/main" val="2422191329"/>
              </p:ext>
            </p:extLst>
          </p:nvPr>
        </p:nvGraphicFramePr>
        <p:xfrm>
          <a:off x="1348592" y="2286000"/>
          <a:ext cx="7320281" cy="3228230"/>
        </p:xfrm>
        <a:graphic>
          <a:graphicData uri="http://schemas.openxmlformats.org/drawingml/2006/chart">
            <c:chart xmlns:c="http://schemas.openxmlformats.org/drawingml/2006/chart" xmlns:r="http://schemas.openxmlformats.org/officeDocument/2006/relationships" r:id="rId3"/>
          </a:graphicData>
        </a:graphic>
      </p:graphicFrame>
      <p:cxnSp>
        <p:nvCxnSpPr>
          <p:cNvPr id="38" name="Straight Connector 37">
            <a:extLst>
              <a:ext uri="{FF2B5EF4-FFF2-40B4-BE49-F238E27FC236}">
                <a16:creationId xmlns:a16="http://schemas.microsoft.com/office/drawing/2014/main" id="{60818ED3-FA09-384C-BA99-7BB60BEA47E0}"/>
              </a:ext>
            </a:extLst>
          </p:cNvPr>
          <p:cNvCxnSpPr>
            <a:cxnSpLocks/>
          </p:cNvCxnSpPr>
          <p:nvPr/>
        </p:nvCxnSpPr>
        <p:spPr>
          <a:xfrm>
            <a:off x="419100" y="2133600"/>
            <a:ext cx="84010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8BF6375F-3CC1-4545-824C-D548F259D0B8}"/>
              </a:ext>
            </a:extLst>
          </p:cNvPr>
          <p:cNvGrpSpPr/>
          <p:nvPr/>
        </p:nvGrpSpPr>
        <p:grpSpPr>
          <a:xfrm>
            <a:off x="8358549" y="2941425"/>
            <a:ext cx="287680" cy="487575"/>
            <a:chOff x="7887191" y="3030520"/>
            <a:chExt cx="287680" cy="487575"/>
          </a:xfrm>
        </p:grpSpPr>
        <p:sp>
          <p:nvSpPr>
            <p:cNvPr id="25" name="TextBox 24">
              <a:extLst>
                <a:ext uri="{FF2B5EF4-FFF2-40B4-BE49-F238E27FC236}">
                  <a16:creationId xmlns:a16="http://schemas.microsoft.com/office/drawing/2014/main" id="{924ABBA9-A4FE-7148-A8E2-95B54C420824}"/>
                </a:ext>
              </a:extLst>
            </p:cNvPr>
            <p:cNvSpPr txBox="1"/>
            <p:nvPr/>
          </p:nvSpPr>
          <p:spPr>
            <a:xfrm>
              <a:off x="7887191" y="3030520"/>
              <a:ext cx="287680" cy="153888"/>
            </a:xfrm>
            <a:prstGeom prst="rect">
              <a:avLst/>
            </a:prstGeom>
            <a:noFill/>
          </p:spPr>
          <p:txBody>
            <a:bodyPr wrap="square" lIns="0" tIns="0" rIns="0" bIns="0" rtlCol="0">
              <a:spAutoFit/>
            </a:bodyPr>
            <a:lstStyle/>
            <a:p>
              <a:r>
                <a:rPr lang="en-US" sz="1000" b="1" dirty="0">
                  <a:solidFill>
                    <a:srgbClr val="174798"/>
                  </a:solidFill>
                  <a:latin typeface="Arial Narrow" panose="020B0606020202030204" pitchFamily="34" charset="0"/>
                  <a:cs typeface="Arial" pitchFamily="34" charset="0"/>
                </a:rPr>
                <a:t>YTD</a:t>
              </a:r>
            </a:p>
          </p:txBody>
        </p:sp>
        <p:cxnSp>
          <p:nvCxnSpPr>
            <p:cNvPr id="26" name="Straight Arrow Connector 25">
              <a:extLst>
                <a:ext uri="{FF2B5EF4-FFF2-40B4-BE49-F238E27FC236}">
                  <a16:creationId xmlns:a16="http://schemas.microsoft.com/office/drawing/2014/main" id="{7DE60322-22EC-2C4C-AC83-E8ECD7ADA082}"/>
                </a:ext>
              </a:extLst>
            </p:cNvPr>
            <p:cNvCxnSpPr>
              <a:cxnSpLocks/>
            </p:cNvCxnSpPr>
            <p:nvPr/>
          </p:nvCxnSpPr>
          <p:spPr>
            <a:xfrm>
              <a:off x="7988448" y="3217105"/>
              <a:ext cx="0" cy="300990"/>
            </a:xfrm>
            <a:prstGeom prst="straightConnector1">
              <a:avLst/>
            </a:prstGeom>
            <a:ln>
              <a:solidFill>
                <a:srgbClr val="174798"/>
              </a:solidFill>
              <a:tailEnd type="triangle"/>
            </a:ln>
          </p:spPr>
          <p:style>
            <a:lnRef idx="2">
              <a:schemeClr val="accent1"/>
            </a:lnRef>
            <a:fillRef idx="0">
              <a:schemeClr val="accent1"/>
            </a:fillRef>
            <a:effectRef idx="1">
              <a:schemeClr val="accent1"/>
            </a:effectRef>
            <a:fontRef idx="minor">
              <a:schemeClr val="tx1"/>
            </a:fontRef>
          </p:style>
        </p:cxnSp>
      </p:grpSp>
      <p:cxnSp>
        <p:nvCxnSpPr>
          <p:cNvPr id="30" name="Straight Connector 29">
            <a:extLst>
              <a:ext uri="{FF2B5EF4-FFF2-40B4-BE49-F238E27FC236}">
                <a16:creationId xmlns:a16="http://schemas.microsoft.com/office/drawing/2014/main" id="{13C6426D-B410-7848-9B91-F5A903D6A012}"/>
              </a:ext>
            </a:extLst>
          </p:cNvPr>
          <p:cNvCxnSpPr>
            <a:cxnSpLocks/>
          </p:cNvCxnSpPr>
          <p:nvPr/>
        </p:nvCxnSpPr>
        <p:spPr>
          <a:xfrm>
            <a:off x="425450" y="5484742"/>
            <a:ext cx="84010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7540F7C-048D-F548-93D7-1E104213323E}"/>
              </a:ext>
            </a:extLst>
          </p:cNvPr>
          <p:cNvSpPr txBox="1"/>
          <p:nvPr/>
        </p:nvSpPr>
        <p:spPr>
          <a:xfrm>
            <a:off x="337530" y="773029"/>
            <a:ext cx="6259823" cy="523220"/>
          </a:xfrm>
          <a:prstGeom prst="rect">
            <a:avLst/>
          </a:prstGeom>
          <a:noFill/>
        </p:spPr>
        <p:txBody>
          <a:bodyPr wrap="square" rtlCol="0">
            <a:spAutoFit/>
          </a:bodyPr>
          <a:lstStyle/>
          <a:p>
            <a:r>
              <a:rPr lang="en-US" sz="1400" dirty="0">
                <a:solidFill>
                  <a:srgbClr val="3369FF"/>
                </a:solidFill>
                <a:latin typeface="Segoe UI" panose="020B0502040204020203" pitchFamily="34" charset="0"/>
                <a:ea typeface="Segoe UI" panose="020B0502040204020203" pitchFamily="34" charset="0"/>
                <a:cs typeface="Segoe UI" panose="020B0502040204020203" pitchFamily="34" charset="0"/>
              </a:rPr>
              <a:t>Despite average intra-year declines of 13.8%, annual returns were positive for 29 out of 38 years</a:t>
            </a:r>
            <a:endParaRPr lang="en-US" sz="1400" dirty="0"/>
          </a:p>
        </p:txBody>
      </p:sp>
    </p:spTree>
    <p:extLst>
      <p:ext uri="{BB962C8B-B14F-4D97-AF65-F5344CB8AC3E}">
        <p14:creationId xmlns:p14="http://schemas.microsoft.com/office/powerpoint/2010/main" val="13012460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18">
            <a:extLst>
              <a:ext uri="{FF2B5EF4-FFF2-40B4-BE49-F238E27FC236}">
                <a16:creationId xmlns:a16="http://schemas.microsoft.com/office/drawing/2014/main" id="{B366CD7C-837A-E244-A568-A006070C2B76}"/>
              </a:ext>
            </a:extLst>
          </p:cNvPr>
          <p:cNvGraphicFramePr/>
          <p:nvPr>
            <p:extLst>
              <p:ext uri="{D42A27DB-BD31-4B8C-83A1-F6EECF244321}">
                <p14:modId xmlns:p14="http://schemas.microsoft.com/office/powerpoint/2010/main" val="4290876764"/>
              </p:ext>
            </p:extLst>
          </p:nvPr>
        </p:nvGraphicFramePr>
        <p:xfrm>
          <a:off x="287167" y="1896813"/>
          <a:ext cx="7708165" cy="3748285"/>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703143" y="6371406"/>
            <a:ext cx="231295" cy="145566"/>
          </a:xfrm>
        </p:spPr>
        <p:txBody>
          <a:bodyPr/>
          <a:lstStyle/>
          <a:p>
            <a:fld id="{2C7AFF3D-0B71-614B-ACB6-7F45BDA6A838}" type="slidenum">
              <a:rPr lang="en-US" smtClean="0">
                <a:latin typeface="Segoe UI" panose="020B0502040204020203" pitchFamily="34" charset="0"/>
              </a:rPr>
              <a:pPr/>
              <a:t>6</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91174" y="6360082"/>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1" y="381000"/>
            <a:ext cx="4649688"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Looking at the opportunity?</a:t>
            </a:r>
          </a:p>
        </p:txBody>
      </p:sp>
      <p:cxnSp>
        <p:nvCxnSpPr>
          <p:cNvPr id="44" name="Straight Connector 43">
            <a:extLst>
              <a:ext uri="{FF2B5EF4-FFF2-40B4-BE49-F238E27FC236}">
                <a16:creationId xmlns:a16="http://schemas.microsoft.com/office/drawing/2014/main" id="{FDBF1986-E741-784A-A1CF-BD318E2C4D89}"/>
              </a:ext>
            </a:extLst>
          </p:cNvPr>
          <p:cNvCxnSpPr>
            <a:cxnSpLocks/>
          </p:cNvCxnSpPr>
          <p:nvPr/>
        </p:nvCxnSpPr>
        <p:spPr>
          <a:xfrm>
            <a:off x="411543" y="5576625"/>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E2986C8-4C91-8C4C-8230-30CDD2B5B689}"/>
              </a:ext>
            </a:extLst>
          </p:cNvPr>
          <p:cNvSpPr txBox="1"/>
          <p:nvPr/>
        </p:nvSpPr>
        <p:spPr>
          <a:xfrm>
            <a:off x="436192" y="5668334"/>
            <a:ext cx="6077493" cy="123111"/>
          </a:xfrm>
          <a:prstGeom prst="rect">
            <a:avLst/>
          </a:prstGeom>
          <a:noFill/>
        </p:spPr>
        <p:txBody>
          <a:bodyPr wrap="square" lIns="0" tIns="0" rIns="0" bIns="0" rtlCol="0">
            <a:spAutoFit/>
          </a:bodyPr>
          <a:lstStyle/>
          <a:p>
            <a:pPr defTabSz="685800">
              <a:defRPr/>
            </a:pPr>
            <a:r>
              <a:rPr lang="en-US" sz="800" dirty="0">
                <a:solidFill>
                  <a:schemeClr val="tx1">
                    <a:lumMod val="65000"/>
                    <a:lumOff val="35000"/>
                  </a:schemeClr>
                </a:solidFill>
              </a:rPr>
              <a:t>Source: Google Finance as of December 31, 2019</a:t>
            </a:r>
          </a:p>
        </p:txBody>
      </p:sp>
      <p:sp>
        <p:nvSpPr>
          <p:cNvPr id="47" name="Oval 12">
            <a:extLst>
              <a:ext uri="{FF2B5EF4-FFF2-40B4-BE49-F238E27FC236}">
                <a16:creationId xmlns:a16="http://schemas.microsoft.com/office/drawing/2014/main" id="{0D838F97-7785-4A4B-BBD1-D6FE7ECD9636}"/>
              </a:ext>
            </a:extLst>
          </p:cNvPr>
          <p:cNvSpPr>
            <a:spLocks noChangeAspect="1" noChangeArrowheads="1"/>
          </p:cNvSpPr>
          <p:nvPr/>
        </p:nvSpPr>
        <p:spPr bwMode="auto">
          <a:xfrm>
            <a:off x="4599903" y="4728489"/>
            <a:ext cx="488514" cy="480661"/>
          </a:xfrm>
          <a:prstGeom prst="ellipse">
            <a:avLst/>
          </a:prstGeom>
          <a:noFill/>
          <a:ln w="19050" cmpd="sng">
            <a:solidFill>
              <a:srgbClr val="002577"/>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defRPr/>
            </a:pPr>
            <a:endParaRPr lang="en-US" sz="1350" dirty="0">
              <a:solidFill>
                <a:prstClr val="black"/>
              </a:solidFill>
              <a:latin typeface="Arial"/>
            </a:endParaRPr>
          </a:p>
        </p:txBody>
      </p:sp>
      <p:sp>
        <p:nvSpPr>
          <p:cNvPr id="48" name="TextBox 47">
            <a:extLst>
              <a:ext uri="{FF2B5EF4-FFF2-40B4-BE49-F238E27FC236}">
                <a16:creationId xmlns:a16="http://schemas.microsoft.com/office/drawing/2014/main" id="{876CCA2C-FD4C-D342-BEC6-DCE8A35667F1}"/>
              </a:ext>
            </a:extLst>
          </p:cNvPr>
          <p:cNvSpPr txBox="1"/>
          <p:nvPr/>
        </p:nvSpPr>
        <p:spPr>
          <a:xfrm>
            <a:off x="448654" y="5922063"/>
            <a:ext cx="8401050" cy="246221"/>
          </a:xfrm>
          <a:prstGeom prst="rect">
            <a:avLst/>
          </a:prstGeom>
          <a:noFill/>
        </p:spPr>
        <p:txBody>
          <a:bodyPr wrap="square" lIns="0" tIns="0" rIns="0" bIns="0" rtlCol="0">
            <a:spAutoFit/>
          </a:bodyPr>
          <a:lstStyle/>
          <a:p>
            <a:pPr defTabSz="685800">
              <a:defRPr/>
            </a:pPr>
            <a:r>
              <a:rPr lang="en-US" sz="800" dirty="0">
                <a:solidFill>
                  <a:srgbClr val="75787B"/>
                </a:solidFill>
              </a:rPr>
              <a:t>Past Performance is not indicative of future results. The performance of an unmanaged index is not indicative of the performance of any particular investment. Individuals cannot invest directly in an index. Please see the index definition on the last page.</a:t>
            </a:r>
          </a:p>
        </p:txBody>
      </p:sp>
      <p:sp>
        <p:nvSpPr>
          <p:cNvPr id="6" name="Rectangle 5">
            <a:extLst>
              <a:ext uri="{FF2B5EF4-FFF2-40B4-BE49-F238E27FC236}">
                <a16:creationId xmlns:a16="http://schemas.microsoft.com/office/drawing/2014/main" id="{9AFF385A-F31A-1349-ABBA-5B745462E84A}"/>
              </a:ext>
            </a:extLst>
          </p:cNvPr>
          <p:cNvSpPr/>
          <p:nvPr/>
        </p:nvSpPr>
        <p:spPr>
          <a:xfrm>
            <a:off x="7572139" y="1012640"/>
            <a:ext cx="1450949" cy="44737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B4DCFD39-0FA0-AE43-9B42-DA0132ABF750}"/>
              </a:ext>
            </a:extLst>
          </p:cNvPr>
          <p:cNvSpPr txBox="1"/>
          <p:nvPr/>
        </p:nvSpPr>
        <p:spPr>
          <a:xfrm>
            <a:off x="7312813" y="2763175"/>
            <a:ext cx="687689" cy="2885405"/>
          </a:xfrm>
          <a:prstGeom prst="rect">
            <a:avLst/>
          </a:prstGeom>
          <a:noFill/>
        </p:spPr>
        <p:txBody>
          <a:bodyPr wrap="square" rtlCol="0">
            <a:spAutoFit/>
          </a:bodyPr>
          <a:lstStyle/>
          <a:p>
            <a:pPr algn="r">
              <a:lnSpc>
                <a:spcPct val="95000"/>
              </a:lnSpc>
            </a:pPr>
            <a:r>
              <a:rPr lang="en-US" sz="1000" dirty="0">
                <a:solidFill>
                  <a:schemeClr val="bg1">
                    <a:lumMod val="50000"/>
                  </a:schemeClr>
                </a:solidFill>
              </a:rPr>
              <a:t>2500</a:t>
            </a:r>
          </a:p>
          <a:p>
            <a:pPr algn="r">
              <a:lnSpc>
                <a:spcPct val="95000"/>
              </a:lnSpc>
            </a:pPr>
            <a:endParaRPr lang="en-US" sz="1000" dirty="0">
              <a:solidFill>
                <a:schemeClr val="bg1">
                  <a:lumMod val="50000"/>
                </a:schemeClr>
              </a:solidFill>
            </a:endParaRPr>
          </a:p>
          <a:p>
            <a:pPr algn="r">
              <a:lnSpc>
                <a:spcPct val="95000"/>
              </a:lnSpc>
            </a:pPr>
            <a:endParaRPr lang="en-US" sz="1000" dirty="0">
              <a:solidFill>
                <a:schemeClr val="bg1">
                  <a:lumMod val="50000"/>
                </a:schemeClr>
              </a:solidFill>
            </a:endParaRPr>
          </a:p>
          <a:p>
            <a:pPr algn="r">
              <a:lnSpc>
                <a:spcPct val="95000"/>
              </a:lnSpc>
            </a:pPr>
            <a:endParaRPr lang="en-US" sz="1000" dirty="0">
              <a:solidFill>
                <a:schemeClr val="bg1">
                  <a:lumMod val="50000"/>
                </a:schemeClr>
              </a:solidFill>
            </a:endParaRPr>
          </a:p>
          <a:p>
            <a:pPr algn="r">
              <a:lnSpc>
                <a:spcPct val="95000"/>
              </a:lnSpc>
            </a:pPr>
            <a:r>
              <a:rPr lang="en-US" sz="1000" dirty="0">
                <a:solidFill>
                  <a:schemeClr val="bg1">
                    <a:lumMod val="50000"/>
                  </a:schemeClr>
                </a:solidFill>
              </a:rPr>
              <a:t>2000</a:t>
            </a:r>
          </a:p>
          <a:p>
            <a:pPr algn="r">
              <a:lnSpc>
                <a:spcPct val="95000"/>
              </a:lnSpc>
            </a:pPr>
            <a:endParaRPr lang="en-US" sz="1000" dirty="0">
              <a:solidFill>
                <a:schemeClr val="bg1">
                  <a:lumMod val="50000"/>
                </a:schemeClr>
              </a:solidFill>
            </a:endParaRPr>
          </a:p>
          <a:p>
            <a:pPr algn="r">
              <a:lnSpc>
                <a:spcPct val="95000"/>
              </a:lnSpc>
            </a:pPr>
            <a:endParaRPr lang="en-US" sz="1000" dirty="0">
              <a:solidFill>
                <a:schemeClr val="bg1">
                  <a:lumMod val="50000"/>
                </a:schemeClr>
              </a:solidFill>
            </a:endParaRPr>
          </a:p>
          <a:p>
            <a:pPr algn="r">
              <a:lnSpc>
                <a:spcPct val="95000"/>
              </a:lnSpc>
            </a:pPr>
            <a:endParaRPr lang="en-US" sz="1000" dirty="0">
              <a:solidFill>
                <a:schemeClr val="bg1">
                  <a:lumMod val="50000"/>
                </a:schemeClr>
              </a:solidFill>
            </a:endParaRPr>
          </a:p>
          <a:p>
            <a:pPr algn="r">
              <a:lnSpc>
                <a:spcPct val="95000"/>
              </a:lnSpc>
            </a:pPr>
            <a:r>
              <a:rPr lang="en-US" sz="1000" dirty="0">
                <a:solidFill>
                  <a:schemeClr val="bg1">
                    <a:lumMod val="50000"/>
                  </a:schemeClr>
                </a:solidFill>
              </a:rPr>
              <a:t>1500</a:t>
            </a:r>
          </a:p>
          <a:p>
            <a:pPr algn="r">
              <a:lnSpc>
                <a:spcPct val="95000"/>
              </a:lnSpc>
            </a:pPr>
            <a:endParaRPr lang="en-US" sz="1000" dirty="0">
              <a:solidFill>
                <a:schemeClr val="bg1">
                  <a:lumMod val="50000"/>
                </a:schemeClr>
              </a:solidFill>
            </a:endParaRPr>
          </a:p>
          <a:p>
            <a:pPr algn="r">
              <a:lnSpc>
                <a:spcPct val="95000"/>
              </a:lnSpc>
            </a:pPr>
            <a:endParaRPr lang="en-US" sz="1000" dirty="0">
              <a:solidFill>
                <a:schemeClr val="bg1">
                  <a:lumMod val="50000"/>
                </a:schemeClr>
              </a:solidFill>
            </a:endParaRPr>
          </a:p>
          <a:p>
            <a:pPr algn="r">
              <a:lnSpc>
                <a:spcPct val="95000"/>
              </a:lnSpc>
            </a:pPr>
            <a:endParaRPr lang="en-US" sz="1000" dirty="0">
              <a:solidFill>
                <a:schemeClr val="bg1">
                  <a:lumMod val="50000"/>
                </a:schemeClr>
              </a:solidFill>
            </a:endParaRPr>
          </a:p>
          <a:p>
            <a:pPr algn="r">
              <a:lnSpc>
                <a:spcPct val="95000"/>
              </a:lnSpc>
            </a:pPr>
            <a:r>
              <a:rPr lang="en-US" sz="1000" dirty="0">
                <a:solidFill>
                  <a:schemeClr val="bg1">
                    <a:lumMod val="50000"/>
                  </a:schemeClr>
                </a:solidFill>
              </a:rPr>
              <a:t>1000</a:t>
            </a:r>
          </a:p>
          <a:p>
            <a:pPr algn="r">
              <a:lnSpc>
                <a:spcPct val="95000"/>
              </a:lnSpc>
            </a:pPr>
            <a:endParaRPr lang="en-US" sz="1000" dirty="0">
              <a:solidFill>
                <a:schemeClr val="bg1">
                  <a:lumMod val="50000"/>
                </a:schemeClr>
              </a:solidFill>
            </a:endParaRPr>
          </a:p>
          <a:p>
            <a:pPr algn="r">
              <a:lnSpc>
                <a:spcPct val="95000"/>
              </a:lnSpc>
            </a:pPr>
            <a:endParaRPr lang="en-US" sz="1000" dirty="0">
              <a:solidFill>
                <a:schemeClr val="bg1">
                  <a:lumMod val="50000"/>
                </a:schemeClr>
              </a:solidFill>
            </a:endParaRPr>
          </a:p>
          <a:p>
            <a:pPr algn="r">
              <a:lnSpc>
                <a:spcPct val="95000"/>
              </a:lnSpc>
            </a:pPr>
            <a:endParaRPr lang="en-US" sz="1000" dirty="0">
              <a:solidFill>
                <a:schemeClr val="bg1">
                  <a:lumMod val="50000"/>
                </a:schemeClr>
              </a:solidFill>
            </a:endParaRPr>
          </a:p>
          <a:p>
            <a:pPr algn="r">
              <a:lnSpc>
                <a:spcPct val="95000"/>
              </a:lnSpc>
            </a:pPr>
            <a:r>
              <a:rPr lang="en-US" sz="1000" dirty="0">
                <a:solidFill>
                  <a:schemeClr val="bg1">
                    <a:lumMod val="50000"/>
                  </a:schemeClr>
                </a:solidFill>
              </a:rPr>
              <a:t>500</a:t>
            </a:r>
          </a:p>
          <a:p>
            <a:pPr algn="r"/>
            <a:endParaRPr lang="en-US" sz="1000" dirty="0">
              <a:solidFill>
                <a:schemeClr val="bg1">
                  <a:lumMod val="50000"/>
                </a:schemeClr>
              </a:solidFill>
            </a:endParaRPr>
          </a:p>
          <a:p>
            <a:pPr algn="r"/>
            <a:endParaRPr lang="en-US" sz="1000" dirty="0">
              <a:solidFill>
                <a:schemeClr val="bg1">
                  <a:lumMod val="50000"/>
                </a:schemeClr>
              </a:solidFill>
            </a:endParaRPr>
          </a:p>
        </p:txBody>
      </p:sp>
      <p:sp>
        <p:nvSpPr>
          <p:cNvPr id="8" name="TextBox 7">
            <a:extLst>
              <a:ext uri="{FF2B5EF4-FFF2-40B4-BE49-F238E27FC236}">
                <a16:creationId xmlns:a16="http://schemas.microsoft.com/office/drawing/2014/main" id="{4A6EFA2E-82AF-6945-ACA7-C48009CDB441}"/>
              </a:ext>
            </a:extLst>
          </p:cNvPr>
          <p:cNvSpPr txBox="1"/>
          <p:nvPr/>
        </p:nvSpPr>
        <p:spPr>
          <a:xfrm>
            <a:off x="445865" y="5267246"/>
            <a:ext cx="8274942" cy="246221"/>
          </a:xfrm>
          <a:prstGeom prst="rect">
            <a:avLst/>
          </a:prstGeom>
          <a:solidFill>
            <a:schemeClr val="bg1"/>
          </a:solidFill>
        </p:spPr>
        <p:txBody>
          <a:bodyPr wrap="square" rtlCol="0">
            <a:spAutoFit/>
          </a:bodyPr>
          <a:lstStyle/>
          <a:p>
            <a:r>
              <a:rPr lang="en-US" sz="1000" dirty="0">
                <a:solidFill>
                  <a:schemeClr val="bg1">
                    <a:lumMod val="50000"/>
                  </a:schemeClr>
                </a:solidFill>
              </a:rPr>
              <a:t>’95     ‘96     ’97      ’98     ’99      ’00     ‘01     ‘02     ‘03      ‘04     ‘05     ‘06     ‘07      ‘08     ‘09     ’10     ’11     ’12     ’13      ‘14      ‘15     ‘16     ‘17 </a:t>
            </a:r>
          </a:p>
        </p:txBody>
      </p:sp>
      <p:cxnSp>
        <p:nvCxnSpPr>
          <p:cNvPr id="46" name="Straight Connector 45">
            <a:extLst>
              <a:ext uri="{FF2B5EF4-FFF2-40B4-BE49-F238E27FC236}">
                <a16:creationId xmlns:a16="http://schemas.microsoft.com/office/drawing/2014/main" id="{A8CA51BF-B66B-8142-952F-E87F99F8A86C}"/>
              </a:ext>
            </a:extLst>
          </p:cNvPr>
          <p:cNvCxnSpPr>
            <a:cxnSpLocks/>
          </p:cNvCxnSpPr>
          <p:nvPr/>
        </p:nvCxnSpPr>
        <p:spPr>
          <a:xfrm>
            <a:off x="5093230" y="4961501"/>
            <a:ext cx="2584707" cy="0"/>
          </a:xfrm>
          <a:prstGeom prst="line">
            <a:avLst/>
          </a:prstGeom>
          <a:ln w="19050">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AFB0420-5CD8-3043-9CFE-2C917C960255}"/>
              </a:ext>
            </a:extLst>
          </p:cNvPr>
          <p:cNvCxnSpPr>
            <a:cxnSpLocks/>
          </p:cNvCxnSpPr>
          <p:nvPr/>
        </p:nvCxnSpPr>
        <p:spPr>
          <a:xfrm>
            <a:off x="419100" y="2577723"/>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31357CA4-7B74-C84F-9CEB-6D37ED09DB2A}"/>
              </a:ext>
            </a:extLst>
          </p:cNvPr>
          <p:cNvSpPr txBox="1">
            <a:spLocks/>
          </p:cNvSpPr>
          <p:nvPr/>
        </p:nvSpPr>
        <p:spPr>
          <a:xfrm>
            <a:off x="332934" y="2017727"/>
            <a:ext cx="8002463" cy="483649"/>
          </a:xfrm>
          <a:prstGeom prst="rect">
            <a:avLst/>
          </a:prstGeom>
          <a:solidFill>
            <a:schemeClr val="bg1"/>
          </a:solidFill>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600" dirty="0">
                <a:solidFill>
                  <a:srgbClr val="75787B"/>
                </a:solidFill>
                <a:latin typeface="Segoe UI" panose="020B0502040204020203" pitchFamily="34" charset="0"/>
                <a:ea typeface="Segoe UI" panose="020B0502040204020203" pitchFamily="34" charset="0"/>
                <a:cs typeface="Segoe UI" panose="020B0502040204020203" pitchFamily="34" charset="0"/>
              </a:rPr>
              <a:t>S&amp;P 500</a:t>
            </a:r>
          </a:p>
        </p:txBody>
      </p:sp>
      <p:sp>
        <p:nvSpPr>
          <p:cNvPr id="33" name="Text Placeholder 4">
            <a:extLst>
              <a:ext uri="{FF2B5EF4-FFF2-40B4-BE49-F238E27FC236}">
                <a16:creationId xmlns:a16="http://schemas.microsoft.com/office/drawing/2014/main" id="{6FFFEBC6-1137-BD47-B39C-D0F4CEA11FB0}"/>
              </a:ext>
            </a:extLst>
          </p:cNvPr>
          <p:cNvSpPr txBox="1">
            <a:spLocks/>
          </p:cNvSpPr>
          <p:nvPr/>
        </p:nvSpPr>
        <p:spPr>
          <a:xfrm>
            <a:off x="7134224" y="1619848"/>
            <a:ext cx="1360487" cy="61923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600"/>
              </a:lnSpc>
              <a:spcBef>
                <a:spcPts val="0"/>
              </a:spcBef>
            </a:pPr>
            <a:r>
              <a:rPr lang="en-US" sz="1600" dirty="0">
                <a:solidFill>
                  <a:srgbClr val="3369FF"/>
                </a:solidFill>
                <a:latin typeface="Segoe UI" panose="020B0502040204020203" pitchFamily="34" charset="0"/>
                <a:ea typeface="Segoe UI" panose="020B0502040204020203" pitchFamily="34" charset="0"/>
                <a:cs typeface="Segoe UI" panose="020B0502040204020203" pitchFamily="34" charset="0"/>
              </a:rPr>
              <a:t>Worried about another correction?</a:t>
            </a:r>
            <a:endParaRPr lang="en-US" sz="1600" b="0" dirty="0">
              <a:solidFill>
                <a:srgbClr val="3369FF"/>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3254218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0721D4-650F-B94C-AFAA-D41D54C4E57E}"/>
              </a:ext>
            </a:extLst>
          </p:cNvPr>
          <p:cNvSpPr>
            <a:spLocks noGrp="1"/>
          </p:cNvSpPr>
          <p:nvPr>
            <p:ph type="sldNum" sz="quarter" idx="4"/>
          </p:nvPr>
        </p:nvSpPr>
        <p:spPr>
          <a:xfrm>
            <a:off x="8703143" y="6371406"/>
            <a:ext cx="231295" cy="145566"/>
          </a:xfrm>
        </p:spPr>
        <p:txBody>
          <a:bodyPr/>
          <a:lstStyle/>
          <a:p>
            <a:fld id="{2C7AFF3D-0B71-614B-ACB6-7F45BDA6A838}" type="slidenum">
              <a:rPr lang="en-US" smtClean="0">
                <a:latin typeface="Segoe UI" panose="020B0502040204020203" pitchFamily="34" charset="0"/>
              </a:rPr>
              <a:pPr/>
              <a:t>7</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3F49A0E7-EFC1-A34B-A060-863D1210B303}"/>
              </a:ext>
            </a:extLst>
          </p:cNvPr>
          <p:cNvSpPr>
            <a:spLocks noGrp="1"/>
          </p:cNvSpPr>
          <p:nvPr>
            <p:ph type="ftr" sz="quarter" idx="3"/>
          </p:nvPr>
        </p:nvSpPr>
        <p:spPr>
          <a:xfrm>
            <a:off x="5591174" y="6360082"/>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263551" y="381000"/>
            <a:ext cx="4649688" cy="619239"/>
          </a:xfrm>
        </p:spPr>
        <p:txBody>
          <a:bodyPr/>
          <a:lstStyle/>
          <a:p>
            <a:pPr lvl="0"/>
            <a:r>
              <a:rPr lang="en-US" sz="2400" dirty="0">
                <a:latin typeface="Segoe UI" panose="020B0502040204020203" pitchFamily="34" charset="0"/>
                <a:ea typeface="Segoe UI" panose="020B0502040204020203" pitchFamily="34" charset="0"/>
                <a:cs typeface="Segoe UI" panose="020B0502040204020203" pitchFamily="34" charset="0"/>
              </a:rPr>
              <a:t>Protection</a:t>
            </a:r>
          </a:p>
        </p:txBody>
      </p:sp>
      <p:sp>
        <p:nvSpPr>
          <p:cNvPr id="33" name="Text Placeholder 4">
            <a:extLst>
              <a:ext uri="{FF2B5EF4-FFF2-40B4-BE49-F238E27FC236}">
                <a16:creationId xmlns:a16="http://schemas.microsoft.com/office/drawing/2014/main" id="{6FFFEBC6-1137-BD47-B39C-D0F4CEA11FB0}"/>
              </a:ext>
            </a:extLst>
          </p:cNvPr>
          <p:cNvSpPr txBox="1">
            <a:spLocks/>
          </p:cNvSpPr>
          <p:nvPr/>
        </p:nvSpPr>
        <p:spPr>
          <a:xfrm>
            <a:off x="3331154" y="2551699"/>
            <a:ext cx="4659163" cy="61923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2400"/>
              </a:lnSpc>
              <a:spcBef>
                <a:spcPts val="0"/>
              </a:spcBef>
            </a:pPr>
            <a:r>
              <a:rPr lang="en-US" sz="2400" dirty="0">
                <a:solidFill>
                  <a:srgbClr val="3369FF"/>
                </a:solidFill>
                <a:latin typeface="Segoe UI" panose="020B0502040204020203" pitchFamily="34" charset="0"/>
                <a:ea typeface="Segoe UI" panose="020B0502040204020203" pitchFamily="34" charset="0"/>
                <a:cs typeface="Segoe UI" panose="020B0502040204020203" pitchFamily="34" charset="0"/>
              </a:rPr>
              <a:t>The fear of losing money in the stock market and lack of trust in the stock market for money they are counting on in retirement are the most often cited reasons for allocating less of their portfolios to stocks.</a:t>
            </a:r>
            <a:endParaRPr lang="en-US" sz="2400" b="0" dirty="0">
              <a:solidFill>
                <a:srgbClr val="3369FF"/>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43" name="Straight Connector 42">
            <a:extLst>
              <a:ext uri="{FF2B5EF4-FFF2-40B4-BE49-F238E27FC236}">
                <a16:creationId xmlns:a16="http://schemas.microsoft.com/office/drawing/2014/main" id="{7AFB0420-5CD8-3043-9CFE-2C917C960255}"/>
              </a:ext>
            </a:extLst>
          </p:cNvPr>
          <p:cNvCxnSpPr>
            <a:cxnSpLocks/>
          </p:cNvCxnSpPr>
          <p:nvPr/>
        </p:nvCxnSpPr>
        <p:spPr>
          <a:xfrm>
            <a:off x="419100" y="2139416"/>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DBF1986-E741-784A-A1CF-BD318E2C4D89}"/>
              </a:ext>
            </a:extLst>
          </p:cNvPr>
          <p:cNvCxnSpPr>
            <a:cxnSpLocks/>
          </p:cNvCxnSpPr>
          <p:nvPr/>
        </p:nvCxnSpPr>
        <p:spPr>
          <a:xfrm>
            <a:off x="419100" y="5614410"/>
            <a:ext cx="84391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E2986C8-4C91-8C4C-8230-30CDD2B5B689}"/>
              </a:ext>
            </a:extLst>
          </p:cNvPr>
          <p:cNvSpPr txBox="1"/>
          <p:nvPr/>
        </p:nvSpPr>
        <p:spPr>
          <a:xfrm>
            <a:off x="436192" y="5668334"/>
            <a:ext cx="6077493" cy="123111"/>
          </a:xfrm>
          <a:prstGeom prst="rect">
            <a:avLst/>
          </a:prstGeom>
          <a:noFill/>
        </p:spPr>
        <p:txBody>
          <a:bodyPr wrap="square" lIns="0" tIns="0" rIns="0" bIns="0" rtlCol="0">
            <a:spAutoFit/>
          </a:bodyPr>
          <a:lstStyle/>
          <a:p>
            <a:r>
              <a:rPr lang="en-US" sz="800" dirty="0">
                <a:solidFill>
                  <a:srgbClr val="75787B"/>
                </a:solidFill>
              </a:rPr>
              <a:t>Insured Retirement Institute, Protection, Growth, and Income, 2018 </a:t>
            </a:r>
            <a:endParaRPr lang="en-US" sz="800" dirty="0">
              <a:solidFill>
                <a:srgbClr val="75787B"/>
              </a:solidFill>
              <a:latin typeface="Arial" pitchFamily="34" charset="0"/>
              <a:cs typeface="Arial" pitchFamily="34" charset="0"/>
            </a:endParaRPr>
          </a:p>
        </p:txBody>
      </p:sp>
      <p:graphicFrame>
        <p:nvGraphicFramePr>
          <p:cNvPr id="15" name="Chart 14">
            <a:extLst>
              <a:ext uri="{FF2B5EF4-FFF2-40B4-BE49-F238E27FC236}">
                <a16:creationId xmlns:a16="http://schemas.microsoft.com/office/drawing/2014/main" id="{816B0A0D-33A7-BD48-80A4-50DD10C50B69}"/>
              </a:ext>
            </a:extLst>
          </p:cNvPr>
          <p:cNvGraphicFramePr/>
          <p:nvPr>
            <p:extLst>
              <p:ext uri="{D42A27DB-BD31-4B8C-83A1-F6EECF244321}">
                <p14:modId xmlns:p14="http://schemas.microsoft.com/office/powerpoint/2010/main" val="3239993581"/>
              </p:ext>
            </p:extLst>
          </p:nvPr>
        </p:nvGraphicFramePr>
        <p:xfrm>
          <a:off x="0" y="1982782"/>
          <a:ext cx="3048000"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4">
            <a:extLst>
              <a:ext uri="{FF2B5EF4-FFF2-40B4-BE49-F238E27FC236}">
                <a16:creationId xmlns:a16="http://schemas.microsoft.com/office/drawing/2014/main" id="{31357CA4-7B74-C84F-9CEB-6D37ED09DB2A}"/>
              </a:ext>
            </a:extLst>
          </p:cNvPr>
          <p:cNvSpPr txBox="1">
            <a:spLocks/>
          </p:cNvSpPr>
          <p:nvPr/>
        </p:nvSpPr>
        <p:spPr>
          <a:xfrm>
            <a:off x="786853" y="4415259"/>
            <a:ext cx="2417821"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0"/>
              </a:spcBef>
            </a:pPr>
            <a:r>
              <a:rPr lang="en-US" sz="1400" dirty="0">
                <a:solidFill>
                  <a:srgbClr val="75787B"/>
                </a:solidFill>
                <a:latin typeface="Segoe UI" panose="020B0502040204020203" pitchFamily="34" charset="0"/>
                <a:ea typeface="Segoe UI" panose="020B0502040204020203" pitchFamily="34" charset="0"/>
                <a:cs typeface="Segoe UI" panose="020B0502040204020203" pitchFamily="34" charset="0"/>
              </a:rPr>
              <a:t>79% of consumers are interested in protecting their wealth </a:t>
            </a:r>
            <a:endParaRPr lang="en-US" sz="1400" b="0" dirty="0">
              <a:solidFill>
                <a:srgbClr val="75787B"/>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350607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7AC8560-FF6B-4CA8-A7B3-5E8BC6B9A1D3}"/>
              </a:ext>
            </a:extLst>
          </p:cNvPr>
          <p:cNvGraphicFramePr>
            <a:graphicFrameLocks noChangeAspect="1"/>
          </p:cNvGraphicFramePr>
          <p:nvPr>
            <p:custDataLst>
              <p:tags r:id="rId2"/>
            </p:custDataLst>
            <p:extLst>
              <p:ext uri="{D42A27DB-BD31-4B8C-83A1-F6EECF244321}">
                <p14:modId xmlns:p14="http://schemas.microsoft.com/office/powerpoint/2010/main" val="3132523564"/>
              </p:ext>
            </p:extLst>
          </p:nvPr>
        </p:nvGraphicFramePr>
        <p:xfrm>
          <a:off x="992" y="858242"/>
          <a:ext cx="993" cy="993"/>
        </p:xfrm>
        <a:graphic>
          <a:graphicData uri="http://schemas.openxmlformats.org/presentationml/2006/ole">
            <mc:AlternateContent xmlns:mc="http://schemas.openxmlformats.org/markup-compatibility/2006">
              <mc:Choice xmlns:v="urn:schemas-microsoft-com:vml" Requires="v">
                <p:oleObj spid="_x0000_s12154"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D7AC8560-FF6B-4CA8-A7B3-5E8BC6B9A1D3}"/>
                          </a:ext>
                        </a:extLst>
                      </p:cNvPr>
                      <p:cNvPicPr/>
                      <p:nvPr/>
                    </p:nvPicPr>
                    <p:blipFill>
                      <a:blip r:embed="rId6"/>
                      <a:stretch>
                        <a:fillRect/>
                      </a:stretch>
                    </p:blipFill>
                    <p:spPr>
                      <a:xfrm>
                        <a:off x="992" y="858242"/>
                        <a:ext cx="993" cy="993"/>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AF0C6C71-DE77-2C48-8091-FC0C232B23F3}"/>
              </a:ext>
            </a:extLst>
          </p:cNvPr>
          <p:cNvSpPr>
            <a:spLocks noGrp="1"/>
          </p:cNvSpPr>
          <p:nvPr>
            <p:ph type="sldNum" sz="quarter" idx="4"/>
          </p:nvPr>
        </p:nvSpPr>
        <p:spPr>
          <a:xfrm>
            <a:off x="8602395" y="6371405"/>
            <a:ext cx="332044" cy="170071"/>
          </a:xfrm>
        </p:spPr>
        <p:txBody>
          <a:bodyPr/>
          <a:lstStyle/>
          <a:p>
            <a:pPr defTabSz="285750">
              <a:defRPr/>
            </a:pPr>
            <a:fld id="{2C7AFF3D-0B71-614B-ACB6-7F45BDA6A838}" type="slidenum">
              <a:rPr lang="en-US">
                <a:latin typeface="Segoe UI" panose="020B0502040204020203" pitchFamily="34" charset="0"/>
                <a:ea typeface="Segoe UI" panose="020B0502040204020203" pitchFamily="34" charset="0"/>
                <a:cs typeface="Segoe UI" panose="020B0502040204020203" pitchFamily="34" charset="0"/>
              </a:rPr>
              <a:pPr defTabSz="285750">
                <a:defRPr/>
              </a:pPr>
              <a:t>8</a:t>
            </a:fld>
            <a:endParaRPr 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3" name="Footer Placeholder 2">
            <a:extLst>
              <a:ext uri="{FF2B5EF4-FFF2-40B4-BE49-F238E27FC236}">
                <a16:creationId xmlns:a16="http://schemas.microsoft.com/office/drawing/2014/main" id="{F1322FF3-40F2-5B4E-9B06-3C6E45EA0F71}"/>
              </a:ext>
            </a:extLst>
          </p:cNvPr>
          <p:cNvSpPr>
            <a:spLocks noGrp="1"/>
          </p:cNvSpPr>
          <p:nvPr>
            <p:ph type="ftr" sz="quarter" idx="3"/>
          </p:nvPr>
        </p:nvSpPr>
        <p:spPr>
          <a:xfrm>
            <a:off x="5591174" y="6360082"/>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
        <p:nvSpPr>
          <p:cNvPr id="4" name="Title 3">
            <a:extLst>
              <a:ext uri="{FF2B5EF4-FFF2-40B4-BE49-F238E27FC236}">
                <a16:creationId xmlns:a16="http://schemas.microsoft.com/office/drawing/2014/main" id="{8F9115DE-C5C8-F745-8C5D-1EB85F5C37DB}"/>
              </a:ext>
            </a:extLst>
          </p:cNvPr>
          <p:cNvSpPr>
            <a:spLocks noGrp="1"/>
          </p:cNvSpPr>
          <p:nvPr>
            <p:ph type="ctrTitle"/>
          </p:nvPr>
        </p:nvSpPr>
        <p:spPr>
          <a:xfrm>
            <a:off x="370746" y="308811"/>
            <a:ext cx="3629586" cy="479861"/>
          </a:xfrm>
        </p:spPr>
        <p:txBody>
          <a:bodyPr/>
          <a:lstStyle/>
          <a:p>
            <a:r>
              <a:rPr lang="en-US" sz="2400" dirty="0">
                <a:latin typeface="Segoe UI" panose="020B0502040204020203" pitchFamily="34" charset="0"/>
                <a:ea typeface="Segoe UI" panose="020B0502040204020203" pitchFamily="34" charset="0"/>
                <a:cs typeface="Segoe UI" panose="020B0502040204020203" pitchFamily="34" charset="0"/>
              </a:rPr>
              <a:t>Principal Protection</a:t>
            </a:r>
          </a:p>
        </p:txBody>
      </p:sp>
      <p:sp>
        <p:nvSpPr>
          <p:cNvPr id="8" name="Text Placeholder 7">
            <a:extLst>
              <a:ext uri="{FF2B5EF4-FFF2-40B4-BE49-F238E27FC236}">
                <a16:creationId xmlns:a16="http://schemas.microsoft.com/office/drawing/2014/main" id="{9474B78F-6F8E-F24D-859E-8C31C439C969}"/>
              </a:ext>
            </a:extLst>
          </p:cNvPr>
          <p:cNvSpPr>
            <a:spLocks noGrp="1"/>
          </p:cNvSpPr>
          <p:nvPr>
            <p:ph type="body" sz="quarter" idx="24"/>
          </p:nvPr>
        </p:nvSpPr>
        <p:spPr>
          <a:xfrm>
            <a:off x="387877" y="2451071"/>
            <a:ext cx="2432235" cy="545310"/>
          </a:xfrm>
        </p:spPr>
        <p:txBody>
          <a:bodyPr>
            <a:noAutofit/>
          </a:bodyPr>
          <a:lstStyle/>
          <a:p>
            <a:pPr lvl="0">
              <a:lnSpc>
                <a:spcPct val="100000"/>
              </a:lnSpc>
            </a:pPr>
            <a:r>
              <a:rPr lang="en-US" sz="1800" b="0" dirty="0">
                <a:latin typeface="Segoe UI" panose="020B0502040204020203" pitchFamily="34" charset="0"/>
                <a:ea typeface="Segoe UI" panose="020B0502040204020203" pitchFamily="34" charset="0"/>
                <a:cs typeface="Segoe UI" panose="020B0502040204020203" pitchFamily="34" charset="0"/>
              </a:rPr>
              <a:t>On average consumers hold less than </a:t>
            </a:r>
            <a:r>
              <a:rPr lang="en-US" sz="1800" dirty="0">
                <a:latin typeface="Segoe UI" panose="020B0502040204020203" pitchFamily="34" charset="0"/>
                <a:ea typeface="Segoe UI" panose="020B0502040204020203" pitchFamily="34" charset="0"/>
                <a:cs typeface="Segoe UI" panose="020B0502040204020203" pitchFamily="34" charset="0"/>
              </a:rPr>
              <a:t>one-half </a:t>
            </a:r>
            <a:r>
              <a:rPr lang="en-US" sz="1800" b="0" dirty="0">
                <a:latin typeface="Segoe UI" panose="020B0502040204020203" pitchFamily="34" charset="0"/>
                <a:ea typeface="Segoe UI" panose="020B0502040204020203" pitchFamily="34" charset="0"/>
                <a:cs typeface="Segoe UI" panose="020B0502040204020203" pitchFamily="34" charset="0"/>
              </a:rPr>
              <a:t> of their assets in stocks, stock mutual funds, and exchange traded funds </a:t>
            </a:r>
            <a:r>
              <a:rPr lang="en-US" sz="1800" b="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sz="1800" b="0" dirty="0">
                <a:latin typeface="Segoe UI" panose="020B0502040204020203" pitchFamily="34" charset="0"/>
                <a:ea typeface="Segoe UI" panose="020B0502040204020203" pitchFamily="34" charset="0"/>
                <a:cs typeface="Segoe UI" panose="020B0502040204020203" pitchFamily="34" charset="0"/>
              </a:rPr>
              <a:t>ETFs</a:t>
            </a:r>
            <a:r>
              <a:rPr lang="en-US" sz="1800" b="0" dirty="0">
                <a:latin typeface="Segoe UI Historic" panose="020B0502040204020203" pitchFamily="34" charset="0"/>
                <a:ea typeface="Segoe UI Historic" panose="020B0502040204020203" pitchFamily="34" charset="0"/>
                <a:cs typeface="Segoe UI Historic" panose="020B0502040204020203" pitchFamily="34" charset="0"/>
              </a:rPr>
              <a:t>).</a:t>
            </a:r>
          </a:p>
        </p:txBody>
      </p:sp>
      <p:sp>
        <p:nvSpPr>
          <p:cNvPr id="9" name="Text Placeholder 8">
            <a:extLst>
              <a:ext uri="{FF2B5EF4-FFF2-40B4-BE49-F238E27FC236}">
                <a16:creationId xmlns:a16="http://schemas.microsoft.com/office/drawing/2014/main" id="{33447868-B10A-5D44-9FBB-7BCCD364D21C}"/>
              </a:ext>
            </a:extLst>
          </p:cNvPr>
          <p:cNvSpPr>
            <a:spLocks noGrp="1"/>
          </p:cNvSpPr>
          <p:nvPr>
            <p:ph type="body" sz="quarter" idx="25"/>
          </p:nvPr>
        </p:nvSpPr>
        <p:spPr>
          <a:xfrm>
            <a:off x="3268903" y="2444023"/>
            <a:ext cx="2491106" cy="545310"/>
          </a:xfrm>
        </p:spPr>
        <p:txBody>
          <a:bodyPr>
            <a:noAutofit/>
          </a:bodyPr>
          <a:lstStyle/>
          <a:p>
            <a:pPr lvl="0">
              <a:lnSpc>
                <a:spcPct val="100000"/>
              </a:lnSpc>
            </a:pPr>
            <a:r>
              <a:rPr lang="en-US" sz="1800" b="0" dirty="0">
                <a:latin typeface="Segoe UI" panose="020B0502040204020203" pitchFamily="34" charset="0"/>
                <a:ea typeface="Segoe UI" panose="020B0502040204020203" pitchFamily="34" charset="0"/>
                <a:cs typeface="Segoe UI" panose="020B0502040204020203" pitchFamily="34" charset="0"/>
              </a:rPr>
              <a:t>Among conservative investors, </a:t>
            </a:r>
            <a:r>
              <a:rPr lang="en-US" sz="1800" dirty="0">
                <a:latin typeface="Segoe UI" panose="020B0502040204020203" pitchFamily="34" charset="0"/>
                <a:ea typeface="Segoe UI" panose="020B0502040204020203" pitchFamily="34" charset="0"/>
                <a:cs typeface="Segoe UI" panose="020B0502040204020203" pitchFamily="34" charset="0"/>
              </a:rPr>
              <a:t>83% </a:t>
            </a:r>
            <a:r>
              <a:rPr lang="en-US" sz="1800" b="0" dirty="0">
                <a:latin typeface="Segoe UI" panose="020B0502040204020203" pitchFamily="34" charset="0"/>
                <a:ea typeface="Segoe UI" panose="020B0502040204020203" pitchFamily="34" charset="0"/>
                <a:cs typeface="Segoe UI" panose="020B0502040204020203" pitchFamily="34" charset="0"/>
              </a:rPr>
              <a:t>say that not losing principal is extremely or very important.</a:t>
            </a:r>
          </a:p>
        </p:txBody>
      </p:sp>
      <p:sp>
        <p:nvSpPr>
          <p:cNvPr id="19" name="Text Placeholder 8">
            <a:extLst>
              <a:ext uri="{FF2B5EF4-FFF2-40B4-BE49-F238E27FC236}">
                <a16:creationId xmlns:a16="http://schemas.microsoft.com/office/drawing/2014/main" id="{1162D7DC-91D0-6040-B0DD-8EB2E632386A}"/>
              </a:ext>
            </a:extLst>
          </p:cNvPr>
          <p:cNvSpPr txBox="1">
            <a:spLocks/>
          </p:cNvSpPr>
          <p:nvPr/>
        </p:nvSpPr>
        <p:spPr>
          <a:xfrm>
            <a:off x="6319646" y="2432942"/>
            <a:ext cx="2491106" cy="545310"/>
          </a:xfrm>
          <a:prstGeom prst="rect">
            <a:avLst/>
          </a:prstGeom>
        </p:spPr>
        <p:txBody>
          <a:bodyPr vert="horz" lIns="91440" tIns="45720" rIns="91440" bIns="45720" rtlCol="0">
            <a:noAutofit/>
          </a:bodyPr>
          <a:lstStyle>
            <a:lvl1pPr marL="0" indent="0" algn="l" defTabSz="914400" rtl="0" eaLnBrk="1" latinLnBrk="0" hangingPunct="1">
              <a:lnSpc>
                <a:spcPts val="750"/>
              </a:lnSpc>
              <a:spcBef>
                <a:spcPts val="1000"/>
              </a:spcBef>
              <a:buFont typeface="Arial" panose="020B0604020202020204" pitchFamily="34" charset="0"/>
              <a:buNone/>
              <a:defRPr sz="1125" b="1" i="0" kern="1200">
                <a:solidFill>
                  <a:srgbClr val="FFFFFF"/>
                </a:solidFill>
                <a:latin typeface="IBM Eliot Sans Medium" panose="020B0703050000000000" pitchFamily="34" charset="0"/>
                <a:ea typeface="+mn-ea"/>
                <a:cs typeface="+mn-cs"/>
              </a:defRPr>
            </a:lvl1pPr>
            <a:lvl2pPr marL="342875"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685749"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028624"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37149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pP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The tendency of the stock market to </a:t>
            </a:r>
            <a:r>
              <a:rPr lang="en-US" sz="1800" dirty="0">
                <a:solidFill>
                  <a:srgbClr val="002577"/>
                </a:solidFill>
                <a:latin typeface="Segoe UI" panose="020B0502040204020203" pitchFamily="34" charset="0"/>
                <a:ea typeface="Segoe UI" panose="020B0502040204020203" pitchFamily="34" charset="0"/>
                <a:cs typeface="Segoe UI" panose="020B0502040204020203" pitchFamily="34" charset="0"/>
              </a:rPr>
              <a:t>fluctuate</a:t>
            </a: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 may cause many American savers to hold more of their retirement savings in cash and bonds than in stocks.</a:t>
            </a:r>
          </a:p>
        </p:txBody>
      </p:sp>
      <p:sp>
        <p:nvSpPr>
          <p:cNvPr id="26" name="TextBox 25">
            <a:extLst>
              <a:ext uri="{FF2B5EF4-FFF2-40B4-BE49-F238E27FC236}">
                <a16:creationId xmlns:a16="http://schemas.microsoft.com/office/drawing/2014/main" id="{A67F076F-17BF-E049-961A-9AD9A41FE547}"/>
              </a:ext>
            </a:extLst>
          </p:cNvPr>
          <p:cNvSpPr txBox="1"/>
          <p:nvPr/>
        </p:nvSpPr>
        <p:spPr>
          <a:xfrm>
            <a:off x="437514" y="6113830"/>
            <a:ext cx="6156278" cy="123111"/>
          </a:xfrm>
          <a:prstGeom prst="rect">
            <a:avLst/>
          </a:prstGeom>
          <a:noFill/>
        </p:spPr>
        <p:txBody>
          <a:bodyPr wrap="square" lIns="0" tIns="0" rIns="0" bIns="0" rtlCol="0">
            <a:spAutoFit/>
          </a:bodyPr>
          <a:lstStyle/>
          <a:p>
            <a:r>
              <a:rPr lang="en-US" sz="800" dirty="0">
                <a:solidFill>
                  <a:srgbClr val="75787B"/>
                </a:solidFill>
              </a:rPr>
              <a:t>Insured Retirement Institute, Protection, Growth, and Income, 2018 </a:t>
            </a:r>
            <a:endParaRPr lang="en-US" sz="800" dirty="0">
              <a:solidFill>
                <a:srgbClr val="75787B"/>
              </a:solidFill>
              <a:latin typeface="Arial" pitchFamily="34" charset="0"/>
              <a:cs typeface="Arial" pitchFamily="34" charset="0"/>
            </a:endParaRPr>
          </a:p>
        </p:txBody>
      </p:sp>
      <p:pic>
        <p:nvPicPr>
          <p:cNvPr id="5" name="Picture 4">
            <a:extLst>
              <a:ext uri="{FF2B5EF4-FFF2-40B4-BE49-F238E27FC236}">
                <a16:creationId xmlns:a16="http://schemas.microsoft.com/office/drawing/2014/main" id="{AD7D92C5-2A75-4792-8172-774A85F618C4}"/>
              </a:ext>
            </a:extLst>
          </p:cNvPr>
          <p:cNvPicPr>
            <a:picLocks noChangeAspect="1"/>
          </p:cNvPicPr>
          <p:nvPr/>
        </p:nvPicPr>
        <p:blipFill>
          <a:blip r:embed="rId7"/>
          <a:stretch>
            <a:fillRect/>
          </a:stretch>
        </p:blipFill>
        <p:spPr>
          <a:xfrm>
            <a:off x="2429750" y="6360082"/>
            <a:ext cx="2828925" cy="428625"/>
          </a:xfrm>
          <a:prstGeom prst="rect">
            <a:avLst/>
          </a:prstGeom>
        </p:spPr>
      </p:pic>
    </p:spTree>
    <p:extLst>
      <p:ext uri="{BB962C8B-B14F-4D97-AF65-F5344CB8AC3E}">
        <p14:creationId xmlns:p14="http://schemas.microsoft.com/office/powerpoint/2010/main" val="12728458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4">
            <a:extLst>
              <a:ext uri="{FF2B5EF4-FFF2-40B4-BE49-F238E27FC236}">
                <a16:creationId xmlns:a16="http://schemas.microsoft.com/office/drawing/2014/main" id="{0A589054-3BB9-CA4B-B6CC-DAE3B9500B1F}"/>
              </a:ext>
            </a:extLst>
          </p:cNvPr>
          <p:cNvSpPr txBox="1">
            <a:spLocks/>
          </p:cNvSpPr>
          <p:nvPr/>
        </p:nvSpPr>
        <p:spPr>
          <a:xfrm>
            <a:off x="320754" y="371361"/>
            <a:ext cx="7493471" cy="619239"/>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IBM Eliot Sans Medium" panose="020B0703050000000000"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Segoe UI" panose="020B0502040204020203" pitchFamily="34" charset="0"/>
                <a:ea typeface="Segoe UI" panose="020B0502040204020203" pitchFamily="34" charset="0"/>
                <a:cs typeface="Segoe UI" panose="020B0502040204020203" pitchFamily="34" charset="0"/>
              </a:rPr>
              <a:t>Retirement Challenges</a:t>
            </a:r>
          </a:p>
          <a:p>
            <a:endParaRPr lang="en-US" dirty="0">
              <a:latin typeface="Segoe UI" panose="020B0502040204020203" pitchFamily="34" charset="0"/>
              <a:ea typeface="Segoe UI" panose="020B0502040204020203" pitchFamily="34" charset="0"/>
              <a:cs typeface="Segoe UI" panose="020B0502040204020203" pitchFamily="34" charset="0"/>
            </a:endParaRPr>
          </a:p>
        </p:txBody>
      </p:sp>
      <p:grpSp>
        <p:nvGrpSpPr>
          <p:cNvPr id="70" name="Group 69">
            <a:extLst>
              <a:ext uri="{FF2B5EF4-FFF2-40B4-BE49-F238E27FC236}">
                <a16:creationId xmlns:a16="http://schemas.microsoft.com/office/drawing/2014/main" id="{CDBA6B73-52A2-CA48-BAB7-545A132BFAAE}"/>
              </a:ext>
            </a:extLst>
          </p:cNvPr>
          <p:cNvGrpSpPr/>
          <p:nvPr/>
        </p:nvGrpSpPr>
        <p:grpSpPr>
          <a:xfrm>
            <a:off x="406400" y="2286000"/>
            <a:ext cx="8439150" cy="3673642"/>
            <a:chOff x="457200" y="1828800"/>
            <a:chExt cx="12344982" cy="5232400"/>
          </a:xfrm>
        </p:grpSpPr>
        <p:cxnSp>
          <p:nvCxnSpPr>
            <p:cNvPr id="71" name="Straight Connector 70">
              <a:extLst>
                <a:ext uri="{FF2B5EF4-FFF2-40B4-BE49-F238E27FC236}">
                  <a16:creationId xmlns:a16="http://schemas.microsoft.com/office/drawing/2014/main" id="{AAE82440-BE37-E440-AEF3-15558E3E6391}"/>
                </a:ext>
              </a:extLst>
            </p:cNvPr>
            <p:cNvCxnSpPr>
              <a:cxnSpLocks/>
            </p:cNvCxnSpPr>
            <p:nvPr/>
          </p:nvCxnSpPr>
          <p:spPr>
            <a:xfrm>
              <a:off x="1790700" y="3759200"/>
              <a:ext cx="3505200" cy="2717800"/>
            </a:xfrm>
            <a:prstGeom prst="line">
              <a:avLst/>
            </a:prstGeom>
            <a:ln w="12700">
              <a:solidFill>
                <a:srgbClr val="3D8EDF"/>
              </a:solidFill>
              <a:prstDash val="sys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AD08AAF-99CC-1540-9B3E-B846A8076324}"/>
                </a:ext>
              </a:extLst>
            </p:cNvPr>
            <p:cNvCxnSpPr>
              <a:cxnSpLocks/>
            </p:cNvCxnSpPr>
            <p:nvPr/>
          </p:nvCxnSpPr>
          <p:spPr>
            <a:xfrm>
              <a:off x="1828800" y="3746500"/>
              <a:ext cx="3657600" cy="1816100"/>
            </a:xfrm>
            <a:prstGeom prst="line">
              <a:avLst/>
            </a:prstGeom>
            <a:ln w="12700">
              <a:solidFill>
                <a:srgbClr val="3D8EDF"/>
              </a:solidFill>
              <a:prstDash val="sys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42B45507-93FC-7640-A003-88A72B5C6475}"/>
                </a:ext>
              </a:extLst>
            </p:cNvPr>
            <p:cNvCxnSpPr>
              <a:cxnSpLocks/>
            </p:cNvCxnSpPr>
            <p:nvPr/>
          </p:nvCxnSpPr>
          <p:spPr>
            <a:xfrm>
              <a:off x="1765300" y="3746500"/>
              <a:ext cx="3746500" cy="749300"/>
            </a:xfrm>
            <a:prstGeom prst="line">
              <a:avLst/>
            </a:prstGeom>
            <a:ln w="12700">
              <a:solidFill>
                <a:srgbClr val="3D8EDF"/>
              </a:solidFill>
              <a:prstDash val="sys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B072CCA2-7C3A-8640-A591-EF5B2ECA863C}"/>
                </a:ext>
              </a:extLst>
            </p:cNvPr>
            <p:cNvCxnSpPr>
              <a:cxnSpLocks/>
            </p:cNvCxnSpPr>
            <p:nvPr/>
          </p:nvCxnSpPr>
          <p:spPr>
            <a:xfrm flipV="1">
              <a:off x="1739900" y="3429000"/>
              <a:ext cx="3657600" cy="355600"/>
            </a:xfrm>
            <a:prstGeom prst="line">
              <a:avLst/>
            </a:prstGeom>
            <a:ln w="12700">
              <a:solidFill>
                <a:srgbClr val="3D8EDF"/>
              </a:solidFill>
              <a:prstDash val="sysDash"/>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115C7506-1D30-ED40-A30E-AE244DDE6C34}"/>
                </a:ext>
              </a:extLst>
            </p:cNvPr>
            <p:cNvCxnSpPr>
              <a:cxnSpLocks/>
            </p:cNvCxnSpPr>
            <p:nvPr/>
          </p:nvCxnSpPr>
          <p:spPr>
            <a:xfrm flipV="1">
              <a:off x="1803400" y="2362200"/>
              <a:ext cx="3644900" cy="1498600"/>
            </a:xfrm>
            <a:prstGeom prst="line">
              <a:avLst/>
            </a:prstGeom>
            <a:ln w="12700">
              <a:solidFill>
                <a:srgbClr val="3D8EDF"/>
              </a:solidFill>
              <a:prstDash val="sysDash"/>
            </a:ln>
          </p:spPr>
          <p:style>
            <a:lnRef idx="1">
              <a:schemeClr val="accent1"/>
            </a:lnRef>
            <a:fillRef idx="0">
              <a:schemeClr val="accent1"/>
            </a:fillRef>
            <a:effectRef idx="0">
              <a:schemeClr val="accent1"/>
            </a:effectRef>
            <a:fontRef idx="minor">
              <a:schemeClr val="tx1"/>
            </a:fontRef>
          </p:style>
        </p:cxnSp>
        <p:sp>
          <p:nvSpPr>
            <p:cNvPr id="76" name="Oval 75">
              <a:extLst>
                <a:ext uri="{FF2B5EF4-FFF2-40B4-BE49-F238E27FC236}">
                  <a16:creationId xmlns:a16="http://schemas.microsoft.com/office/drawing/2014/main" id="{2C59C254-C0C2-BC4B-95A0-BB1C059B63D3}"/>
                </a:ext>
              </a:extLst>
            </p:cNvPr>
            <p:cNvSpPr/>
            <p:nvPr/>
          </p:nvSpPr>
          <p:spPr bwMode="auto">
            <a:xfrm>
              <a:off x="457200" y="2661438"/>
              <a:ext cx="2622710" cy="2624744"/>
            </a:xfrm>
            <a:prstGeom prst="ellipse">
              <a:avLst/>
            </a:prstGeom>
            <a:blipFill>
              <a:blip r:embed="rId3"/>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3437"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E40A38"/>
                </a:solidFill>
                <a:effectLst/>
                <a:uLnTx/>
                <a:uFillTx/>
                <a:latin typeface="Century Gothic"/>
                <a:ea typeface="+mn-ea"/>
                <a:cs typeface="+mn-cs"/>
                <a:sym typeface="Century Gothic"/>
              </a:endParaRPr>
            </a:p>
          </p:txBody>
        </p:sp>
        <p:sp>
          <p:nvSpPr>
            <p:cNvPr id="77" name="Rectangle 76">
              <a:extLst>
                <a:ext uri="{FF2B5EF4-FFF2-40B4-BE49-F238E27FC236}">
                  <a16:creationId xmlns:a16="http://schemas.microsoft.com/office/drawing/2014/main" id="{7C0CF9EC-8FB9-2A44-A161-B4B86AFE22F7}"/>
                </a:ext>
              </a:extLst>
            </p:cNvPr>
            <p:cNvSpPr/>
            <p:nvPr/>
          </p:nvSpPr>
          <p:spPr>
            <a:xfrm>
              <a:off x="6154737" y="1828800"/>
              <a:ext cx="6646281" cy="825500"/>
            </a:xfrm>
            <a:prstGeom prst="rect">
              <a:avLst/>
            </a:prstGeom>
            <a:solidFill>
              <a:srgbClr val="00257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577"/>
                </a:solidFill>
              </a:endParaRPr>
            </a:p>
          </p:txBody>
        </p:sp>
        <p:sp>
          <p:nvSpPr>
            <p:cNvPr id="78" name="Text Placeholder 7">
              <a:extLst>
                <a:ext uri="{FF2B5EF4-FFF2-40B4-BE49-F238E27FC236}">
                  <a16:creationId xmlns:a16="http://schemas.microsoft.com/office/drawing/2014/main" id="{55FFDEC2-E18C-C940-85A3-11DF671EB4C5}"/>
                </a:ext>
              </a:extLst>
            </p:cNvPr>
            <p:cNvSpPr txBox="1">
              <a:spLocks/>
            </p:cNvSpPr>
            <p:nvPr/>
          </p:nvSpPr>
          <p:spPr>
            <a:xfrm>
              <a:off x="6544646" y="1930400"/>
              <a:ext cx="3899517" cy="622300"/>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IBM Eliot Sans Medium" panose="020B0703050000000000" pitchFamily="34" charset="0"/>
                  <a:ea typeface="+mn-ea"/>
                  <a:cs typeface="+mn-cs"/>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lvl="0">
                <a:lnSpc>
                  <a:spcPct val="100000"/>
                </a:lnSpc>
                <a:spcBef>
                  <a:spcPts val="0"/>
                </a:spcBef>
                <a:defRPr/>
              </a:pPr>
              <a:r>
                <a:rPr lang="en-US" sz="2400" b="0" dirty="0">
                  <a:solidFill>
                    <a:schemeClr val="bg1"/>
                  </a:solidFill>
                  <a:latin typeface="Segoe UI" panose="020B0502040204020203" pitchFamily="34" charset="0"/>
                  <a:ea typeface="Segoe UI" panose="020B0502040204020203" pitchFamily="34" charset="0"/>
                  <a:cs typeface="Segoe UI" panose="020B0502040204020203" pitchFamily="34" charset="0"/>
                </a:rPr>
                <a:t>Longevity</a:t>
              </a:r>
              <a:endParaRPr lang="en-US" sz="2400" b="0" dirty="0">
                <a:latin typeface="Segoe UI" panose="020B0502040204020203" pitchFamily="34" charset="0"/>
                <a:ea typeface="Segoe UI" panose="020B0502040204020203" pitchFamily="34" charset="0"/>
                <a:cs typeface="Segoe UI" panose="020B0502040204020203" pitchFamily="34" charset="0"/>
              </a:endParaRPr>
            </a:p>
          </p:txBody>
        </p:sp>
        <p:grpSp>
          <p:nvGrpSpPr>
            <p:cNvPr id="79" name="Group 78">
              <a:extLst>
                <a:ext uri="{FF2B5EF4-FFF2-40B4-BE49-F238E27FC236}">
                  <a16:creationId xmlns:a16="http://schemas.microsoft.com/office/drawing/2014/main" id="{6553B9B7-0506-BD4F-BD67-3E5395308E25}"/>
                </a:ext>
              </a:extLst>
            </p:cNvPr>
            <p:cNvGrpSpPr/>
            <p:nvPr/>
          </p:nvGrpSpPr>
          <p:grpSpPr>
            <a:xfrm>
              <a:off x="5087938" y="1828800"/>
              <a:ext cx="901700" cy="901700"/>
              <a:chOff x="4521200" y="1778000"/>
              <a:chExt cx="901700" cy="901700"/>
            </a:xfrm>
          </p:grpSpPr>
          <p:sp>
            <p:nvSpPr>
              <p:cNvPr id="100" name="Oval 99">
                <a:extLst>
                  <a:ext uri="{FF2B5EF4-FFF2-40B4-BE49-F238E27FC236}">
                    <a16:creationId xmlns:a16="http://schemas.microsoft.com/office/drawing/2014/main" id="{23B0861F-6F2B-5441-8DF2-652D28EEB6B7}"/>
                  </a:ext>
                </a:extLst>
              </p:cNvPr>
              <p:cNvSpPr/>
              <p:nvPr/>
            </p:nvSpPr>
            <p:spPr>
              <a:xfrm>
                <a:off x="4521200" y="1778000"/>
                <a:ext cx="901700" cy="901700"/>
              </a:xfrm>
              <a:prstGeom prst="ellipse">
                <a:avLst/>
              </a:prstGeom>
              <a:solidFill>
                <a:srgbClr val="3D8E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Text Placeholder 7">
                <a:extLst>
                  <a:ext uri="{FF2B5EF4-FFF2-40B4-BE49-F238E27FC236}">
                    <a16:creationId xmlns:a16="http://schemas.microsoft.com/office/drawing/2014/main" id="{7B2F31F9-7960-B046-ADC7-D1DC359E449C}"/>
                  </a:ext>
                </a:extLst>
              </p:cNvPr>
              <p:cNvSpPr txBox="1">
                <a:spLocks/>
              </p:cNvSpPr>
              <p:nvPr/>
            </p:nvSpPr>
            <p:spPr>
              <a:xfrm>
                <a:off x="4546600" y="1892300"/>
                <a:ext cx="850900" cy="622300"/>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IBM Eliot Sans Medium" panose="020B0703050000000000" pitchFamily="34" charset="0"/>
                    <a:ea typeface="+mn-ea"/>
                    <a:cs typeface="+mn-cs"/>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lvl="0" algn="ctr">
                  <a:lnSpc>
                    <a:spcPct val="100000"/>
                  </a:lnSpc>
                  <a:spcBef>
                    <a:spcPts val="0"/>
                  </a:spcBef>
                  <a:defRPr/>
                </a:pPr>
                <a:r>
                  <a:rPr lang="en-US" sz="2800" dirty="0">
                    <a:solidFill>
                      <a:schemeClr val="bg1"/>
                    </a:solidFill>
                    <a:latin typeface="Segoe UI" panose="020B0502040204020203" pitchFamily="34" charset="0"/>
                    <a:ea typeface="Segoe UI" panose="020B0502040204020203" pitchFamily="34" charset="0"/>
                    <a:cs typeface="Segoe UI" panose="020B0502040204020203" pitchFamily="34" charset="0"/>
                  </a:rPr>
                  <a:t>L</a:t>
                </a:r>
                <a:endParaRPr lang="en-US" sz="2800" dirty="0">
                  <a:latin typeface="Segoe UI" panose="020B0502040204020203" pitchFamily="34" charset="0"/>
                  <a:ea typeface="Segoe UI" panose="020B0502040204020203" pitchFamily="34" charset="0"/>
                  <a:cs typeface="Segoe UI" panose="020B0502040204020203" pitchFamily="34" charset="0"/>
                </a:endParaRPr>
              </a:p>
            </p:txBody>
          </p:sp>
        </p:grpSp>
        <p:sp>
          <p:nvSpPr>
            <p:cNvPr id="80" name="Rectangle 79">
              <a:extLst>
                <a:ext uri="{FF2B5EF4-FFF2-40B4-BE49-F238E27FC236}">
                  <a16:creationId xmlns:a16="http://schemas.microsoft.com/office/drawing/2014/main" id="{5E642117-1F9E-5A48-A3BA-F8FC3B7C7873}"/>
                </a:ext>
              </a:extLst>
            </p:cNvPr>
            <p:cNvSpPr/>
            <p:nvPr/>
          </p:nvSpPr>
          <p:spPr>
            <a:xfrm>
              <a:off x="6155319" y="2914650"/>
              <a:ext cx="6646281" cy="825500"/>
            </a:xfrm>
            <a:prstGeom prst="rect">
              <a:avLst/>
            </a:prstGeom>
            <a:solidFill>
              <a:srgbClr val="00257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577"/>
                </a:solidFill>
              </a:endParaRPr>
            </a:p>
          </p:txBody>
        </p:sp>
        <p:sp>
          <p:nvSpPr>
            <p:cNvPr id="81" name="Text Placeholder 7">
              <a:extLst>
                <a:ext uri="{FF2B5EF4-FFF2-40B4-BE49-F238E27FC236}">
                  <a16:creationId xmlns:a16="http://schemas.microsoft.com/office/drawing/2014/main" id="{7FC830EC-7314-7A4C-9AF5-13DCFBD611C1}"/>
                </a:ext>
              </a:extLst>
            </p:cNvPr>
            <p:cNvSpPr txBox="1">
              <a:spLocks/>
            </p:cNvSpPr>
            <p:nvPr/>
          </p:nvSpPr>
          <p:spPr>
            <a:xfrm>
              <a:off x="6545228" y="3016250"/>
              <a:ext cx="3899517" cy="622300"/>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IBM Eliot Sans Medium" panose="020B0703050000000000" pitchFamily="34" charset="0"/>
                  <a:ea typeface="+mn-ea"/>
                  <a:cs typeface="+mn-cs"/>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lvl="0">
                <a:lnSpc>
                  <a:spcPct val="100000"/>
                </a:lnSpc>
                <a:spcBef>
                  <a:spcPts val="0"/>
                </a:spcBef>
                <a:defRPr/>
              </a:pPr>
              <a:r>
                <a:rPr lang="en-US" sz="2400" b="0" dirty="0">
                  <a:solidFill>
                    <a:schemeClr val="bg1"/>
                  </a:solidFill>
                  <a:latin typeface="Segoe UI" panose="020B0502040204020203" pitchFamily="34" charset="0"/>
                  <a:ea typeface="Segoe UI" panose="020B0502040204020203" pitchFamily="34" charset="0"/>
                  <a:cs typeface="Segoe UI" panose="020B0502040204020203" pitchFamily="34" charset="0"/>
                </a:rPr>
                <a:t>Inflation</a:t>
              </a:r>
              <a:endParaRPr lang="en-US" sz="2400" b="0" dirty="0">
                <a:latin typeface="Segoe UI" panose="020B0502040204020203" pitchFamily="34" charset="0"/>
                <a:ea typeface="Segoe UI" panose="020B0502040204020203" pitchFamily="34" charset="0"/>
                <a:cs typeface="Segoe UI" panose="020B0502040204020203" pitchFamily="34" charset="0"/>
              </a:endParaRPr>
            </a:p>
          </p:txBody>
        </p:sp>
        <p:grpSp>
          <p:nvGrpSpPr>
            <p:cNvPr id="82" name="Group 81">
              <a:extLst>
                <a:ext uri="{FF2B5EF4-FFF2-40B4-BE49-F238E27FC236}">
                  <a16:creationId xmlns:a16="http://schemas.microsoft.com/office/drawing/2014/main" id="{042AEFC9-8D50-A44A-B559-525AE3627112}"/>
                </a:ext>
              </a:extLst>
            </p:cNvPr>
            <p:cNvGrpSpPr/>
            <p:nvPr/>
          </p:nvGrpSpPr>
          <p:grpSpPr>
            <a:xfrm>
              <a:off x="5088520" y="2914650"/>
              <a:ext cx="901700" cy="901700"/>
              <a:chOff x="4521200" y="1778000"/>
              <a:chExt cx="901700" cy="901700"/>
            </a:xfrm>
          </p:grpSpPr>
          <p:sp>
            <p:nvSpPr>
              <p:cNvPr id="98" name="Oval 97">
                <a:extLst>
                  <a:ext uri="{FF2B5EF4-FFF2-40B4-BE49-F238E27FC236}">
                    <a16:creationId xmlns:a16="http://schemas.microsoft.com/office/drawing/2014/main" id="{E2596714-B3B3-864E-A408-EDFAA9A46D38}"/>
                  </a:ext>
                </a:extLst>
              </p:cNvPr>
              <p:cNvSpPr/>
              <p:nvPr/>
            </p:nvSpPr>
            <p:spPr>
              <a:xfrm>
                <a:off x="4521200" y="1778000"/>
                <a:ext cx="901700" cy="901700"/>
              </a:xfrm>
              <a:prstGeom prst="ellipse">
                <a:avLst/>
              </a:prstGeom>
              <a:solidFill>
                <a:srgbClr val="3D8E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Text Placeholder 7">
                <a:extLst>
                  <a:ext uri="{FF2B5EF4-FFF2-40B4-BE49-F238E27FC236}">
                    <a16:creationId xmlns:a16="http://schemas.microsoft.com/office/drawing/2014/main" id="{A8FEF747-F305-404D-8C37-1DAC14A18FF2}"/>
                  </a:ext>
                </a:extLst>
              </p:cNvPr>
              <p:cNvSpPr txBox="1">
                <a:spLocks/>
              </p:cNvSpPr>
              <p:nvPr/>
            </p:nvSpPr>
            <p:spPr>
              <a:xfrm>
                <a:off x="4546600" y="1892300"/>
                <a:ext cx="850900" cy="622300"/>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IBM Eliot Sans Medium" panose="020B0703050000000000" pitchFamily="34" charset="0"/>
                    <a:ea typeface="+mn-ea"/>
                    <a:cs typeface="+mn-cs"/>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lvl="0" algn="ctr">
                  <a:lnSpc>
                    <a:spcPct val="100000"/>
                  </a:lnSpc>
                  <a:spcBef>
                    <a:spcPts val="0"/>
                  </a:spcBef>
                  <a:defRPr/>
                </a:pPr>
                <a:r>
                  <a:rPr lang="en-US" sz="2800" dirty="0">
                    <a:solidFill>
                      <a:schemeClr val="bg1"/>
                    </a:solidFill>
                    <a:latin typeface="Segoe UI" panose="020B0502040204020203" pitchFamily="34" charset="0"/>
                    <a:ea typeface="Segoe UI" panose="020B0502040204020203" pitchFamily="34" charset="0"/>
                    <a:cs typeface="Segoe UI" panose="020B0502040204020203" pitchFamily="34" charset="0"/>
                  </a:rPr>
                  <a:t>I</a:t>
                </a:r>
                <a:endParaRPr lang="en-US" sz="2800" dirty="0">
                  <a:latin typeface="Segoe UI" panose="020B0502040204020203" pitchFamily="34" charset="0"/>
                  <a:ea typeface="Segoe UI" panose="020B0502040204020203" pitchFamily="34" charset="0"/>
                  <a:cs typeface="Segoe UI" panose="020B0502040204020203" pitchFamily="34" charset="0"/>
                </a:endParaRPr>
              </a:p>
            </p:txBody>
          </p:sp>
        </p:grpSp>
        <p:sp>
          <p:nvSpPr>
            <p:cNvPr id="83" name="Rectangle 82">
              <a:extLst>
                <a:ext uri="{FF2B5EF4-FFF2-40B4-BE49-F238E27FC236}">
                  <a16:creationId xmlns:a16="http://schemas.microsoft.com/office/drawing/2014/main" id="{BFABD962-CC5A-AF4A-B696-70CE1CF5CF91}"/>
                </a:ext>
              </a:extLst>
            </p:cNvPr>
            <p:cNvSpPr/>
            <p:nvPr/>
          </p:nvSpPr>
          <p:spPr>
            <a:xfrm>
              <a:off x="6155319" y="4000500"/>
              <a:ext cx="6646281" cy="825500"/>
            </a:xfrm>
            <a:prstGeom prst="rect">
              <a:avLst/>
            </a:prstGeom>
            <a:solidFill>
              <a:srgbClr val="00257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577"/>
                </a:solidFill>
              </a:endParaRPr>
            </a:p>
          </p:txBody>
        </p:sp>
        <p:sp>
          <p:nvSpPr>
            <p:cNvPr id="84" name="Text Placeholder 7">
              <a:extLst>
                <a:ext uri="{FF2B5EF4-FFF2-40B4-BE49-F238E27FC236}">
                  <a16:creationId xmlns:a16="http://schemas.microsoft.com/office/drawing/2014/main" id="{CF453424-88FE-364F-AFCD-2C22EAC19845}"/>
                </a:ext>
              </a:extLst>
            </p:cNvPr>
            <p:cNvSpPr txBox="1">
              <a:spLocks/>
            </p:cNvSpPr>
            <p:nvPr/>
          </p:nvSpPr>
          <p:spPr>
            <a:xfrm>
              <a:off x="6545228" y="4102100"/>
              <a:ext cx="3899517" cy="622300"/>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IBM Eliot Sans Medium" panose="020B0703050000000000" pitchFamily="34" charset="0"/>
                  <a:ea typeface="+mn-ea"/>
                  <a:cs typeface="+mn-cs"/>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lvl="0">
                <a:lnSpc>
                  <a:spcPct val="100000"/>
                </a:lnSpc>
                <a:spcBef>
                  <a:spcPts val="0"/>
                </a:spcBef>
                <a:defRPr/>
              </a:pPr>
              <a:r>
                <a:rPr lang="en-US" sz="2400" b="0" dirty="0">
                  <a:solidFill>
                    <a:schemeClr val="bg1"/>
                  </a:solidFill>
                  <a:latin typeface="Segoe UI" panose="020B0502040204020203" pitchFamily="34" charset="0"/>
                  <a:ea typeface="Segoe UI" panose="020B0502040204020203" pitchFamily="34" charset="0"/>
                  <a:cs typeface="Segoe UI" panose="020B0502040204020203" pitchFamily="34" charset="0"/>
                </a:rPr>
                <a:t>Volatility</a:t>
              </a:r>
              <a:endParaRPr lang="en-US" sz="2400" b="0" dirty="0">
                <a:latin typeface="Segoe UI" panose="020B0502040204020203" pitchFamily="34" charset="0"/>
                <a:ea typeface="Segoe UI" panose="020B0502040204020203" pitchFamily="34" charset="0"/>
                <a:cs typeface="Segoe UI" panose="020B0502040204020203" pitchFamily="34" charset="0"/>
              </a:endParaRPr>
            </a:p>
          </p:txBody>
        </p:sp>
        <p:grpSp>
          <p:nvGrpSpPr>
            <p:cNvPr id="85" name="Group 84">
              <a:extLst>
                <a:ext uri="{FF2B5EF4-FFF2-40B4-BE49-F238E27FC236}">
                  <a16:creationId xmlns:a16="http://schemas.microsoft.com/office/drawing/2014/main" id="{BDD29BC0-082D-F14C-B3E0-F28763E1E122}"/>
                </a:ext>
              </a:extLst>
            </p:cNvPr>
            <p:cNvGrpSpPr/>
            <p:nvPr/>
          </p:nvGrpSpPr>
          <p:grpSpPr>
            <a:xfrm>
              <a:off x="5088520" y="4000500"/>
              <a:ext cx="901700" cy="901700"/>
              <a:chOff x="4521200" y="1778000"/>
              <a:chExt cx="901700" cy="901700"/>
            </a:xfrm>
          </p:grpSpPr>
          <p:sp>
            <p:nvSpPr>
              <p:cNvPr id="96" name="Oval 95">
                <a:extLst>
                  <a:ext uri="{FF2B5EF4-FFF2-40B4-BE49-F238E27FC236}">
                    <a16:creationId xmlns:a16="http://schemas.microsoft.com/office/drawing/2014/main" id="{F60CE0D2-BB44-6A41-A9CE-F0C76D59916A}"/>
                  </a:ext>
                </a:extLst>
              </p:cNvPr>
              <p:cNvSpPr/>
              <p:nvPr/>
            </p:nvSpPr>
            <p:spPr>
              <a:xfrm>
                <a:off x="4521200" y="1778000"/>
                <a:ext cx="901700" cy="901700"/>
              </a:xfrm>
              <a:prstGeom prst="ellipse">
                <a:avLst/>
              </a:prstGeom>
              <a:solidFill>
                <a:srgbClr val="3D8E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Text Placeholder 7">
                <a:extLst>
                  <a:ext uri="{FF2B5EF4-FFF2-40B4-BE49-F238E27FC236}">
                    <a16:creationId xmlns:a16="http://schemas.microsoft.com/office/drawing/2014/main" id="{AF656287-491E-A145-AF3E-3A0B8DD80B24}"/>
                  </a:ext>
                </a:extLst>
              </p:cNvPr>
              <p:cNvSpPr txBox="1">
                <a:spLocks/>
              </p:cNvSpPr>
              <p:nvPr/>
            </p:nvSpPr>
            <p:spPr>
              <a:xfrm>
                <a:off x="4546600" y="1892300"/>
                <a:ext cx="850900" cy="622300"/>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IBM Eliot Sans Medium" panose="020B0703050000000000" pitchFamily="34" charset="0"/>
                    <a:ea typeface="+mn-ea"/>
                    <a:cs typeface="+mn-cs"/>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lvl="0" algn="ctr">
                  <a:lnSpc>
                    <a:spcPct val="100000"/>
                  </a:lnSpc>
                  <a:spcBef>
                    <a:spcPts val="0"/>
                  </a:spcBef>
                  <a:defRPr/>
                </a:pPr>
                <a:r>
                  <a:rPr lang="en-US" sz="2800" dirty="0">
                    <a:solidFill>
                      <a:schemeClr val="bg1"/>
                    </a:solidFill>
                    <a:latin typeface="Segoe UI" panose="020B0502040204020203" pitchFamily="34" charset="0"/>
                    <a:ea typeface="Segoe UI" panose="020B0502040204020203" pitchFamily="34" charset="0"/>
                    <a:cs typeface="Segoe UI" panose="020B0502040204020203" pitchFamily="34" charset="0"/>
                  </a:rPr>
                  <a:t>V</a:t>
                </a:r>
                <a:endParaRPr lang="en-US" sz="2800" dirty="0">
                  <a:latin typeface="Segoe UI" panose="020B0502040204020203" pitchFamily="34" charset="0"/>
                  <a:ea typeface="Segoe UI" panose="020B0502040204020203" pitchFamily="34" charset="0"/>
                  <a:cs typeface="Segoe UI" panose="020B0502040204020203" pitchFamily="34" charset="0"/>
                </a:endParaRPr>
              </a:p>
            </p:txBody>
          </p:sp>
        </p:grpSp>
        <p:sp>
          <p:nvSpPr>
            <p:cNvPr id="86" name="Rectangle 85">
              <a:extLst>
                <a:ext uri="{FF2B5EF4-FFF2-40B4-BE49-F238E27FC236}">
                  <a16:creationId xmlns:a16="http://schemas.microsoft.com/office/drawing/2014/main" id="{257E6074-2D1D-C947-9FCA-012677F21806}"/>
                </a:ext>
              </a:extLst>
            </p:cNvPr>
            <p:cNvSpPr/>
            <p:nvPr/>
          </p:nvSpPr>
          <p:spPr>
            <a:xfrm>
              <a:off x="6155901" y="5086350"/>
              <a:ext cx="6646281" cy="825500"/>
            </a:xfrm>
            <a:prstGeom prst="rect">
              <a:avLst/>
            </a:prstGeom>
            <a:solidFill>
              <a:srgbClr val="00257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577"/>
                </a:solidFill>
              </a:endParaRPr>
            </a:p>
          </p:txBody>
        </p:sp>
        <p:sp>
          <p:nvSpPr>
            <p:cNvPr id="87" name="Text Placeholder 7">
              <a:extLst>
                <a:ext uri="{FF2B5EF4-FFF2-40B4-BE49-F238E27FC236}">
                  <a16:creationId xmlns:a16="http://schemas.microsoft.com/office/drawing/2014/main" id="{399132F7-88DD-114D-86EC-C919990DDA0D}"/>
                </a:ext>
              </a:extLst>
            </p:cNvPr>
            <p:cNvSpPr txBox="1">
              <a:spLocks/>
            </p:cNvSpPr>
            <p:nvPr/>
          </p:nvSpPr>
          <p:spPr>
            <a:xfrm>
              <a:off x="6545810" y="5187950"/>
              <a:ext cx="3899517" cy="622300"/>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IBM Eliot Sans Medium" panose="020B0703050000000000" pitchFamily="34" charset="0"/>
                  <a:ea typeface="+mn-ea"/>
                  <a:cs typeface="+mn-cs"/>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lvl="0">
                <a:lnSpc>
                  <a:spcPct val="100000"/>
                </a:lnSpc>
                <a:spcBef>
                  <a:spcPts val="0"/>
                </a:spcBef>
                <a:defRPr/>
              </a:pPr>
              <a:r>
                <a:rPr lang="en-US" sz="2400" b="0" dirty="0">
                  <a:solidFill>
                    <a:schemeClr val="bg1"/>
                  </a:solidFill>
                  <a:latin typeface="Segoe UI" panose="020B0502040204020203" pitchFamily="34" charset="0"/>
                  <a:ea typeface="Segoe UI" panose="020B0502040204020203" pitchFamily="34" charset="0"/>
                  <a:cs typeface="Segoe UI" panose="020B0502040204020203" pitchFamily="34" charset="0"/>
                </a:rPr>
                <a:t>Interest Rates</a:t>
              </a:r>
              <a:endParaRPr lang="en-US" sz="2400" b="0" dirty="0">
                <a:latin typeface="Segoe UI" panose="020B0502040204020203" pitchFamily="34" charset="0"/>
                <a:ea typeface="Segoe UI" panose="020B0502040204020203" pitchFamily="34" charset="0"/>
                <a:cs typeface="Segoe UI" panose="020B0502040204020203" pitchFamily="34" charset="0"/>
              </a:endParaRPr>
            </a:p>
          </p:txBody>
        </p:sp>
        <p:grpSp>
          <p:nvGrpSpPr>
            <p:cNvPr id="88" name="Group 87">
              <a:extLst>
                <a:ext uri="{FF2B5EF4-FFF2-40B4-BE49-F238E27FC236}">
                  <a16:creationId xmlns:a16="http://schemas.microsoft.com/office/drawing/2014/main" id="{85F83E36-A0EC-1445-9D9F-26014E3606CE}"/>
                </a:ext>
              </a:extLst>
            </p:cNvPr>
            <p:cNvGrpSpPr/>
            <p:nvPr/>
          </p:nvGrpSpPr>
          <p:grpSpPr>
            <a:xfrm>
              <a:off x="5089102" y="5086350"/>
              <a:ext cx="901700" cy="901700"/>
              <a:chOff x="4521200" y="1778000"/>
              <a:chExt cx="901700" cy="901700"/>
            </a:xfrm>
          </p:grpSpPr>
          <p:sp>
            <p:nvSpPr>
              <p:cNvPr id="94" name="Oval 93">
                <a:extLst>
                  <a:ext uri="{FF2B5EF4-FFF2-40B4-BE49-F238E27FC236}">
                    <a16:creationId xmlns:a16="http://schemas.microsoft.com/office/drawing/2014/main" id="{42C7FC4E-7270-AE48-B9D4-39BF9D3C7C14}"/>
                  </a:ext>
                </a:extLst>
              </p:cNvPr>
              <p:cNvSpPr/>
              <p:nvPr/>
            </p:nvSpPr>
            <p:spPr>
              <a:xfrm>
                <a:off x="4521200" y="1778000"/>
                <a:ext cx="901700" cy="901700"/>
              </a:xfrm>
              <a:prstGeom prst="ellipse">
                <a:avLst/>
              </a:prstGeom>
              <a:solidFill>
                <a:srgbClr val="3D8E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95" name="Text Placeholder 7">
                <a:extLst>
                  <a:ext uri="{FF2B5EF4-FFF2-40B4-BE49-F238E27FC236}">
                    <a16:creationId xmlns:a16="http://schemas.microsoft.com/office/drawing/2014/main" id="{27E7EC25-206F-184D-8F1F-BF2DDDF811F9}"/>
                  </a:ext>
                </a:extLst>
              </p:cNvPr>
              <p:cNvSpPr txBox="1">
                <a:spLocks/>
              </p:cNvSpPr>
              <p:nvPr/>
            </p:nvSpPr>
            <p:spPr>
              <a:xfrm>
                <a:off x="4546600" y="1892300"/>
                <a:ext cx="850900" cy="622300"/>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IBM Eliot Sans Medium" panose="020B0703050000000000" pitchFamily="34" charset="0"/>
                    <a:ea typeface="+mn-ea"/>
                    <a:cs typeface="+mn-cs"/>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lvl="0" algn="ctr">
                  <a:lnSpc>
                    <a:spcPct val="100000"/>
                  </a:lnSpc>
                  <a:spcBef>
                    <a:spcPts val="0"/>
                  </a:spcBef>
                  <a:defRPr/>
                </a:pPr>
                <a:r>
                  <a:rPr lang="en-US" sz="3200" dirty="0">
                    <a:solidFill>
                      <a:schemeClr val="bg1"/>
                    </a:solidFill>
                    <a:latin typeface="Segoe UI" panose="020B0502040204020203" pitchFamily="34" charset="0"/>
                    <a:ea typeface="Segoe UI" panose="020B0502040204020203" pitchFamily="34" charset="0"/>
                    <a:cs typeface="Segoe UI" panose="020B0502040204020203" pitchFamily="34" charset="0"/>
                  </a:rPr>
                  <a:t>I</a:t>
                </a:r>
                <a:endParaRPr lang="en-US" sz="3200" dirty="0">
                  <a:latin typeface="Segoe UI" panose="020B0502040204020203" pitchFamily="34" charset="0"/>
                  <a:ea typeface="Segoe UI" panose="020B0502040204020203" pitchFamily="34" charset="0"/>
                  <a:cs typeface="Segoe UI" panose="020B0502040204020203" pitchFamily="34" charset="0"/>
                </a:endParaRPr>
              </a:p>
            </p:txBody>
          </p:sp>
        </p:grpSp>
        <p:sp>
          <p:nvSpPr>
            <p:cNvPr id="89" name="Rectangle 88">
              <a:extLst>
                <a:ext uri="{FF2B5EF4-FFF2-40B4-BE49-F238E27FC236}">
                  <a16:creationId xmlns:a16="http://schemas.microsoft.com/office/drawing/2014/main" id="{94610E55-4CB3-6C4E-B144-4E08114A3BC2}"/>
                </a:ext>
              </a:extLst>
            </p:cNvPr>
            <p:cNvSpPr/>
            <p:nvPr/>
          </p:nvSpPr>
          <p:spPr>
            <a:xfrm>
              <a:off x="6155319" y="6159500"/>
              <a:ext cx="6646281" cy="825500"/>
            </a:xfrm>
            <a:prstGeom prst="rect">
              <a:avLst/>
            </a:prstGeom>
            <a:solidFill>
              <a:srgbClr val="00257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577"/>
                </a:solidFill>
              </a:endParaRPr>
            </a:p>
          </p:txBody>
        </p:sp>
        <p:sp>
          <p:nvSpPr>
            <p:cNvPr id="90" name="Text Placeholder 7">
              <a:extLst>
                <a:ext uri="{FF2B5EF4-FFF2-40B4-BE49-F238E27FC236}">
                  <a16:creationId xmlns:a16="http://schemas.microsoft.com/office/drawing/2014/main" id="{06FCD437-735B-6941-93EA-9755B70960E7}"/>
                </a:ext>
              </a:extLst>
            </p:cNvPr>
            <p:cNvSpPr txBox="1">
              <a:spLocks/>
            </p:cNvSpPr>
            <p:nvPr/>
          </p:nvSpPr>
          <p:spPr>
            <a:xfrm>
              <a:off x="6545228" y="6261100"/>
              <a:ext cx="3899517" cy="622300"/>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IBM Eliot Sans Medium" panose="020B0703050000000000" pitchFamily="34" charset="0"/>
                  <a:ea typeface="+mn-ea"/>
                  <a:cs typeface="+mn-cs"/>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lvl="0">
                <a:lnSpc>
                  <a:spcPct val="100000"/>
                </a:lnSpc>
                <a:spcBef>
                  <a:spcPts val="0"/>
                </a:spcBef>
                <a:defRPr/>
              </a:pPr>
              <a:r>
                <a:rPr lang="en-US" sz="2400" b="0" dirty="0">
                  <a:solidFill>
                    <a:schemeClr val="bg1"/>
                  </a:solidFill>
                  <a:latin typeface="Segoe UI" panose="020B0502040204020203" pitchFamily="34" charset="0"/>
                  <a:ea typeface="Segoe UI" panose="020B0502040204020203" pitchFamily="34" charset="0"/>
                  <a:cs typeface="Segoe UI" panose="020B0502040204020203" pitchFamily="34" charset="0"/>
                </a:rPr>
                <a:t>Taxes</a:t>
              </a:r>
              <a:endParaRPr lang="en-US" sz="2400" b="0" dirty="0">
                <a:latin typeface="Segoe UI" panose="020B0502040204020203" pitchFamily="34" charset="0"/>
                <a:ea typeface="Segoe UI" panose="020B0502040204020203" pitchFamily="34" charset="0"/>
                <a:cs typeface="Segoe UI" panose="020B0502040204020203" pitchFamily="34" charset="0"/>
              </a:endParaRPr>
            </a:p>
          </p:txBody>
        </p:sp>
        <p:grpSp>
          <p:nvGrpSpPr>
            <p:cNvPr id="91" name="Group 90">
              <a:extLst>
                <a:ext uri="{FF2B5EF4-FFF2-40B4-BE49-F238E27FC236}">
                  <a16:creationId xmlns:a16="http://schemas.microsoft.com/office/drawing/2014/main" id="{3919F809-3CE2-404E-A59B-0B4A1391B00C}"/>
                </a:ext>
              </a:extLst>
            </p:cNvPr>
            <p:cNvGrpSpPr/>
            <p:nvPr/>
          </p:nvGrpSpPr>
          <p:grpSpPr>
            <a:xfrm>
              <a:off x="5096748" y="6159500"/>
              <a:ext cx="901700" cy="901700"/>
              <a:chOff x="4521200" y="1778000"/>
              <a:chExt cx="901700" cy="901700"/>
            </a:xfrm>
          </p:grpSpPr>
          <p:sp>
            <p:nvSpPr>
              <p:cNvPr id="92" name="Oval 91">
                <a:extLst>
                  <a:ext uri="{FF2B5EF4-FFF2-40B4-BE49-F238E27FC236}">
                    <a16:creationId xmlns:a16="http://schemas.microsoft.com/office/drawing/2014/main" id="{2CC286AD-5E13-F040-B501-20A77410C360}"/>
                  </a:ext>
                </a:extLst>
              </p:cNvPr>
              <p:cNvSpPr/>
              <p:nvPr/>
            </p:nvSpPr>
            <p:spPr>
              <a:xfrm>
                <a:off x="4521200" y="1778000"/>
                <a:ext cx="901700" cy="901700"/>
              </a:xfrm>
              <a:prstGeom prst="ellipse">
                <a:avLst/>
              </a:prstGeom>
              <a:solidFill>
                <a:srgbClr val="3D8E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Text Placeholder 7">
                <a:extLst>
                  <a:ext uri="{FF2B5EF4-FFF2-40B4-BE49-F238E27FC236}">
                    <a16:creationId xmlns:a16="http://schemas.microsoft.com/office/drawing/2014/main" id="{314B9941-4588-6C48-9FB6-615FF116F5C5}"/>
                  </a:ext>
                </a:extLst>
              </p:cNvPr>
              <p:cNvSpPr txBox="1">
                <a:spLocks/>
              </p:cNvSpPr>
              <p:nvPr/>
            </p:nvSpPr>
            <p:spPr>
              <a:xfrm>
                <a:off x="4546600" y="1892300"/>
                <a:ext cx="850900" cy="622300"/>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IBM Eliot Sans Medium" panose="020B0703050000000000" pitchFamily="34" charset="0"/>
                    <a:ea typeface="+mn-ea"/>
                    <a:cs typeface="+mn-cs"/>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lvl="0" algn="ctr">
                  <a:lnSpc>
                    <a:spcPct val="100000"/>
                  </a:lnSpc>
                  <a:spcBef>
                    <a:spcPts val="0"/>
                  </a:spcBef>
                  <a:defRPr/>
                </a:pPr>
                <a:r>
                  <a:rPr lang="en-US" sz="2800" dirty="0">
                    <a:solidFill>
                      <a:schemeClr val="bg1"/>
                    </a:solidFill>
                    <a:latin typeface="Segoe UI" panose="020B0502040204020203" pitchFamily="34" charset="0"/>
                    <a:ea typeface="Segoe UI" panose="020B0502040204020203" pitchFamily="34" charset="0"/>
                    <a:cs typeface="Segoe UI" panose="020B0502040204020203" pitchFamily="34" charset="0"/>
                  </a:rPr>
                  <a:t>T</a:t>
                </a:r>
                <a:endParaRPr lang="en-US" sz="2800" dirty="0">
                  <a:latin typeface="Segoe UI" panose="020B0502040204020203" pitchFamily="34" charset="0"/>
                  <a:ea typeface="Segoe UI" panose="020B0502040204020203" pitchFamily="34" charset="0"/>
                  <a:cs typeface="Segoe UI" panose="020B0502040204020203" pitchFamily="34" charset="0"/>
                </a:endParaRPr>
              </a:p>
            </p:txBody>
          </p:sp>
        </p:grpSp>
      </p:grpSp>
      <p:sp>
        <p:nvSpPr>
          <p:cNvPr id="103" name="Slide Number Placeholder 1">
            <a:extLst>
              <a:ext uri="{FF2B5EF4-FFF2-40B4-BE49-F238E27FC236}">
                <a16:creationId xmlns:a16="http://schemas.microsoft.com/office/drawing/2014/main" id="{CE1F53F4-C6A5-E648-A880-88343A905DB8}"/>
              </a:ext>
            </a:extLst>
          </p:cNvPr>
          <p:cNvSpPr>
            <a:spLocks noGrp="1"/>
          </p:cNvSpPr>
          <p:nvPr>
            <p:ph type="sldNum" sz="quarter" idx="4"/>
          </p:nvPr>
        </p:nvSpPr>
        <p:spPr>
          <a:xfrm>
            <a:off x="8703143" y="6371406"/>
            <a:ext cx="231295" cy="145566"/>
          </a:xfrm>
        </p:spPr>
        <p:txBody>
          <a:bodyPr/>
          <a:lstStyle/>
          <a:p>
            <a:pPr defTabSz="285750">
              <a:defRPr/>
            </a:pPr>
            <a:fld id="{2C7AFF3D-0B71-614B-ACB6-7F45BDA6A838}" type="slidenum">
              <a:rPr lang="en-US">
                <a:latin typeface="Segoe UI" panose="020B0502040204020203" pitchFamily="34" charset="0"/>
                <a:ea typeface="Segoe UI" panose="020B0502040204020203" pitchFamily="34" charset="0"/>
                <a:cs typeface="Segoe UI" panose="020B0502040204020203" pitchFamily="34" charset="0"/>
              </a:rPr>
              <a:pPr defTabSz="285750">
                <a:defRPr/>
              </a:pPr>
              <a:t>9</a:t>
            </a:fld>
            <a:endParaRPr 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104" name="Footer Placeholder 2">
            <a:extLst>
              <a:ext uri="{FF2B5EF4-FFF2-40B4-BE49-F238E27FC236}">
                <a16:creationId xmlns:a16="http://schemas.microsoft.com/office/drawing/2014/main" id="{4921B72D-6D3A-4249-A493-3F35D2D36FC1}"/>
              </a:ext>
            </a:extLst>
          </p:cNvPr>
          <p:cNvSpPr>
            <a:spLocks noGrp="1"/>
          </p:cNvSpPr>
          <p:nvPr>
            <p:ph type="ftr" sz="quarter" idx="3"/>
          </p:nvPr>
        </p:nvSpPr>
        <p:spPr>
          <a:xfrm>
            <a:off x="5591174" y="6360082"/>
            <a:ext cx="3086100" cy="182432"/>
          </a:xfrm>
        </p:spPr>
        <p:txBody>
          <a:bodyPr/>
          <a:lstStyle/>
          <a:p>
            <a:pPr lvl="0">
              <a:defRPr/>
            </a:pPr>
            <a:r>
              <a:rPr lang="en-US" dirty="0">
                <a:solidFill>
                  <a:srgbClr val="002577"/>
                </a:solidFill>
                <a:latin typeface="Segoe UI" panose="020B0502040204020203" pitchFamily="34" charset="0"/>
              </a:rPr>
              <a:t>Considerations for a Successful Retirement</a:t>
            </a:r>
          </a:p>
        </p:txBody>
      </p:sp>
    </p:spTree>
    <p:extLst>
      <p:ext uri="{BB962C8B-B14F-4D97-AF65-F5344CB8AC3E}">
        <p14:creationId xmlns:p14="http://schemas.microsoft.com/office/powerpoint/2010/main" val="40991703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3_White_Master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4_White_Master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ight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EQ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Light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dlc_DocId xmlns="93690d72-fe01-4c02-b750-225efb88021d">RTU5D5KFTJHF-1253253153-3667</_dlc_DocId>
    <_dlc_DocIdUrl xmlns="93690d72-fe01-4c02-b750-225efb88021d">
      <Url>https://axanorthamerica.sharepoint.com/sites/ADLSharePoint/_layouts/15/DocIdRedir.aspx?ID=RTU5D5KFTJHF-1253253153-3667</Url>
      <Description>RTU5D5KFTJHF-1253253153-3667</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4655C0F1E16704D8B909DDF1ACEF8FB" ma:contentTypeVersion="12" ma:contentTypeDescription="Create a new document." ma:contentTypeScope="" ma:versionID="a28b116a9169dfdb5c6babffe6594888">
  <xsd:schema xmlns:xsd="http://www.w3.org/2001/XMLSchema" xmlns:xs="http://www.w3.org/2001/XMLSchema" xmlns:p="http://schemas.microsoft.com/office/2006/metadata/properties" xmlns:ns2="93690d72-fe01-4c02-b750-225efb88021d" xmlns:ns3="9aa7c40b-8219-4fd4-9d9c-f04c8b874770" targetNamespace="http://schemas.microsoft.com/office/2006/metadata/properties" ma:root="true" ma:fieldsID="3f317b00de9f50fbe2930d059cb0bc00" ns2:_="" ns3:_="">
    <xsd:import namespace="93690d72-fe01-4c02-b750-225efb88021d"/>
    <xsd:import namespace="9aa7c40b-8219-4fd4-9d9c-f04c8b874770"/>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2:SharedWithUsers" minOccurs="0"/>
                <xsd:element ref="ns2:SharedWithDetail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690d72-fe01-4c02-b750-225efb88021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aa7c40b-8219-4fd4-9d9c-f04c8b87477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093B135B-5CC2-45DE-ABCF-707F16AABA37}">
  <ds:schemaRefs>
    <ds:schemaRef ds:uri="http://schemas.microsoft.com/sharepoint/v3/contenttype/forms"/>
  </ds:schemaRefs>
</ds:datastoreItem>
</file>

<file path=customXml/itemProps2.xml><?xml version="1.0" encoding="utf-8"?>
<ds:datastoreItem xmlns:ds="http://schemas.openxmlformats.org/officeDocument/2006/customXml" ds:itemID="{0E8BF711-BE5D-4B18-9130-CF5097C91A3F}">
  <ds:schemaRefs>
    <ds:schemaRef ds:uri="e4bbcd37-b9ba-49d7-bdf0-c92ad821926c"/>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www.w3.org/XML/1998/namespace"/>
    <ds:schemaRef ds:uri="979b55ec-fe80-43a5-adc2-264f347bc761"/>
    <ds:schemaRef ds:uri="http://purl.org/dc/dcmitype/"/>
  </ds:schemaRefs>
</ds:datastoreItem>
</file>

<file path=customXml/itemProps3.xml><?xml version="1.0" encoding="utf-8"?>
<ds:datastoreItem xmlns:ds="http://schemas.openxmlformats.org/officeDocument/2006/customXml" ds:itemID="{7F95E5C2-55B0-4FE2-824D-CFF6788C8FEC}"/>
</file>

<file path=customXml/itemProps4.xml><?xml version="1.0" encoding="utf-8"?>
<ds:datastoreItem xmlns:ds="http://schemas.openxmlformats.org/officeDocument/2006/customXml" ds:itemID="{3A267D53-1893-445F-AD3D-84D027679AEC}"/>
</file>

<file path=docProps/app.xml><?xml version="1.0" encoding="utf-8"?>
<Properties xmlns="http://schemas.openxmlformats.org/officeDocument/2006/extended-properties" xmlns:vt="http://schemas.openxmlformats.org/officeDocument/2006/docPropsVTypes">
  <Template>Office Theme</Template>
  <TotalTime>25240</TotalTime>
  <Words>9684</Words>
  <Application>Microsoft Office PowerPoint</Application>
  <PresentationFormat>On-screen Show (4:3)</PresentationFormat>
  <Paragraphs>1489</Paragraphs>
  <Slides>43</Slides>
  <Notes>40</Notes>
  <HiddenSlides>0</HiddenSlides>
  <MMClips>0</MMClips>
  <ScaleCrop>false</ScaleCrop>
  <HeadingPairs>
    <vt:vector size="8" baseType="variant">
      <vt:variant>
        <vt:lpstr>Fonts Used</vt:lpstr>
      </vt:variant>
      <vt:variant>
        <vt:i4>19</vt:i4>
      </vt:variant>
      <vt:variant>
        <vt:lpstr>Theme</vt:lpstr>
      </vt:variant>
      <vt:variant>
        <vt:i4>11</vt:i4>
      </vt:variant>
      <vt:variant>
        <vt:lpstr>Embedded OLE Servers</vt:lpstr>
      </vt:variant>
      <vt:variant>
        <vt:i4>1</vt:i4>
      </vt:variant>
      <vt:variant>
        <vt:lpstr>Slide Titles</vt:lpstr>
      </vt:variant>
      <vt:variant>
        <vt:i4>43</vt:i4>
      </vt:variant>
    </vt:vector>
  </HeadingPairs>
  <TitlesOfParts>
    <vt:vector size="74" baseType="lpstr">
      <vt:lpstr>Arial</vt:lpstr>
      <vt:lpstr>Arial Narrow</vt:lpstr>
      <vt:lpstr>Calibri</vt:lpstr>
      <vt:lpstr>Calibri Light</vt:lpstr>
      <vt:lpstr>Century Gothic</vt:lpstr>
      <vt:lpstr>Courier New</vt:lpstr>
      <vt:lpstr>GT America</vt:lpstr>
      <vt:lpstr>Helvetica</vt:lpstr>
      <vt:lpstr>HelveticaNeue-Roman</vt:lpstr>
      <vt:lpstr>IBM Eliot Sans</vt:lpstr>
      <vt:lpstr>IBM Eliot Sans Medium</vt:lpstr>
      <vt:lpstr>IBM Plex Sans</vt:lpstr>
      <vt:lpstr>IBM Plex Sans Light</vt:lpstr>
      <vt:lpstr>IBM Plex Sans Medium</vt:lpstr>
      <vt:lpstr>Segoe UI</vt:lpstr>
      <vt:lpstr>Segoe UI Historic</vt:lpstr>
      <vt:lpstr>Times New Roman</vt:lpstr>
      <vt:lpstr>Wingdings</vt:lpstr>
      <vt:lpstr>Wingdings 2</vt:lpstr>
      <vt:lpstr>White_Master slides</vt:lpstr>
      <vt:lpstr>EQ Blue Master Slides</vt:lpstr>
      <vt:lpstr>Medium Blue Master slides</vt:lpstr>
      <vt:lpstr>Light Blue Master Slides</vt:lpstr>
      <vt:lpstr>1_White_Master slides</vt:lpstr>
      <vt:lpstr>2_White_Master slides</vt:lpstr>
      <vt:lpstr>1_EQ Blue Master Slides</vt:lpstr>
      <vt:lpstr>1_Medium Blue Master slides</vt:lpstr>
      <vt:lpstr>1_Light Blue Master Slides</vt:lpstr>
      <vt:lpstr>3_White_Master slides</vt:lpstr>
      <vt:lpstr>4_White_Master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incipal Prote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Tax Bite</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dc:creator>
  <cp:lastModifiedBy>Miranda, Michelle</cp:lastModifiedBy>
  <cp:revision>1731</cp:revision>
  <cp:lastPrinted>2020-01-08T23:15:44Z</cp:lastPrinted>
  <dcterms:created xsi:type="dcterms:W3CDTF">2019-07-19T18:11:56Z</dcterms:created>
  <dcterms:modified xsi:type="dcterms:W3CDTF">2020-02-19T19:07: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655C0F1E16704D8B909DDF1ACEF8FB</vt:lpwstr>
  </property>
  <property fmtid="{D5CDD505-2E9C-101B-9397-08002B2CF9AE}" pid="3" name="_dlc_DocIdItemGuid">
    <vt:lpwstr>4b64d79e-c00a-4ea2-8a6d-72abb781b470</vt:lpwstr>
  </property>
</Properties>
</file>